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4.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5.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9.xml" ContentType="application/vnd.openxmlformats-officedocument.presentationml.tags+xml"/>
  <Override PartName="/ppt/notesSlides/notesSlide5.xml" ContentType="application/vnd.openxmlformats-officedocument.presentationml.notesSlide+xml"/>
  <Override PartName="/ppt/tags/tag20.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60" r:id="rId6"/>
    <p:sldMasterId id="2147483766" r:id="rId7"/>
    <p:sldMasterId id="2147483797" r:id="rId8"/>
    <p:sldMasterId id="2147483825" r:id="rId9"/>
    <p:sldMasterId id="2147483852" r:id="rId10"/>
  </p:sldMasterIdLst>
  <p:notesMasterIdLst>
    <p:notesMasterId r:id="rId21"/>
  </p:notesMasterIdLst>
  <p:handoutMasterIdLst>
    <p:handoutMasterId r:id="rId22"/>
  </p:handoutMasterIdLst>
  <p:sldIdLst>
    <p:sldId id="5579" r:id="rId11"/>
    <p:sldId id="2147482738" r:id="rId12"/>
    <p:sldId id="2147482911" r:id="rId13"/>
    <p:sldId id="2147482910" r:id="rId14"/>
    <p:sldId id="2147482913" r:id="rId15"/>
    <p:sldId id="2147482912" r:id="rId16"/>
    <p:sldId id="2147482916" r:id="rId17"/>
    <p:sldId id="2147482915" r:id="rId18"/>
    <p:sldId id="2147482834" r:id="rId19"/>
    <p:sldId id="5590" r:id="rId20"/>
  </p:sldIdLst>
  <p:sldSz cx="12192000" cy="6858000"/>
  <p:notesSz cx="6858000" cy="9144000"/>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66DD40A-0EC3-B141-A02A-022E1F558B47}" name="Regine Theiss Quist Holm" initials="RH" userId="S::rho@bankinvest.dk::ead18f74-131a-42ef-8362-c055870c92fe" providerId="AD"/>
  <p188:author id="{F776F1F2-62A0-3FE5-EF4E-48DD9DF97B44}" name="Oliver Ryg Nielsen" initials="" userId="S::oryn@eifo.dk::d444a2f5-f053-4113-af31-b3c8072dbab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1A0B2"/>
    <a:srgbClr val="FFFFFF"/>
    <a:srgbClr val="042F4E"/>
    <a:srgbClr val="15304E"/>
    <a:srgbClr val="D1D8DF"/>
    <a:srgbClr val="D1D8FF"/>
    <a:srgbClr val="DBF2F4"/>
    <a:srgbClr val="B8E5E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DD739F9-1B7C-411C-A32B-49DC61A7DC0A}" v="1" dt="2026-03-16T14:07:58.49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9" d="100"/>
          <a:sy n="109" d="100"/>
        </p:scale>
        <p:origin x="52" y="200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2.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1.xml"/><Relationship Id="rId24"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slide" Target="slides/slide5.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Master" Target="slideMasters/slideMaster5.xml"/><Relationship Id="rId19" Type="http://schemas.openxmlformats.org/officeDocument/2006/relationships/slide" Target="slides/slide9.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 Target="slides/slide4.xml"/><Relationship Id="rId22" Type="http://schemas.openxmlformats.org/officeDocument/2006/relationships/handoutMaster" Target="handoutMasters/handoutMaster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ecilie Klit Jørgensen" userId="b3ccf8e7-0c51-41ee-9d95-e2232b60ca23" providerId="ADAL" clId="{D01F6282-A575-4045-BA31-E186FFCF2DF1}"/>
    <pc:docChg chg="modSld">
      <pc:chgData name="Cecilie Klit Jørgensen" userId="b3ccf8e7-0c51-41ee-9d95-e2232b60ca23" providerId="ADAL" clId="{D01F6282-A575-4045-BA31-E186FFCF2DF1}" dt="2026-03-16T14:14:56.286" v="179" actId="20577"/>
      <pc:docMkLst>
        <pc:docMk/>
      </pc:docMkLst>
      <pc:sldChg chg="addSp modSp mod">
        <pc:chgData name="Cecilie Klit Jørgensen" userId="b3ccf8e7-0c51-41ee-9d95-e2232b60ca23" providerId="ADAL" clId="{D01F6282-A575-4045-BA31-E186FFCF2DF1}" dt="2026-03-16T14:08:48.863" v="74" actId="20577"/>
        <pc:sldMkLst>
          <pc:docMk/>
          <pc:sldMk cId="2256952098" sldId="2147482738"/>
        </pc:sldMkLst>
        <pc:spChg chg="add mod">
          <ac:chgData name="Cecilie Klit Jørgensen" userId="b3ccf8e7-0c51-41ee-9d95-e2232b60ca23" providerId="ADAL" clId="{D01F6282-A575-4045-BA31-E186FFCF2DF1}" dt="2026-03-16T14:08:48.863" v="74" actId="20577"/>
          <ac:spMkLst>
            <pc:docMk/>
            <pc:sldMk cId="2256952098" sldId="2147482738"/>
            <ac:spMk id="2" creationId="{AB3F92C6-93BA-E8E9-4BE7-623B7CABDDE0}"/>
          </ac:spMkLst>
        </pc:spChg>
        <pc:spChg chg="mod">
          <ac:chgData name="Cecilie Klit Jørgensen" userId="b3ccf8e7-0c51-41ee-9d95-e2232b60ca23" providerId="ADAL" clId="{D01F6282-A575-4045-BA31-E186FFCF2DF1}" dt="2026-03-16T10:29:38.461" v="0" actId="20577"/>
          <ac:spMkLst>
            <pc:docMk/>
            <pc:sldMk cId="2256952098" sldId="2147482738"/>
            <ac:spMk id="15" creationId="{9BC791E5-FF0F-02DC-3C7F-87A25E9F9AE8}"/>
          </ac:spMkLst>
        </pc:spChg>
      </pc:sldChg>
      <pc:sldChg chg="modSp mod">
        <pc:chgData name="Cecilie Klit Jørgensen" userId="b3ccf8e7-0c51-41ee-9d95-e2232b60ca23" providerId="ADAL" clId="{D01F6282-A575-4045-BA31-E186FFCF2DF1}" dt="2026-03-16T14:14:56.286" v="179" actId="20577"/>
        <pc:sldMkLst>
          <pc:docMk/>
          <pc:sldMk cId="2284143651" sldId="2147482911"/>
        </pc:sldMkLst>
        <pc:spChg chg="mod">
          <ac:chgData name="Cecilie Klit Jørgensen" userId="b3ccf8e7-0c51-41ee-9d95-e2232b60ca23" providerId="ADAL" clId="{D01F6282-A575-4045-BA31-E186FFCF2DF1}" dt="2026-03-16T14:14:56.286" v="179" actId="20577"/>
          <ac:spMkLst>
            <pc:docMk/>
            <pc:sldMk cId="2284143651" sldId="2147482911"/>
            <ac:spMk id="16" creationId="{073B21AA-8E2F-6396-76CF-FCF719EC61C2}"/>
          </ac:spMkLst>
        </pc:spChg>
      </pc:sldChg>
    </pc:docChg>
  </pc:docChgLst>
  <pc:docChgLst>
    <pc:chgData name="Cecilie Hvid Nesevski" userId="2ab1a92e-ab42-4aae-bb8f-577f873b7880" providerId="ADAL" clId="{8F1EC346-111B-4A0F-93DC-338EC2B44B46}"/>
    <pc:docChg chg="undo redo custSel addSld delSld modSld">
      <pc:chgData name="Cecilie Hvid Nesevski" userId="2ab1a92e-ab42-4aae-bb8f-577f873b7880" providerId="ADAL" clId="{8F1EC346-111B-4A0F-93DC-338EC2B44B46}" dt="2026-03-10T16:21:36.312" v="960" actId="14100"/>
      <pc:docMkLst>
        <pc:docMk/>
      </pc:docMkLst>
      <pc:sldChg chg="addSp delSp modSp mod modNotesTx">
        <pc:chgData name="Cecilie Hvid Nesevski" userId="2ab1a92e-ab42-4aae-bb8f-577f873b7880" providerId="ADAL" clId="{8F1EC346-111B-4A0F-93DC-338EC2B44B46}" dt="2026-03-10T16:02:39.338" v="944" actId="1076"/>
        <pc:sldMkLst>
          <pc:docMk/>
          <pc:sldMk cId="2256952098" sldId="2147482738"/>
        </pc:sldMkLst>
        <pc:spChg chg="mod">
          <ac:chgData name="Cecilie Hvid Nesevski" userId="2ab1a92e-ab42-4aae-bb8f-577f873b7880" providerId="ADAL" clId="{8F1EC346-111B-4A0F-93DC-338EC2B44B46}" dt="2026-03-10T15:42:15.469" v="792" actId="20577"/>
          <ac:spMkLst>
            <pc:docMk/>
            <pc:sldMk cId="2256952098" sldId="2147482738"/>
            <ac:spMk id="8" creationId="{75D4F3B8-2107-3D92-EF16-A797DFB32254}"/>
          </ac:spMkLst>
        </pc:spChg>
        <pc:spChg chg="mod">
          <ac:chgData name="Cecilie Hvid Nesevski" userId="2ab1a92e-ab42-4aae-bb8f-577f873b7880" providerId="ADAL" clId="{8F1EC346-111B-4A0F-93DC-338EC2B44B46}" dt="2026-03-10T16:02:39.338" v="944" actId="1076"/>
          <ac:spMkLst>
            <pc:docMk/>
            <pc:sldMk cId="2256952098" sldId="2147482738"/>
            <ac:spMk id="10" creationId="{BBB30B59-2455-FE0C-FEE9-6B52D8258FA9}"/>
          </ac:spMkLst>
        </pc:spChg>
      </pc:sldChg>
      <pc:sldChg chg="addSp modSp mod">
        <pc:chgData name="Cecilie Hvid Nesevski" userId="2ab1a92e-ab42-4aae-bb8f-577f873b7880" providerId="ADAL" clId="{8F1EC346-111B-4A0F-93DC-338EC2B44B46}" dt="2026-03-10T16:20:15.803" v="947" actId="20577"/>
        <pc:sldMkLst>
          <pc:docMk/>
          <pc:sldMk cId="1494439385" sldId="2147482834"/>
        </pc:sldMkLst>
        <pc:spChg chg="mod">
          <ac:chgData name="Cecilie Hvid Nesevski" userId="2ab1a92e-ab42-4aae-bb8f-577f873b7880" providerId="ADAL" clId="{8F1EC346-111B-4A0F-93DC-338EC2B44B46}" dt="2026-03-10T16:20:15.803" v="947" actId="20577"/>
          <ac:spMkLst>
            <pc:docMk/>
            <pc:sldMk cId="1494439385" sldId="2147482834"/>
            <ac:spMk id="5" creationId="{E2050CE4-20B8-FAD1-9E31-C2E9B68863DB}"/>
          </ac:spMkLst>
        </pc:spChg>
        <pc:spChg chg="add mod">
          <ac:chgData name="Cecilie Hvid Nesevski" userId="2ab1a92e-ab42-4aae-bb8f-577f873b7880" providerId="ADAL" clId="{8F1EC346-111B-4A0F-93DC-338EC2B44B46}" dt="2026-03-10T16:08:13.060" v="946" actId="1076"/>
          <ac:spMkLst>
            <pc:docMk/>
            <pc:sldMk cId="1494439385" sldId="2147482834"/>
            <ac:spMk id="9" creationId="{A89D2298-CB1D-438C-4D63-4CCC0EDA81B7}"/>
          </ac:spMkLst>
        </pc:spChg>
      </pc:sldChg>
      <pc:sldChg chg="addSp modSp mod modNotesTx">
        <pc:chgData name="Cecilie Hvid Nesevski" userId="2ab1a92e-ab42-4aae-bb8f-577f873b7880" providerId="ADAL" clId="{8F1EC346-111B-4A0F-93DC-338EC2B44B46}" dt="2026-03-10T16:21:36.312" v="960" actId="14100"/>
        <pc:sldMkLst>
          <pc:docMk/>
          <pc:sldMk cId="3033496915" sldId="2147482910"/>
        </pc:sldMkLst>
        <pc:spChg chg="mod">
          <ac:chgData name="Cecilie Hvid Nesevski" userId="2ab1a92e-ab42-4aae-bb8f-577f873b7880" providerId="ADAL" clId="{8F1EC346-111B-4A0F-93DC-338EC2B44B46}" dt="2026-03-10T15:47:57.872" v="876" actId="20577"/>
          <ac:spMkLst>
            <pc:docMk/>
            <pc:sldMk cId="3033496915" sldId="2147482910"/>
            <ac:spMk id="3" creationId="{237401FC-26A1-6277-8982-934CDA8C5D4D}"/>
          </ac:spMkLst>
        </pc:spChg>
        <pc:spChg chg="mod">
          <ac:chgData name="Cecilie Hvid Nesevski" userId="2ab1a92e-ab42-4aae-bb8f-577f873b7880" providerId="ADAL" clId="{8F1EC346-111B-4A0F-93DC-338EC2B44B46}" dt="2026-03-10T16:21:36.312" v="960" actId="14100"/>
          <ac:spMkLst>
            <pc:docMk/>
            <pc:sldMk cId="3033496915" sldId="2147482910"/>
            <ac:spMk id="5" creationId="{40D9CE7C-CBDF-D106-3F2C-57520EBEC283}"/>
          </ac:spMkLst>
        </pc:spChg>
        <pc:spChg chg="mod">
          <ac:chgData name="Cecilie Hvid Nesevski" userId="2ab1a92e-ab42-4aae-bb8f-577f873b7880" providerId="ADAL" clId="{8F1EC346-111B-4A0F-93DC-338EC2B44B46}" dt="2026-03-10T15:47:40.019" v="855" actId="20577"/>
          <ac:spMkLst>
            <pc:docMk/>
            <pc:sldMk cId="3033496915" sldId="2147482910"/>
            <ac:spMk id="6" creationId="{D2F21EDE-E89B-D9A2-4627-7AA1313D613A}"/>
          </ac:spMkLst>
        </pc:spChg>
        <pc:spChg chg="mod">
          <ac:chgData name="Cecilie Hvid Nesevski" userId="2ab1a92e-ab42-4aae-bb8f-577f873b7880" providerId="ADAL" clId="{8F1EC346-111B-4A0F-93DC-338EC2B44B46}" dt="2026-03-10T15:47:35.664" v="844" actId="20577"/>
          <ac:spMkLst>
            <pc:docMk/>
            <pc:sldMk cId="3033496915" sldId="2147482910"/>
            <ac:spMk id="8" creationId="{9E040C69-0DEA-5403-B1E9-94A1D2613274}"/>
          </ac:spMkLst>
        </pc:spChg>
      </pc:sldChg>
      <pc:sldChg chg="modSp mod modNotesTx">
        <pc:chgData name="Cecilie Hvid Nesevski" userId="2ab1a92e-ab42-4aae-bb8f-577f873b7880" providerId="ADAL" clId="{8F1EC346-111B-4A0F-93DC-338EC2B44B46}" dt="2026-03-10T15:51:08.207" v="942" actId="207"/>
        <pc:sldMkLst>
          <pc:docMk/>
          <pc:sldMk cId="3629984964" sldId="2147482912"/>
        </pc:sldMkLst>
        <pc:spChg chg="mod">
          <ac:chgData name="Cecilie Hvid Nesevski" userId="2ab1a92e-ab42-4aae-bb8f-577f873b7880" providerId="ADAL" clId="{8F1EC346-111B-4A0F-93DC-338EC2B44B46}" dt="2026-03-10T15:48:16.570" v="880" actId="20577"/>
          <ac:spMkLst>
            <pc:docMk/>
            <pc:sldMk cId="3629984964" sldId="2147482912"/>
            <ac:spMk id="12" creationId="{EB439FC4-B159-04F7-20B7-521A83AFEBB6}"/>
          </ac:spMkLst>
        </pc:spChg>
        <pc:spChg chg="mod">
          <ac:chgData name="Cecilie Hvid Nesevski" userId="2ab1a92e-ab42-4aae-bb8f-577f873b7880" providerId="ADAL" clId="{8F1EC346-111B-4A0F-93DC-338EC2B44B46}" dt="2026-03-10T15:51:08.207" v="942" actId="207"/>
          <ac:spMkLst>
            <pc:docMk/>
            <pc:sldMk cId="3629984964" sldId="2147482912"/>
            <ac:spMk id="17" creationId="{BEF832D4-BD0C-D43B-942A-616B66BF0C41}"/>
          </ac:spMkLst>
        </pc:spChg>
      </pc:sldChg>
      <pc:sldChg chg="addSp delSp modSp add mod">
        <pc:chgData name="Cecilie Hvid Nesevski" userId="2ab1a92e-ab42-4aae-bb8f-577f873b7880" providerId="ADAL" clId="{8F1EC346-111B-4A0F-93DC-338EC2B44B46}" dt="2026-02-26T10:26:02.766" v="778" actId="27918"/>
        <pc:sldMkLst>
          <pc:docMk/>
          <pc:sldMk cId="1455734712" sldId="2147482916"/>
        </pc:sldMkLst>
        <pc:graphicFrameChg chg="mod">
          <ac:chgData name="Cecilie Hvid Nesevski" userId="2ab1a92e-ab42-4aae-bb8f-577f873b7880" providerId="ADAL" clId="{8F1EC346-111B-4A0F-93DC-338EC2B44B46}" dt="2026-02-26T10:25:59.248" v="776"/>
          <ac:graphicFrameMkLst>
            <pc:docMk/>
            <pc:sldMk cId="1455734712" sldId="2147482916"/>
            <ac:graphicFrameMk id="7" creationId="{5AD60837-911A-84EE-63D0-AC9E798F5B2A}"/>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r>
              <a:rPr lang="da-DK" b="1">
                <a:solidFill>
                  <a:schemeClr val="tx1"/>
                </a:solidFill>
              </a:rPr>
              <a:t>Årlige afkast*</a:t>
            </a: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endParaRPr lang="da-DK"/>
        </a:p>
      </c:txPr>
    </c:title>
    <c:autoTitleDeleted val="0"/>
    <c:plotArea>
      <c:layout>
        <c:manualLayout>
          <c:layoutTarget val="inner"/>
          <c:xMode val="edge"/>
          <c:yMode val="edge"/>
          <c:x val="9.4960037147175921E-2"/>
          <c:y val="0.10986719464554234"/>
          <c:w val="0.87743644967842005"/>
          <c:h val="0.58310791711898391"/>
        </c:manualLayout>
      </c:layout>
      <c:barChart>
        <c:barDir val="col"/>
        <c:grouping val="clustered"/>
        <c:varyColors val="0"/>
        <c:ser>
          <c:idx val="0"/>
          <c:order val="0"/>
          <c:tx>
            <c:strRef>
              <c:f>Sheet1!$B$1</c:f>
              <c:strCache>
                <c:ptCount val="1"/>
                <c:pt idx="0">
                  <c:v>Globale Aktier Select Columbia Threadneedle</c:v>
                </c:pt>
              </c:strCache>
            </c:strRef>
          </c:tx>
          <c:spPr>
            <a:solidFill>
              <a:schemeClr val="tx2"/>
            </a:solidFill>
            <a:ln>
              <a:noFill/>
            </a:ln>
            <a:effectLst/>
          </c:spPr>
          <c:invertIfNegative val="0"/>
          <c:cat>
            <c:strRef>
              <c:f>Sheet1!$A$2:$A$8</c:f>
              <c:strCache>
                <c:ptCount val="7"/>
                <c:pt idx="0">
                  <c:v>2021</c:v>
                </c:pt>
                <c:pt idx="1">
                  <c:v>2022</c:v>
                </c:pt>
                <c:pt idx="2">
                  <c:v>2023</c:v>
                </c:pt>
                <c:pt idx="3">
                  <c:v>2024</c:v>
                </c:pt>
                <c:pt idx="4">
                  <c:v>2025</c:v>
                </c:pt>
                <c:pt idx="5">
                  <c:v>3 år 
p.a.</c:v>
                </c:pt>
                <c:pt idx="6">
                  <c:v>5 år 
p.a.</c:v>
                </c:pt>
              </c:strCache>
            </c:strRef>
          </c:cat>
          <c:val>
            <c:numRef>
              <c:f>Sheet1!$B$2:$B$8</c:f>
              <c:numCache>
                <c:formatCode>0.00%</c:formatCode>
                <c:ptCount val="7"/>
                <c:pt idx="0">
                  <c:v>0.21029999999999999</c:v>
                </c:pt>
                <c:pt idx="1">
                  <c:v>-0.2029</c:v>
                </c:pt>
                <c:pt idx="2">
                  <c:v>0.2336</c:v>
                </c:pt>
                <c:pt idx="3">
                  <c:v>0.25169999999999998</c:v>
                </c:pt>
                <c:pt idx="4">
                  <c:v>-1.6999999999999999E-3</c:v>
                </c:pt>
                <c:pt idx="5" formatCode="0.0%">
                  <c:v>0.155168208205126</c:v>
                </c:pt>
                <c:pt idx="6" formatCode="0.0%">
                  <c:v>8.2600704307196349E-2</c:v>
                </c:pt>
              </c:numCache>
            </c:numRef>
          </c:val>
          <c:extLst>
            <c:ext xmlns:c16="http://schemas.microsoft.com/office/drawing/2014/chart" uri="{C3380CC4-5D6E-409C-BE32-E72D297353CC}">
              <c16:uniqueId val="{00000000-D9C3-4E6B-B184-48D3D334ED32}"/>
            </c:ext>
          </c:extLst>
        </c:ser>
        <c:ser>
          <c:idx val="1"/>
          <c:order val="1"/>
          <c:tx>
            <c:strRef>
              <c:f>Sheet1!$C$1</c:f>
              <c:strCache>
                <c:ptCount val="1"/>
                <c:pt idx="0">
                  <c:v>MSCI AC World</c:v>
                </c:pt>
              </c:strCache>
            </c:strRef>
          </c:tx>
          <c:spPr>
            <a:solidFill>
              <a:schemeClr val="accent1"/>
            </a:solidFill>
            <a:ln>
              <a:noFill/>
            </a:ln>
            <a:effectLst/>
          </c:spPr>
          <c:invertIfNegative val="0"/>
          <c:cat>
            <c:strRef>
              <c:f>Sheet1!$A$2:$A$8</c:f>
              <c:strCache>
                <c:ptCount val="7"/>
                <c:pt idx="0">
                  <c:v>2021</c:v>
                </c:pt>
                <c:pt idx="1">
                  <c:v>2022</c:v>
                </c:pt>
                <c:pt idx="2">
                  <c:v>2023</c:v>
                </c:pt>
                <c:pt idx="3">
                  <c:v>2024</c:v>
                </c:pt>
                <c:pt idx="4">
                  <c:v>2025</c:v>
                </c:pt>
                <c:pt idx="5">
                  <c:v>3 år 
p.a.</c:v>
                </c:pt>
                <c:pt idx="6">
                  <c:v>5 år 
p.a.</c:v>
                </c:pt>
              </c:strCache>
            </c:strRef>
          </c:cat>
          <c:val>
            <c:numRef>
              <c:f>Sheet1!$C$2:$C$8</c:f>
              <c:numCache>
                <c:formatCode>0.00%</c:formatCode>
                <c:ptCount val="7"/>
                <c:pt idx="0">
                  <c:v>0.27439999999999998</c:v>
                </c:pt>
                <c:pt idx="1">
                  <c:v>-0.1303</c:v>
                </c:pt>
                <c:pt idx="2">
                  <c:v>0.1835</c:v>
                </c:pt>
                <c:pt idx="3">
                  <c:v>0.25380000000000003</c:v>
                </c:pt>
                <c:pt idx="4">
                  <c:v>8.0299999999999996E-2</c:v>
                </c:pt>
                <c:pt idx="5" formatCode="0.0%">
                  <c:v>0.17034427390073148</c:v>
                </c:pt>
                <c:pt idx="6" formatCode="0.0%">
                  <c:v>0.12182012638025808</c:v>
                </c:pt>
              </c:numCache>
            </c:numRef>
          </c:val>
          <c:extLst>
            <c:ext xmlns:c16="http://schemas.microsoft.com/office/drawing/2014/chart" uri="{C3380CC4-5D6E-409C-BE32-E72D297353CC}">
              <c16:uniqueId val="{00000001-D9C3-4E6B-B184-48D3D334ED32}"/>
            </c:ext>
          </c:extLst>
        </c:ser>
        <c:dLbls>
          <c:showLegendKey val="0"/>
          <c:showVal val="0"/>
          <c:showCatName val="0"/>
          <c:showSerName val="0"/>
          <c:showPercent val="0"/>
          <c:showBubbleSize val="0"/>
        </c:dLbls>
        <c:gapWidth val="219"/>
        <c:overlap val="-27"/>
        <c:axId val="1166924864"/>
        <c:axId val="1166909024"/>
      </c:barChart>
      <c:catAx>
        <c:axId val="1166924864"/>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a-DK"/>
          </a:p>
        </c:txPr>
        <c:crossAx val="1166909024"/>
        <c:crosses val="autoZero"/>
        <c:auto val="1"/>
        <c:lblAlgn val="ctr"/>
        <c:lblOffset val="100"/>
        <c:noMultiLvlLbl val="0"/>
      </c:catAx>
      <c:valAx>
        <c:axId val="1166909024"/>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a-DK"/>
          </a:p>
        </c:txPr>
        <c:crossAx val="116692486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a-DK"/>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pPr>
      <a:endParaRPr lang="da-DK"/>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r>
              <a:rPr lang="da-DK" b="1">
                <a:solidFill>
                  <a:schemeClr val="tx1"/>
                </a:solidFill>
              </a:rPr>
              <a:t>5 års afkast vs. danske peers*</a:t>
            </a: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endParaRPr lang="da-DK"/>
        </a:p>
      </c:txPr>
    </c:title>
    <c:autoTitleDeleted val="0"/>
    <c:plotArea>
      <c:layout>
        <c:manualLayout>
          <c:layoutTarget val="inner"/>
          <c:xMode val="edge"/>
          <c:yMode val="edge"/>
          <c:x val="0.10833497485517721"/>
          <c:y val="0.11261296583841016"/>
          <c:w val="0.84911184115970384"/>
          <c:h val="0.55182606826323932"/>
        </c:manualLayout>
      </c:layout>
      <c:lineChart>
        <c:grouping val="standard"/>
        <c:varyColors val="0"/>
        <c:ser>
          <c:idx val="1"/>
          <c:order val="0"/>
          <c:tx>
            <c:strRef>
              <c:f>Sheet1!$C$1</c:f>
              <c:strCache>
                <c:ptCount val="1"/>
                <c:pt idx="0">
                  <c:v>Peer #1</c:v>
                </c:pt>
              </c:strCache>
            </c:strRef>
          </c:tx>
          <c:spPr>
            <a:ln w="12700" cap="rnd">
              <a:solidFill>
                <a:srgbClr val="91A0B2"/>
              </a:solidFill>
              <a:round/>
            </a:ln>
            <a:effectLst/>
          </c:spPr>
          <c:marker>
            <c:symbol val="none"/>
          </c:marker>
          <c:cat>
            <c:numRef>
              <c:f>Sheet1!$A$2:$A$2069</c:f>
              <c:numCache>
                <c:formatCode>d\-mmm\-yy</c:formatCode>
                <c:ptCount val="2068"/>
                <c:pt idx="0">
                  <c:v>44196</c:v>
                </c:pt>
                <c:pt idx="1">
                  <c:v>44197</c:v>
                </c:pt>
                <c:pt idx="2">
                  <c:v>44198</c:v>
                </c:pt>
                <c:pt idx="3">
                  <c:v>44199</c:v>
                </c:pt>
                <c:pt idx="4">
                  <c:v>44200</c:v>
                </c:pt>
                <c:pt idx="5">
                  <c:v>44201</c:v>
                </c:pt>
                <c:pt idx="6">
                  <c:v>44202</c:v>
                </c:pt>
                <c:pt idx="7">
                  <c:v>44203</c:v>
                </c:pt>
                <c:pt idx="8">
                  <c:v>44204</c:v>
                </c:pt>
                <c:pt idx="9">
                  <c:v>44205</c:v>
                </c:pt>
                <c:pt idx="10">
                  <c:v>44206</c:v>
                </c:pt>
                <c:pt idx="11">
                  <c:v>44207</c:v>
                </c:pt>
                <c:pt idx="12">
                  <c:v>44208</c:v>
                </c:pt>
                <c:pt idx="13">
                  <c:v>44209</c:v>
                </c:pt>
                <c:pt idx="14">
                  <c:v>44210</c:v>
                </c:pt>
                <c:pt idx="15">
                  <c:v>44211</c:v>
                </c:pt>
                <c:pt idx="16">
                  <c:v>44212</c:v>
                </c:pt>
                <c:pt idx="17">
                  <c:v>44213</c:v>
                </c:pt>
                <c:pt idx="18">
                  <c:v>44214</c:v>
                </c:pt>
                <c:pt idx="19">
                  <c:v>44215</c:v>
                </c:pt>
                <c:pt idx="20">
                  <c:v>44216</c:v>
                </c:pt>
                <c:pt idx="21">
                  <c:v>44217</c:v>
                </c:pt>
                <c:pt idx="22">
                  <c:v>44218</c:v>
                </c:pt>
                <c:pt idx="23">
                  <c:v>44219</c:v>
                </c:pt>
                <c:pt idx="24">
                  <c:v>44220</c:v>
                </c:pt>
                <c:pt idx="25">
                  <c:v>44221</c:v>
                </c:pt>
                <c:pt idx="26">
                  <c:v>44222</c:v>
                </c:pt>
                <c:pt idx="27">
                  <c:v>44223</c:v>
                </c:pt>
                <c:pt idx="28">
                  <c:v>44224</c:v>
                </c:pt>
                <c:pt idx="29">
                  <c:v>44225</c:v>
                </c:pt>
                <c:pt idx="30">
                  <c:v>44226</c:v>
                </c:pt>
                <c:pt idx="31">
                  <c:v>44227</c:v>
                </c:pt>
                <c:pt idx="32">
                  <c:v>44228</c:v>
                </c:pt>
                <c:pt idx="33">
                  <c:v>44229</c:v>
                </c:pt>
                <c:pt idx="34">
                  <c:v>44230</c:v>
                </c:pt>
                <c:pt idx="35">
                  <c:v>44231</c:v>
                </c:pt>
                <c:pt idx="36">
                  <c:v>44232</c:v>
                </c:pt>
                <c:pt idx="37">
                  <c:v>44233</c:v>
                </c:pt>
                <c:pt idx="38">
                  <c:v>44234</c:v>
                </c:pt>
                <c:pt idx="39">
                  <c:v>44235</c:v>
                </c:pt>
                <c:pt idx="40">
                  <c:v>44236</c:v>
                </c:pt>
                <c:pt idx="41">
                  <c:v>44237</c:v>
                </c:pt>
                <c:pt idx="42">
                  <c:v>44238</c:v>
                </c:pt>
                <c:pt idx="43">
                  <c:v>44239</c:v>
                </c:pt>
                <c:pt idx="44">
                  <c:v>44240</c:v>
                </c:pt>
                <c:pt idx="45">
                  <c:v>44241</c:v>
                </c:pt>
                <c:pt idx="46">
                  <c:v>44242</c:v>
                </c:pt>
                <c:pt idx="47">
                  <c:v>44243</c:v>
                </c:pt>
                <c:pt idx="48">
                  <c:v>44244</c:v>
                </c:pt>
                <c:pt idx="49">
                  <c:v>44245</c:v>
                </c:pt>
                <c:pt idx="50">
                  <c:v>44246</c:v>
                </c:pt>
                <c:pt idx="51">
                  <c:v>44247</c:v>
                </c:pt>
                <c:pt idx="52">
                  <c:v>44248</c:v>
                </c:pt>
                <c:pt idx="53">
                  <c:v>44249</c:v>
                </c:pt>
                <c:pt idx="54">
                  <c:v>44250</c:v>
                </c:pt>
                <c:pt idx="55">
                  <c:v>44251</c:v>
                </c:pt>
                <c:pt idx="56">
                  <c:v>44252</c:v>
                </c:pt>
                <c:pt idx="57">
                  <c:v>44253</c:v>
                </c:pt>
                <c:pt idx="58">
                  <c:v>44254</c:v>
                </c:pt>
                <c:pt idx="59">
                  <c:v>44255</c:v>
                </c:pt>
                <c:pt idx="60">
                  <c:v>44256</c:v>
                </c:pt>
                <c:pt idx="61">
                  <c:v>44257</c:v>
                </c:pt>
                <c:pt idx="62">
                  <c:v>44258</c:v>
                </c:pt>
                <c:pt idx="63">
                  <c:v>44259</c:v>
                </c:pt>
                <c:pt idx="64">
                  <c:v>44260</c:v>
                </c:pt>
                <c:pt idx="65">
                  <c:v>44261</c:v>
                </c:pt>
                <c:pt idx="66">
                  <c:v>44262</c:v>
                </c:pt>
                <c:pt idx="67">
                  <c:v>44263</c:v>
                </c:pt>
                <c:pt idx="68">
                  <c:v>44264</c:v>
                </c:pt>
                <c:pt idx="69">
                  <c:v>44265</c:v>
                </c:pt>
                <c:pt idx="70">
                  <c:v>44266</c:v>
                </c:pt>
                <c:pt idx="71">
                  <c:v>44267</c:v>
                </c:pt>
                <c:pt idx="72">
                  <c:v>44268</c:v>
                </c:pt>
                <c:pt idx="73">
                  <c:v>44269</c:v>
                </c:pt>
                <c:pt idx="74">
                  <c:v>44270</c:v>
                </c:pt>
                <c:pt idx="75">
                  <c:v>44271</c:v>
                </c:pt>
                <c:pt idx="76">
                  <c:v>44272</c:v>
                </c:pt>
                <c:pt idx="77">
                  <c:v>44273</c:v>
                </c:pt>
                <c:pt idx="78">
                  <c:v>44274</c:v>
                </c:pt>
                <c:pt idx="79">
                  <c:v>44275</c:v>
                </c:pt>
                <c:pt idx="80">
                  <c:v>44276</c:v>
                </c:pt>
                <c:pt idx="81">
                  <c:v>44277</c:v>
                </c:pt>
                <c:pt idx="82">
                  <c:v>44278</c:v>
                </c:pt>
                <c:pt idx="83">
                  <c:v>44279</c:v>
                </c:pt>
                <c:pt idx="84">
                  <c:v>44280</c:v>
                </c:pt>
                <c:pt idx="85">
                  <c:v>44281</c:v>
                </c:pt>
                <c:pt idx="86">
                  <c:v>44282</c:v>
                </c:pt>
                <c:pt idx="87">
                  <c:v>44283</c:v>
                </c:pt>
                <c:pt idx="88">
                  <c:v>44284</c:v>
                </c:pt>
                <c:pt idx="89">
                  <c:v>44285</c:v>
                </c:pt>
                <c:pt idx="90">
                  <c:v>44286</c:v>
                </c:pt>
                <c:pt idx="91">
                  <c:v>44287</c:v>
                </c:pt>
                <c:pt idx="92">
                  <c:v>44288</c:v>
                </c:pt>
                <c:pt idx="93">
                  <c:v>44289</c:v>
                </c:pt>
                <c:pt idx="94">
                  <c:v>44290</c:v>
                </c:pt>
                <c:pt idx="95">
                  <c:v>44291</c:v>
                </c:pt>
                <c:pt idx="96">
                  <c:v>44292</c:v>
                </c:pt>
                <c:pt idx="97">
                  <c:v>44293</c:v>
                </c:pt>
                <c:pt idx="98">
                  <c:v>44294</c:v>
                </c:pt>
                <c:pt idx="99">
                  <c:v>44295</c:v>
                </c:pt>
                <c:pt idx="100">
                  <c:v>44296</c:v>
                </c:pt>
                <c:pt idx="101">
                  <c:v>44297</c:v>
                </c:pt>
                <c:pt idx="102">
                  <c:v>44298</c:v>
                </c:pt>
                <c:pt idx="103">
                  <c:v>44299</c:v>
                </c:pt>
                <c:pt idx="104">
                  <c:v>44300</c:v>
                </c:pt>
                <c:pt idx="105">
                  <c:v>44301</c:v>
                </c:pt>
                <c:pt idx="106">
                  <c:v>44302</c:v>
                </c:pt>
                <c:pt idx="107">
                  <c:v>44303</c:v>
                </c:pt>
                <c:pt idx="108">
                  <c:v>44304</c:v>
                </c:pt>
                <c:pt idx="109">
                  <c:v>44305</c:v>
                </c:pt>
                <c:pt idx="110">
                  <c:v>44306</c:v>
                </c:pt>
                <c:pt idx="111">
                  <c:v>44307</c:v>
                </c:pt>
                <c:pt idx="112">
                  <c:v>44308</c:v>
                </c:pt>
                <c:pt idx="113">
                  <c:v>44309</c:v>
                </c:pt>
                <c:pt idx="114">
                  <c:v>44310</c:v>
                </c:pt>
                <c:pt idx="115">
                  <c:v>44311</c:v>
                </c:pt>
                <c:pt idx="116">
                  <c:v>44312</c:v>
                </c:pt>
                <c:pt idx="117">
                  <c:v>44313</c:v>
                </c:pt>
                <c:pt idx="118">
                  <c:v>44314</c:v>
                </c:pt>
                <c:pt idx="119">
                  <c:v>44315</c:v>
                </c:pt>
                <c:pt idx="120">
                  <c:v>44316</c:v>
                </c:pt>
                <c:pt idx="121">
                  <c:v>44317</c:v>
                </c:pt>
                <c:pt idx="122">
                  <c:v>44318</c:v>
                </c:pt>
                <c:pt idx="123">
                  <c:v>44319</c:v>
                </c:pt>
                <c:pt idx="124">
                  <c:v>44320</c:v>
                </c:pt>
                <c:pt idx="125">
                  <c:v>44321</c:v>
                </c:pt>
                <c:pt idx="126">
                  <c:v>44322</c:v>
                </c:pt>
                <c:pt idx="127">
                  <c:v>44323</c:v>
                </c:pt>
                <c:pt idx="128">
                  <c:v>44324</c:v>
                </c:pt>
                <c:pt idx="129">
                  <c:v>44325</c:v>
                </c:pt>
                <c:pt idx="130">
                  <c:v>44326</c:v>
                </c:pt>
                <c:pt idx="131">
                  <c:v>44327</c:v>
                </c:pt>
                <c:pt idx="132">
                  <c:v>44328</c:v>
                </c:pt>
                <c:pt idx="133">
                  <c:v>44329</c:v>
                </c:pt>
                <c:pt idx="134">
                  <c:v>44330</c:v>
                </c:pt>
                <c:pt idx="135">
                  <c:v>44331</c:v>
                </c:pt>
                <c:pt idx="136">
                  <c:v>44332</c:v>
                </c:pt>
                <c:pt idx="137">
                  <c:v>44333</c:v>
                </c:pt>
                <c:pt idx="138">
                  <c:v>44334</c:v>
                </c:pt>
                <c:pt idx="139">
                  <c:v>44335</c:v>
                </c:pt>
                <c:pt idx="140">
                  <c:v>44336</c:v>
                </c:pt>
                <c:pt idx="141">
                  <c:v>44337</c:v>
                </c:pt>
                <c:pt idx="142">
                  <c:v>44338</c:v>
                </c:pt>
                <c:pt idx="143">
                  <c:v>44339</c:v>
                </c:pt>
                <c:pt idx="144">
                  <c:v>44340</c:v>
                </c:pt>
                <c:pt idx="145">
                  <c:v>44341</c:v>
                </c:pt>
                <c:pt idx="146">
                  <c:v>44342</c:v>
                </c:pt>
                <c:pt idx="147">
                  <c:v>44343</c:v>
                </c:pt>
                <c:pt idx="148">
                  <c:v>44344</c:v>
                </c:pt>
                <c:pt idx="149">
                  <c:v>44345</c:v>
                </c:pt>
                <c:pt idx="150">
                  <c:v>44346</c:v>
                </c:pt>
                <c:pt idx="151">
                  <c:v>44347</c:v>
                </c:pt>
                <c:pt idx="152">
                  <c:v>44348</c:v>
                </c:pt>
                <c:pt idx="153">
                  <c:v>44349</c:v>
                </c:pt>
                <c:pt idx="154">
                  <c:v>44350</c:v>
                </c:pt>
                <c:pt idx="155">
                  <c:v>44351</c:v>
                </c:pt>
                <c:pt idx="156">
                  <c:v>44352</c:v>
                </c:pt>
                <c:pt idx="157">
                  <c:v>44353</c:v>
                </c:pt>
                <c:pt idx="158">
                  <c:v>44354</c:v>
                </c:pt>
                <c:pt idx="159">
                  <c:v>44355</c:v>
                </c:pt>
                <c:pt idx="160">
                  <c:v>44356</c:v>
                </c:pt>
                <c:pt idx="161">
                  <c:v>44357</c:v>
                </c:pt>
                <c:pt idx="162">
                  <c:v>44358</c:v>
                </c:pt>
                <c:pt idx="163">
                  <c:v>44359</c:v>
                </c:pt>
                <c:pt idx="164">
                  <c:v>44360</c:v>
                </c:pt>
                <c:pt idx="165">
                  <c:v>44361</c:v>
                </c:pt>
                <c:pt idx="166">
                  <c:v>44362</c:v>
                </c:pt>
                <c:pt idx="167">
                  <c:v>44363</c:v>
                </c:pt>
                <c:pt idx="168">
                  <c:v>44364</c:v>
                </c:pt>
                <c:pt idx="169">
                  <c:v>44365</c:v>
                </c:pt>
                <c:pt idx="170">
                  <c:v>44366</c:v>
                </c:pt>
                <c:pt idx="171">
                  <c:v>44367</c:v>
                </c:pt>
                <c:pt idx="172">
                  <c:v>44368</c:v>
                </c:pt>
                <c:pt idx="173">
                  <c:v>44369</c:v>
                </c:pt>
                <c:pt idx="174">
                  <c:v>44370</c:v>
                </c:pt>
                <c:pt idx="175">
                  <c:v>44371</c:v>
                </c:pt>
                <c:pt idx="176">
                  <c:v>44372</c:v>
                </c:pt>
                <c:pt idx="177">
                  <c:v>44373</c:v>
                </c:pt>
                <c:pt idx="178">
                  <c:v>44374</c:v>
                </c:pt>
                <c:pt idx="179">
                  <c:v>44375</c:v>
                </c:pt>
                <c:pt idx="180">
                  <c:v>44376</c:v>
                </c:pt>
                <c:pt idx="181">
                  <c:v>44377</c:v>
                </c:pt>
                <c:pt idx="182">
                  <c:v>44378</c:v>
                </c:pt>
                <c:pt idx="183">
                  <c:v>44379</c:v>
                </c:pt>
                <c:pt idx="184">
                  <c:v>44380</c:v>
                </c:pt>
                <c:pt idx="185">
                  <c:v>44381</c:v>
                </c:pt>
                <c:pt idx="186">
                  <c:v>44382</c:v>
                </c:pt>
                <c:pt idx="187">
                  <c:v>44383</c:v>
                </c:pt>
                <c:pt idx="188">
                  <c:v>44384</c:v>
                </c:pt>
                <c:pt idx="189">
                  <c:v>44385</c:v>
                </c:pt>
                <c:pt idx="190">
                  <c:v>44386</c:v>
                </c:pt>
                <c:pt idx="191">
                  <c:v>44387</c:v>
                </c:pt>
                <c:pt idx="192">
                  <c:v>44388</c:v>
                </c:pt>
                <c:pt idx="193">
                  <c:v>44389</c:v>
                </c:pt>
                <c:pt idx="194">
                  <c:v>44390</c:v>
                </c:pt>
                <c:pt idx="195">
                  <c:v>44391</c:v>
                </c:pt>
                <c:pt idx="196">
                  <c:v>44392</c:v>
                </c:pt>
                <c:pt idx="197">
                  <c:v>44393</c:v>
                </c:pt>
                <c:pt idx="198">
                  <c:v>44394</c:v>
                </c:pt>
                <c:pt idx="199">
                  <c:v>44395</c:v>
                </c:pt>
                <c:pt idx="200">
                  <c:v>44396</c:v>
                </c:pt>
                <c:pt idx="201">
                  <c:v>44397</c:v>
                </c:pt>
                <c:pt idx="202">
                  <c:v>44398</c:v>
                </c:pt>
                <c:pt idx="203">
                  <c:v>44399</c:v>
                </c:pt>
                <c:pt idx="204">
                  <c:v>44400</c:v>
                </c:pt>
                <c:pt idx="205">
                  <c:v>44401</c:v>
                </c:pt>
                <c:pt idx="206">
                  <c:v>44402</c:v>
                </c:pt>
                <c:pt idx="207">
                  <c:v>44403</c:v>
                </c:pt>
                <c:pt idx="208">
                  <c:v>44404</c:v>
                </c:pt>
                <c:pt idx="209">
                  <c:v>44405</c:v>
                </c:pt>
                <c:pt idx="210">
                  <c:v>44406</c:v>
                </c:pt>
                <c:pt idx="211">
                  <c:v>44407</c:v>
                </c:pt>
                <c:pt idx="212">
                  <c:v>44408</c:v>
                </c:pt>
                <c:pt idx="213">
                  <c:v>44409</c:v>
                </c:pt>
                <c:pt idx="214">
                  <c:v>44410</c:v>
                </c:pt>
                <c:pt idx="215">
                  <c:v>44411</c:v>
                </c:pt>
                <c:pt idx="216">
                  <c:v>44412</c:v>
                </c:pt>
                <c:pt idx="217">
                  <c:v>44413</c:v>
                </c:pt>
                <c:pt idx="218">
                  <c:v>44414</c:v>
                </c:pt>
                <c:pt idx="219">
                  <c:v>44415</c:v>
                </c:pt>
                <c:pt idx="220">
                  <c:v>44416</c:v>
                </c:pt>
                <c:pt idx="221">
                  <c:v>44417</c:v>
                </c:pt>
                <c:pt idx="222">
                  <c:v>44418</c:v>
                </c:pt>
                <c:pt idx="223">
                  <c:v>44419</c:v>
                </c:pt>
                <c:pt idx="224">
                  <c:v>44420</c:v>
                </c:pt>
                <c:pt idx="225">
                  <c:v>44421</c:v>
                </c:pt>
                <c:pt idx="226">
                  <c:v>44422</c:v>
                </c:pt>
                <c:pt idx="227">
                  <c:v>44423</c:v>
                </c:pt>
                <c:pt idx="228">
                  <c:v>44424</c:v>
                </c:pt>
                <c:pt idx="229">
                  <c:v>44425</c:v>
                </c:pt>
                <c:pt idx="230">
                  <c:v>44426</c:v>
                </c:pt>
                <c:pt idx="231">
                  <c:v>44427</c:v>
                </c:pt>
                <c:pt idx="232">
                  <c:v>44428</c:v>
                </c:pt>
                <c:pt idx="233">
                  <c:v>44429</c:v>
                </c:pt>
                <c:pt idx="234">
                  <c:v>44430</c:v>
                </c:pt>
                <c:pt idx="235">
                  <c:v>44431</c:v>
                </c:pt>
                <c:pt idx="236">
                  <c:v>44432</c:v>
                </c:pt>
                <c:pt idx="237">
                  <c:v>44433</c:v>
                </c:pt>
                <c:pt idx="238">
                  <c:v>44434</c:v>
                </c:pt>
                <c:pt idx="239">
                  <c:v>44435</c:v>
                </c:pt>
                <c:pt idx="240">
                  <c:v>44436</c:v>
                </c:pt>
                <c:pt idx="241">
                  <c:v>44437</c:v>
                </c:pt>
                <c:pt idx="242">
                  <c:v>44438</c:v>
                </c:pt>
                <c:pt idx="243">
                  <c:v>44439</c:v>
                </c:pt>
                <c:pt idx="244">
                  <c:v>44440</c:v>
                </c:pt>
                <c:pt idx="245">
                  <c:v>44441</c:v>
                </c:pt>
                <c:pt idx="246">
                  <c:v>44442</c:v>
                </c:pt>
                <c:pt idx="247">
                  <c:v>44443</c:v>
                </c:pt>
                <c:pt idx="248">
                  <c:v>44444</c:v>
                </c:pt>
                <c:pt idx="249">
                  <c:v>44445</c:v>
                </c:pt>
                <c:pt idx="250">
                  <c:v>44446</c:v>
                </c:pt>
                <c:pt idx="251">
                  <c:v>44447</c:v>
                </c:pt>
                <c:pt idx="252">
                  <c:v>44448</c:v>
                </c:pt>
                <c:pt idx="253">
                  <c:v>44449</c:v>
                </c:pt>
                <c:pt idx="254">
                  <c:v>44450</c:v>
                </c:pt>
                <c:pt idx="255">
                  <c:v>44451</c:v>
                </c:pt>
                <c:pt idx="256">
                  <c:v>44452</c:v>
                </c:pt>
                <c:pt idx="257">
                  <c:v>44453</c:v>
                </c:pt>
                <c:pt idx="258">
                  <c:v>44454</c:v>
                </c:pt>
                <c:pt idx="259">
                  <c:v>44455</c:v>
                </c:pt>
                <c:pt idx="260">
                  <c:v>44456</c:v>
                </c:pt>
                <c:pt idx="261">
                  <c:v>44457</c:v>
                </c:pt>
                <c:pt idx="262">
                  <c:v>44458</c:v>
                </c:pt>
                <c:pt idx="263">
                  <c:v>44459</c:v>
                </c:pt>
                <c:pt idx="264">
                  <c:v>44460</c:v>
                </c:pt>
                <c:pt idx="265">
                  <c:v>44461</c:v>
                </c:pt>
                <c:pt idx="266">
                  <c:v>44462</c:v>
                </c:pt>
                <c:pt idx="267">
                  <c:v>44463</c:v>
                </c:pt>
                <c:pt idx="268">
                  <c:v>44464</c:v>
                </c:pt>
                <c:pt idx="269">
                  <c:v>44465</c:v>
                </c:pt>
                <c:pt idx="270">
                  <c:v>44466</c:v>
                </c:pt>
                <c:pt idx="271">
                  <c:v>44467</c:v>
                </c:pt>
                <c:pt idx="272">
                  <c:v>44468</c:v>
                </c:pt>
                <c:pt idx="273">
                  <c:v>44469</c:v>
                </c:pt>
                <c:pt idx="274">
                  <c:v>44470</c:v>
                </c:pt>
                <c:pt idx="275">
                  <c:v>44471</c:v>
                </c:pt>
                <c:pt idx="276">
                  <c:v>44472</c:v>
                </c:pt>
                <c:pt idx="277">
                  <c:v>44473</c:v>
                </c:pt>
                <c:pt idx="278">
                  <c:v>44474</c:v>
                </c:pt>
                <c:pt idx="279">
                  <c:v>44475</c:v>
                </c:pt>
                <c:pt idx="280">
                  <c:v>44476</c:v>
                </c:pt>
                <c:pt idx="281">
                  <c:v>44477</c:v>
                </c:pt>
                <c:pt idx="282">
                  <c:v>44478</c:v>
                </c:pt>
                <c:pt idx="283">
                  <c:v>44479</c:v>
                </c:pt>
                <c:pt idx="284">
                  <c:v>44480</c:v>
                </c:pt>
                <c:pt idx="285">
                  <c:v>44481</c:v>
                </c:pt>
                <c:pt idx="286">
                  <c:v>44482</c:v>
                </c:pt>
                <c:pt idx="287">
                  <c:v>44483</c:v>
                </c:pt>
                <c:pt idx="288">
                  <c:v>44484</c:v>
                </c:pt>
                <c:pt idx="289">
                  <c:v>44485</c:v>
                </c:pt>
                <c:pt idx="290">
                  <c:v>44486</c:v>
                </c:pt>
                <c:pt idx="291">
                  <c:v>44487</c:v>
                </c:pt>
                <c:pt idx="292">
                  <c:v>44488</c:v>
                </c:pt>
                <c:pt idx="293">
                  <c:v>44489</c:v>
                </c:pt>
                <c:pt idx="294">
                  <c:v>44490</c:v>
                </c:pt>
                <c:pt idx="295">
                  <c:v>44491</c:v>
                </c:pt>
                <c:pt idx="296">
                  <c:v>44492</c:v>
                </c:pt>
                <c:pt idx="297">
                  <c:v>44493</c:v>
                </c:pt>
                <c:pt idx="298">
                  <c:v>44494</c:v>
                </c:pt>
                <c:pt idx="299">
                  <c:v>44495</c:v>
                </c:pt>
                <c:pt idx="300">
                  <c:v>44496</c:v>
                </c:pt>
                <c:pt idx="301">
                  <c:v>44497</c:v>
                </c:pt>
                <c:pt idx="302">
                  <c:v>44498</c:v>
                </c:pt>
                <c:pt idx="303">
                  <c:v>44499</c:v>
                </c:pt>
                <c:pt idx="304">
                  <c:v>44500</c:v>
                </c:pt>
                <c:pt idx="305">
                  <c:v>44501</c:v>
                </c:pt>
                <c:pt idx="306">
                  <c:v>44502</c:v>
                </c:pt>
                <c:pt idx="307">
                  <c:v>44503</c:v>
                </c:pt>
                <c:pt idx="308">
                  <c:v>44504</c:v>
                </c:pt>
                <c:pt idx="309">
                  <c:v>44505</c:v>
                </c:pt>
                <c:pt idx="310">
                  <c:v>44506</c:v>
                </c:pt>
                <c:pt idx="311">
                  <c:v>44507</c:v>
                </c:pt>
                <c:pt idx="312">
                  <c:v>44508</c:v>
                </c:pt>
                <c:pt idx="313">
                  <c:v>44509</c:v>
                </c:pt>
                <c:pt idx="314">
                  <c:v>44510</c:v>
                </c:pt>
                <c:pt idx="315">
                  <c:v>44511</c:v>
                </c:pt>
                <c:pt idx="316">
                  <c:v>44512</c:v>
                </c:pt>
                <c:pt idx="317">
                  <c:v>44513</c:v>
                </c:pt>
                <c:pt idx="318">
                  <c:v>44514</c:v>
                </c:pt>
                <c:pt idx="319">
                  <c:v>44515</c:v>
                </c:pt>
                <c:pt idx="320">
                  <c:v>44516</c:v>
                </c:pt>
                <c:pt idx="321">
                  <c:v>44517</c:v>
                </c:pt>
                <c:pt idx="322">
                  <c:v>44518</c:v>
                </c:pt>
                <c:pt idx="323">
                  <c:v>44519</c:v>
                </c:pt>
                <c:pt idx="324">
                  <c:v>44520</c:v>
                </c:pt>
                <c:pt idx="325">
                  <c:v>44521</c:v>
                </c:pt>
                <c:pt idx="326">
                  <c:v>44522</c:v>
                </c:pt>
                <c:pt idx="327">
                  <c:v>44523</c:v>
                </c:pt>
                <c:pt idx="328">
                  <c:v>44524</c:v>
                </c:pt>
                <c:pt idx="329">
                  <c:v>44525</c:v>
                </c:pt>
                <c:pt idx="330">
                  <c:v>44526</c:v>
                </c:pt>
                <c:pt idx="331">
                  <c:v>44527</c:v>
                </c:pt>
                <c:pt idx="332">
                  <c:v>44528</c:v>
                </c:pt>
                <c:pt idx="333">
                  <c:v>44529</c:v>
                </c:pt>
                <c:pt idx="334">
                  <c:v>44530</c:v>
                </c:pt>
                <c:pt idx="335">
                  <c:v>44531</c:v>
                </c:pt>
                <c:pt idx="336">
                  <c:v>44532</c:v>
                </c:pt>
                <c:pt idx="337">
                  <c:v>44533</c:v>
                </c:pt>
                <c:pt idx="338">
                  <c:v>44534</c:v>
                </c:pt>
                <c:pt idx="339">
                  <c:v>44535</c:v>
                </c:pt>
                <c:pt idx="340">
                  <c:v>44536</c:v>
                </c:pt>
                <c:pt idx="341">
                  <c:v>44537</c:v>
                </c:pt>
                <c:pt idx="342">
                  <c:v>44538</c:v>
                </c:pt>
                <c:pt idx="343">
                  <c:v>44539</c:v>
                </c:pt>
                <c:pt idx="344">
                  <c:v>44540</c:v>
                </c:pt>
                <c:pt idx="345">
                  <c:v>44541</c:v>
                </c:pt>
                <c:pt idx="346">
                  <c:v>44542</c:v>
                </c:pt>
                <c:pt idx="347">
                  <c:v>44543</c:v>
                </c:pt>
                <c:pt idx="348">
                  <c:v>44544</c:v>
                </c:pt>
                <c:pt idx="349">
                  <c:v>44545</c:v>
                </c:pt>
                <c:pt idx="350">
                  <c:v>44546</c:v>
                </c:pt>
                <c:pt idx="351">
                  <c:v>44547</c:v>
                </c:pt>
                <c:pt idx="352">
                  <c:v>44548</c:v>
                </c:pt>
                <c:pt idx="353">
                  <c:v>44549</c:v>
                </c:pt>
                <c:pt idx="354">
                  <c:v>44550</c:v>
                </c:pt>
                <c:pt idx="355">
                  <c:v>44551</c:v>
                </c:pt>
                <c:pt idx="356">
                  <c:v>44552</c:v>
                </c:pt>
                <c:pt idx="357">
                  <c:v>44553</c:v>
                </c:pt>
                <c:pt idx="358">
                  <c:v>44554</c:v>
                </c:pt>
                <c:pt idx="359">
                  <c:v>44555</c:v>
                </c:pt>
                <c:pt idx="360">
                  <c:v>44556</c:v>
                </c:pt>
                <c:pt idx="361">
                  <c:v>44557</c:v>
                </c:pt>
                <c:pt idx="362">
                  <c:v>44558</c:v>
                </c:pt>
                <c:pt idx="363">
                  <c:v>44559</c:v>
                </c:pt>
                <c:pt idx="364">
                  <c:v>44560</c:v>
                </c:pt>
                <c:pt idx="365">
                  <c:v>44561</c:v>
                </c:pt>
                <c:pt idx="366">
                  <c:v>44562</c:v>
                </c:pt>
                <c:pt idx="367">
                  <c:v>44563</c:v>
                </c:pt>
                <c:pt idx="368">
                  <c:v>44564</c:v>
                </c:pt>
                <c:pt idx="369">
                  <c:v>44565</c:v>
                </c:pt>
                <c:pt idx="370">
                  <c:v>44566</c:v>
                </c:pt>
                <c:pt idx="371">
                  <c:v>44567</c:v>
                </c:pt>
                <c:pt idx="372">
                  <c:v>44568</c:v>
                </c:pt>
                <c:pt idx="373">
                  <c:v>44569</c:v>
                </c:pt>
                <c:pt idx="374">
                  <c:v>44570</c:v>
                </c:pt>
                <c:pt idx="375">
                  <c:v>44571</c:v>
                </c:pt>
                <c:pt idx="376">
                  <c:v>44572</c:v>
                </c:pt>
                <c:pt idx="377">
                  <c:v>44573</c:v>
                </c:pt>
                <c:pt idx="378">
                  <c:v>44574</c:v>
                </c:pt>
                <c:pt idx="379">
                  <c:v>44575</c:v>
                </c:pt>
                <c:pt idx="380">
                  <c:v>44576</c:v>
                </c:pt>
                <c:pt idx="381">
                  <c:v>44577</c:v>
                </c:pt>
                <c:pt idx="382">
                  <c:v>44578</c:v>
                </c:pt>
                <c:pt idx="383">
                  <c:v>44579</c:v>
                </c:pt>
                <c:pt idx="384">
                  <c:v>44580</c:v>
                </c:pt>
                <c:pt idx="385">
                  <c:v>44581</c:v>
                </c:pt>
                <c:pt idx="386">
                  <c:v>44582</c:v>
                </c:pt>
                <c:pt idx="387">
                  <c:v>44583</c:v>
                </c:pt>
                <c:pt idx="388">
                  <c:v>44584</c:v>
                </c:pt>
                <c:pt idx="389">
                  <c:v>44585</c:v>
                </c:pt>
                <c:pt idx="390">
                  <c:v>44586</c:v>
                </c:pt>
                <c:pt idx="391">
                  <c:v>44587</c:v>
                </c:pt>
                <c:pt idx="392">
                  <c:v>44588</c:v>
                </c:pt>
                <c:pt idx="393">
                  <c:v>44589</c:v>
                </c:pt>
                <c:pt idx="394">
                  <c:v>44590</c:v>
                </c:pt>
                <c:pt idx="395">
                  <c:v>44591</c:v>
                </c:pt>
                <c:pt idx="396">
                  <c:v>44592</c:v>
                </c:pt>
                <c:pt idx="397">
                  <c:v>44593</c:v>
                </c:pt>
                <c:pt idx="398">
                  <c:v>44594</c:v>
                </c:pt>
                <c:pt idx="399">
                  <c:v>44595</c:v>
                </c:pt>
                <c:pt idx="400">
                  <c:v>44596</c:v>
                </c:pt>
                <c:pt idx="401">
                  <c:v>44597</c:v>
                </c:pt>
                <c:pt idx="402">
                  <c:v>44598</c:v>
                </c:pt>
                <c:pt idx="403">
                  <c:v>44599</c:v>
                </c:pt>
                <c:pt idx="404">
                  <c:v>44600</c:v>
                </c:pt>
                <c:pt idx="405">
                  <c:v>44601</c:v>
                </c:pt>
                <c:pt idx="406">
                  <c:v>44602</c:v>
                </c:pt>
                <c:pt idx="407">
                  <c:v>44603</c:v>
                </c:pt>
                <c:pt idx="408">
                  <c:v>44604</c:v>
                </c:pt>
                <c:pt idx="409">
                  <c:v>44605</c:v>
                </c:pt>
                <c:pt idx="410">
                  <c:v>44606</c:v>
                </c:pt>
                <c:pt idx="411">
                  <c:v>44607</c:v>
                </c:pt>
                <c:pt idx="412">
                  <c:v>44608</c:v>
                </c:pt>
                <c:pt idx="413">
                  <c:v>44609</c:v>
                </c:pt>
                <c:pt idx="414">
                  <c:v>44610</c:v>
                </c:pt>
                <c:pt idx="415">
                  <c:v>44611</c:v>
                </c:pt>
                <c:pt idx="416">
                  <c:v>44612</c:v>
                </c:pt>
                <c:pt idx="417">
                  <c:v>44613</c:v>
                </c:pt>
                <c:pt idx="418">
                  <c:v>44614</c:v>
                </c:pt>
                <c:pt idx="419">
                  <c:v>44615</c:v>
                </c:pt>
                <c:pt idx="420">
                  <c:v>44616</c:v>
                </c:pt>
                <c:pt idx="421">
                  <c:v>44617</c:v>
                </c:pt>
                <c:pt idx="422">
                  <c:v>44618</c:v>
                </c:pt>
                <c:pt idx="423">
                  <c:v>44619</c:v>
                </c:pt>
                <c:pt idx="424">
                  <c:v>44620</c:v>
                </c:pt>
                <c:pt idx="425">
                  <c:v>44621</c:v>
                </c:pt>
                <c:pt idx="426">
                  <c:v>44622</c:v>
                </c:pt>
                <c:pt idx="427">
                  <c:v>44623</c:v>
                </c:pt>
                <c:pt idx="428">
                  <c:v>44624</c:v>
                </c:pt>
                <c:pt idx="429">
                  <c:v>44625</c:v>
                </c:pt>
                <c:pt idx="430">
                  <c:v>44626</c:v>
                </c:pt>
                <c:pt idx="431">
                  <c:v>44627</c:v>
                </c:pt>
                <c:pt idx="432">
                  <c:v>44628</c:v>
                </c:pt>
                <c:pt idx="433">
                  <c:v>44629</c:v>
                </c:pt>
                <c:pt idx="434">
                  <c:v>44630</c:v>
                </c:pt>
                <c:pt idx="435">
                  <c:v>44631</c:v>
                </c:pt>
                <c:pt idx="436">
                  <c:v>44632</c:v>
                </c:pt>
                <c:pt idx="437">
                  <c:v>44633</c:v>
                </c:pt>
                <c:pt idx="438">
                  <c:v>44634</c:v>
                </c:pt>
                <c:pt idx="439">
                  <c:v>44635</c:v>
                </c:pt>
                <c:pt idx="440">
                  <c:v>44636</c:v>
                </c:pt>
                <c:pt idx="441">
                  <c:v>44637</c:v>
                </c:pt>
                <c:pt idx="442">
                  <c:v>44638</c:v>
                </c:pt>
                <c:pt idx="443">
                  <c:v>44639</c:v>
                </c:pt>
                <c:pt idx="444">
                  <c:v>44640</c:v>
                </c:pt>
                <c:pt idx="445">
                  <c:v>44641</c:v>
                </c:pt>
                <c:pt idx="446">
                  <c:v>44642</c:v>
                </c:pt>
                <c:pt idx="447">
                  <c:v>44643</c:v>
                </c:pt>
                <c:pt idx="448">
                  <c:v>44644</c:v>
                </c:pt>
                <c:pt idx="449">
                  <c:v>44645</c:v>
                </c:pt>
                <c:pt idx="450">
                  <c:v>44646</c:v>
                </c:pt>
                <c:pt idx="451">
                  <c:v>44647</c:v>
                </c:pt>
                <c:pt idx="452">
                  <c:v>44648</c:v>
                </c:pt>
                <c:pt idx="453">
                  <c:v>44649</c:v>
                </c:pt>
                <c:pt idx="454">
                  <c:v>44650</c:v>
                </c:pt>
                <c:pt idx="455">
                  <c:v>44651</c:v>
                </c:pt>
                <c:pt idx="456">
                  <c:v>44652</c:v>
                </c:pt>
                <c:pt idx="457">
                  <c:v>44653</c:v>
                </c:pt>
                <c:pt idx="458">
                  <c:v>44654</c:v>
                </c:pt>
                <c:pt idx="459">
                  <c:v>44655</c:v>
                </c:pt>
                <c:pt idx="460">
                  <c:v>44656</c:v>
                </c:pt>
                <c:pt idx="461">
                  <c:v>44657</c:v>
                </c:pt>
                <c:pt idx="462">
                  <c:v>44658</c:v>
                </c:pt>
                <c:pt idx="463">
                  <c:v>44659</c:v>
                </c:pt>
                <c:pt idx="464">
                  <c:v>44660</c:v>
                </c:pt>
                <c:pt idx="465">
                  <c:v>44661</c:v>
                </c:pt>
                <c:pt idx="466">
                  <c:v>44662</c:v>
                </c:pt>
                <c:pt idx="467">
                  <c:v>44663</c:v>
                </c:pt>
                <c:pt idx="468">
                  <c:v>44664</c:v>
                </c:pt>
                <c:pt idx="469">
                  <c:v>44665</c:v>
                </c:pt>
                <c:pt idx="470">
                  <c:v>44666</c:v>
                </c:pt>
                <c:pt idx="471">
                  <c:v>44667</c:v>
                </c:pt>
                <c:pt idx="472">
                  <c:v>44668</c:v>
                </c:pt>
                <c:pt idx="473">
                  <c:v>44669</c:v>
                </c:pt>
                <c:pt idx="474">
                  <c:v>44670</c:v>
                </c:pt>
                <c:pt idx="475">
                  <c:v>44671</c:v>
                </c:pt>
                <c:pt idx="476">
                  <c:v>44672</c:v>
                </c:pt>
                <c:pt idx="477">
                  <c:v>44673</c:v>
                </c:pt>
                <c:pt idx="478">
                  <c:v>44674</c:v>
                </c:pt>
                <c:pt idx="479">
                  <c:v>44675</c:v>
                </c:pt>
                <c:pt idx="480">
                  <c:v>44676</c:v>
                </c:pt>
                <c:pt idx="481">
                  <c:v>44677</c:v>
                </c:pt>
                <c:pt idx="482">
                  <c:v>44678</c:v>
                </c:pt>
                <c:pt idx="483">
                  <c:v>44679</c:v>
                </c:pt>
                <c:pt idx="484">
                  <c:v>44680</c:v>
                </c:pt>
                <c:pt idx="485">
                  <c:v>44681</c:v>
                </c:pt>
                <c:pt idx="486">
                  <c:v>44682</c:v>
                </c:pt>
                <c:pt idx="487">
                  <c:v>44683</c:v>
                </c:pt>
                <c:pt idx="488">
                  <c:v>44684</c:v>
                </c:pt>
                <c:pt idx="489">
                  <c:v>44685</c:v>
                </c:pt>
                <c:pt idx="490">
                  <c:v>44686</c:v>
                </c:pt>
                <c:pt idx="491">
                  <c:v>44687</c:v>
                </c:pt>
                <c:pt idx="492">
                  <c:v>44688</c:v>
                </c:pt>
                <c:pt idx="493">
                  <c:v>44689</c:v>
                </c:pt>
                <c:pt idx="494">
                  <c:v>44690</c:v>
                </c:pt>
                <c:pt idx="495">
                  <c:v>44691</c:v>
                </c:pt>
                <c:pt idx="496">
                  <c:v>44692</c:v>
                </c:pt>
                <c:pt idx="497">
                  <c:v>44693</c:v>
                </c:pt>
                <c:pt idx="498">
                  <c:v>44694</c:v>
                </c:pt>
                <c:pt idx="499">
                  <c:v>44695</c:v>
                </c:pt>
                <c:pt idx="500">
                  <c:v>44696</c:v>
                </c:pt>
                <c:pt idx="501">
                  <c:v>44697</c:v>
                </c:pt>
                <c:pt idx="502">
                  <c:v>44698</c:v>
                </c:pt>
                <c:pt idx="503">
                  <c:v>44699</c:v>
                </c:pt>
                <c:pt idx="504">
                  <c:v>44700</c:v>
                </c:pt>
                <c:pt idx="505">
                  <c:v>44701</c:v>
                </c:pt>
                <c:pt idx="506">
                  <c:v>44702</c:v>
                </c:pt>
                <c:pt idx="507">
                  <c:v>44703</c:v>
                </c:pt>
                <c:pt idx="508">
                  <c:v>44704</c:v>
                </c:pt>
                <c:pt idx="509">
                  <c:v>44705</c:v>
                </c:pt>
                <c:pt idx="510">
                  <c:v>44706</c:v>
                </c:pt>
                <c:pt idx="511">
                  <c:v>44707</c:v>
                </c:pt>
                <c:pt idx="512">
                  <c:v>44708</c:v>
                </c:pt>
                <c:pt idx="513">
                  <c:v>44709</c:v>
                </c:pt>
                <c:pt idx="514">
                  <c:v>44710</c:v>
                </c:pt>
                <c:pt idx="515">
                  <c:v>44711</c:v>
                </c:pt>
                <c:pt idx="516">
                  <c:v>44712</c:v>
                </c:pt>
                <c:pt idx="517">
                  <c:v>44713</c:v>
                </c:pt>
                <c:pt idx="518">
                  <c:v>44714</c:v>
                </c:pt>
                <c:pt idx="519">
                  <c:v>44715</c:v>
                </c:pt>
                <c:pt idx="520">
                  <c:v>44716</c:v>
                </c:pt>
                <c:pt idx="521">
                  <c:v>44717</c:v>
                </c:pt>
                <c:pt idx="522">
                  <c:v>44718</c:v>
                </c:pt>
                <c:pt idx="523">
                  <c:v>44719</c:v>
                </c:pt>
                <c:pt idx="524">
                  <c:v>44720</c:v>
                </c:pt>
                <c:pt idx="525">
                  <c:v>44721</c:v>
                </c:pt>
                <c:pt idx="526">
                  <c:v>44722</c:v>
                </c:pt>
                <c:pt idx="527">
                  <c:v>44723</c:v>
                </c:pt>
                <c:pt idx="528">
                  <c:v>44724</c:v>
                </c:pt>
                <c:pt idx="529">
                  <c:v>44725</c:v>
                </c:pt>
                <c:pt idx="530">
                  <c:v>44726</c:v>
                </c:pt>
                <c:pt idx="531">
                  <c:v>44727</c:v>
                </c:pt>
                <c:pt idx="532">
                  <c:v>44728</c:v>
                </c:pt>
                <c:pt idx="533">
                  <c:v>44729</c:v>
                </c:pt>
                <c:pt idx="534">
                  <c:v>44730</c:v>
                </c:pt>
                <c:pt idx="535">
                  <c:v>44731</c:v>
                </c:pt>
                <c:pt idx="536">
                  <c:v>44732</c:v>
                </c:pt>
                <c:pt idx="537">
                  <c:v>44733</c:v>
                </c:pt>
                <c:pt idx="538">
                  <c:v>44734</c:v>
                </c:pt>
                <c:pt idx="539">
                  <c:v>44735</c:v>
                </c:pt>
                <c:pt idx="540">
                  <c:v>44736</c:v>
                </c:pt>
                <c:pt idx="541">
                  <c:v>44737</c:v>
                </c:pt>
                <c:pt idx="542">
                  <c:v>44738</c:v>
                </c:pt>
                <c:pt idx="543">
                  <c:v>44739</c:v>
                </c:pt>
                <c:pt idx="544">
                  <c:v>44740</c:v>
                </c:pt>
                <c:pt idx="545">
                  <c:v>44741</c:v>
                </c:pt>
                <c:pt idx="546">
                  <c:v>44742</c:v>
                </c:pt>
                <c:pt idx="547">
                  <c:v>44743</c:v>
                </c:pt>
                <c:pt idx="548">
                  <c:v>44744</c:v>
                </c:pt>
                <c:pt idx="549">
                  <c:v>44745</c:v>
                </c:pt>
                <c:pt idx="550">
                  <c:v>44746</c:v>
                </c:pt>
                <c:pt idx="551">
                  <c:v>44747</c:v>
                </c:pt>
                <c:pt idx="552">
                  <c:v>44748</c:v>
                </c:pt>
                <c:pt idx="553">
                  <c:v>44749</c:v>
                </c:pt>
                <c:pt idx="554">
                  <c:v>44750</c:v>
                </c:pt>
                <c:pt idx="555">
                  <c:v>44751</c:v>
                </c:pt>
                <c:pt idx="556">
                  <c:v>44752</c:v>
                </c:pt>
                <c:pt idx="557">
                  <c:v>44753</c:v>
                </c:pt>
                <c:pt idx="558">
                  <c:v>44754</c:v>
                </c:pt>
                <c:pt idx="559">
                  <c:v>44755</c:v>
                </c:pt>
                <c:pt idx="560">
                  <c:v>44756</c:v>
                </c:pt>
                <c:pt idx="561">
                  <c:v>44757</c:v>
                </c:pt>
                <c:pt idx="562">
                  <c:v>44758</c:v>
                </c:pt>
                <c:pt idx="563">
                  <c:v>44759</c:v>
                </c:pt>
                <c:pt idx="564">
                  <c:v>44760</c:v>
                </c:pt>
                <c:pt idx="565">
                  <c:v>44761</c:v>
                </c:pt>
                <c:pt idx="566">
                  <c:v>44762</c:v>
                </c:pt>
                <c:pt idx="567">
                  <c:v>44763</c:v>
                </c:pt>
                <c:pt idx="568">
                  <c:v>44764</c:v>
                </c:pt>
                <c:pt idx="569">
                  <c:v>44765</c:v>
                </c:pt>
                <c:pt idx="570">
                  <c:v>44766</c:v>
                </c:pt>
                <c:pt idx="571">
                  <c:v>44767</c:v>
                </c:pt>
                <c:pt idx="572">
                  <c:v>44768</c:v>
                </c:pt>
                <c:pt idx="573">
                  <c:v>44769</c:v>
                </c:pt>
                <c:pt idx="574">
                  <c:v>44770</c:v>
                </c:pt>
                <c:pt idx="575">
                  <c:v>44771</c:v>
                </c:pt>
                <c:pt idx="576">
                  <c:v>44772</c:v>
                </c:pt>
                <c:pt idx="577">
                  <c:v>44773</c:v>
                </c:pt>
                <c:pt idx="578">
                  <c:v>44774</c:v>
                </c:pt>
                <c:pt idx="579">
                  <c:v>44775</c:v>
                </c:pt>
                <c:pt idx="580">
                  <c:v>44776</c:v>
                </c:pt>
                <c:pt idx="581">
                  <c:v>44777</c:v>
                </c:pt>
                <c:pt idx="582">
                  <c:v>44778</c:v>
                </c:pt>
                <c:pt idx="583">
                  <c:v>44779</c:v>
                </c:pt>
                <c:pt idx="584">
                  <c:v>44780</c:v>
                </c:pt>
                <c:pt idx="585">
                  <c:v>44781</c:v>
                </c:pt>
                <c:pt idx="586">
                  <c:v>44782</c:v>
                </c:pt>
                <c:pt idx="587">
                  <c:v>44783</c:v>
                </c:pt>
                <c:pt idx="588">
                  <c:v>44784</c:v>
                </c:pt>
                <c:pt idx="589">
                  <c:v>44785</c:v>
                </c:pt>
                <c:pt idx="590">
                  <c:v>44786</c:v>
                </c:pt>
                <c:pt idx="591">
                  <c:v>44787</c:v>
                </c:pt>
                <c:pt idx="592">
                  <c:v>44788</c:v>
                </c:pt>
                <c:pt idx="593">
                  <c:v>44789</c:v>
                </c:pt>
                <c:pt idx="594">
                  <c:v>44790</c:v>
                </c:pt>
                <c:pt idx="595">
                  <c:v>44791</c:v>
                </c:pt>
                <c:pt idx="596">
                  <c:v>44792</c:v>
                </c:pt>
                <c:pt idx="597">
                  <c:v>44793</c:v>
                </c:pt>
                <c:pt idx="598">
                  <c:v>44794</c:v>
                </c:pt>
                <c:pt idx="599">
                  <c:v>44795</c:v>
                </c:pt>
                <c:pt idx="600">
                  <c:v>44796</c:v>
                </c:pt>
                <c:pt idx="601">
                  <c:v>44797</c:v>
                </c:pt>
                <c:pt idx="602">
                  <c:v>44798</c:v>
                </c:pt>
                <c:pt idx="603">
                  <c:v>44799</c:v>
                </c:pt>
                <c:pt idx="604">
                  <c:v>44800</c:v>
                </c:pt>
                <c:pt idx="605">
                  <c:v>44801</c:v>
                </c:pt>
                <c:pt idx="606">
                  <c:v>44802</c:v>
                </c:pt>
                <c:pt idx="607">
                  <c:v>44803</c:v>
                </c:pt>
                <c:pt idx="608">
                  <c:v>44804</c:v>
                </c:pt>
                <c:pt idx="609">
                  <c:v>44805</c:v>
                </c:pt>
                <c:pt idx="610">
                  <c:v>44806</c:v>
                </c:pt>
                <c:pt idx="611">
                  <c:v>44807</c:v>
                </c:pt>
                <c:pt idx="612">
                  <c:v>44808</c:v>
                </c:pt>
                <c:pt idx="613">
                  <c:v>44809</c:v>
                </c:pt>
                <c:pt idx="614">
                  <c:v>44810</c:v>
                </c:pt>
                <c:pt idx="615">
                  <c:v>44811</c:v>
                </c:pt>
                <c:pt idx="616">
                  <c:v>44812</c:v>
                </c:pt>
                <c:pt idx="617">
                  <c:v>44813</c:v>
                </c:pt>
                <c:pt idx="618">
                  <c:v>44814</c:v>
                </c:pt>
                <c:pt idx="619">
                  <c:v>44815</c:v>
                </c:pt>
                <c:pt idx="620">
                  <c:v>44816</c:v>
                </c:pt>
                <c:pt idx="621">
                  <c:v>44817</c:v>
                </c:pt>
                <c:pt idx="622">
                  <c:v>44818</c:v>
                </c:pt>
                <c:pt idx="623">
                  <c:v>44819</c:v>
                </c:pt>
                <c:pt idx="624">
                  <c:v>44820</c:v>
                </c:pt>
                <c:pt idx="625">
                  <c:v>44821</c:v>
                </c:pt>
                <c:pt idx="626">
                  <c:v>44822</c:v>
                </c:pt>
                <c:pt idx="627">
                  <c:v>44823</c:v>
                </c:pt>
                <c:pt idx="628">
                  <c:v>44824</c:v>
                </c:pt>
                <c:pt idx="629">
                  <c:v>44825</c:v>
                </c:pt>
                <c:pt idx="630">
                  <c:v>44826</c:v>
                </c:pt>
                <c:pt idx="631">
                  <c:v>44827</c:v>
                </c:pt>
                <c:pt idx="632">
                  <c:v>44828</c:v>
                </c:pt>
                <c:pt idx="633">
                  <c:v>44829</c:v>
                </c:pt>
                <c:pt idx="634">
                  <c:v>44830</c:v>
                </c:pt>
                <c:pt idx="635">
                  <c:v>44831</c:v>
                </c:pt>
                <c:pt idx="636">
                  <c:v>44832</c:v>
                </c:pt>
                <c:pt idx="637">
                  <c:v>44833</c:v>
                </c:pt>
                <c:pt idx="638">
                  <c:v>44834</c:v>
                </c:pt>
                <c:pt idx="639">
                  <c:v>44835</c:v>
                </c:pt>
                <c:pt idx="640">
                  <c:v>44836</c:v>
                </c:pt>
                <c:pt idx="641">
                  <c:v>44837</c:v>
                </c:pt>
                <c:pt idx="642">
                  <c:v>44838</c:v>
                </c:pt>
                <c:pt idx="643">
                  <c:v>44839</c:v>
                </c:pt>
                <c:pt idx="644">
                  <c:v>44840</c:v>
                </c:pt>
                <c:pt idx="645">
                  <c:v>44841</c:v>
                </c:pt>
                <c:pt idx="646">
                  <c:v>44842</c:v>
                </c:pt>
                <c:pt idx="647">
                  <c:v>44843</c:v>
                </c:pt>
                <c:pt idx="648">
                  <c:v>44844</c:v>
                </c:pt>
                <c:pt idx="649">
                  <c:v>44845</c:v>
                </c:pt>
                <c:pt idx="650">
                  <c:v>44846</c:v>
                </c:pt>
                <c:pt idx="651">
                  <c:v>44847</c:v>
                </c:pt>
                <c:pt idx="652">
                  <c:v>44848</c:v>
                </c:pt>
                <c:pt idx="653">
                  <c:v>44849</c:v>
                </c:pt>
                <c:pt idx="654">
                  <c:v>44850</c:v>
                </c:pt>
                <c:pt idx="655">
                  <c:v>44851</c:v>
                </c:pt>
                <c:pt idx="656">
                  <c:v>44852</c:v>
                </c:pt>
                <c:pt idx="657">
                  <c:v>44853</c:v>
                </c:pt>
                <c:pt idx="658">
                  <c:v>44854</c:v>
                </c:pt>
                <c:pt idx="659">
                  <c:v>44855</c:v>
                </c:pt>
                <c:pt idx="660">
                  <c:v>44856</c:v>
                </c:pt>
                <c:pt idx="661">
                  <c:v>44857</c:v>
                </c:pt>
                <c:pt idx="662">
                  <c:v>44858</c:v>
                </c:pt>
                <c:pt idx="663">
                  <c:v>44859</c:v>
                </c:pt>
                <c:pt idx="664">
                  <c:v>44860</c:v>
                </c:pt>
                <c:pt idx="665">
                  <c:v>44861</c:v>
                </c:pt>
                <c:pt idx="666">
                  <c:v>44862</c:v>
                </c:pt>
                <c:pt idx="667">
                  <c:v>44863</c:v>
                </c:pt>
                <c:pt idx="668">
                  <c:v>44864</c:v>
                </c:pt>
                <c:pt idx="669">
                  <c:v>44865</c:v>
                </c:pt>
                <c:pt idx="670">
                  <c:v>44866</c:v>
                </c:pt>
                <c:pt idx="671">
                  <c:v>44867</c:v>
                </c:pt>
                <c:pt idx="672">
                  <c:v>44868</c:v>
                </c:pt>
                <c:pt idx="673">
                  <c:v>44869</c:v>
                </c:pt>
                <c:pt idx="674">
                  <c:v>44870</c:v>
                </c:pt>
                <c:pt idx="675">
                  <c:v>44871</c:v>
                </c:pt>
                <c:pt idx="676">
                  <c:v>44872</c:v>
                </c:pt>
                <c:pt idx="677">
                  <c:v>44873</c:v>
                </c:pt>
                <c:pt idx="678">
                  <c:v>44874</c:v>
                </c:pt>
                <c:pt idx="679">
                  <c:v>44875</c:v>
                </c:pt>
                <c:pt idx="680">
                  <c:v>44876</c:v>
                </c:pt>
                <c:pt idx="681">
                  <c:v>44877</c:v>
                </c:pt>
                <c:pt idx="682">
                  <c:v>44878</c:v>
                </c:pt>
                <c:pt idx="683">
                  <c:v>44879</c:v>
                </c:pt>
                <c:pt idx="684">
                  <c:v>44880</c:v>
                </c:pt>
                <c:pt idx="685">
                  <c:v>44881</c:v>
                </c:pt>
                <c:pt idx="686">
                  <c:v>44882</c:v>
                </c:pt>
                <c:pt idx="687">
                  <c:v>44883</c:v>
                </c:pt>
                <c:pt idx="688">
                  <c:v>44884</c:v>
                </c:pt>
                <c:pt idx="689">
                  <c:v>44885</c:v>
                </c:pt>
                <c:pt idx="690">
                  <c:v>44886</c:v>
                </c:pt>
                <c:pt idx="691">
                  <c:v>44887</c:v>
                </c:pt>
                <c:pt idx="692">
                  <c:v>44888</c:v>
                </c:pt>
                <c:pt idx="693">
                  <c:v>44889</c:v>
                </c:pt>
                <c:pt idx="694">
                  <c:v>44890</c:v>
                </c:pt>
                <c:pt idx="695">
                  <c:v>44891</c:v>
                </c:pt>
                <c:pt idx="696">
                  <c:v>44892</c:v>
                </c:pt>
                <c:pt idx="697">
                  <c:v>44893</c:v>
                </c:pt>
                <c:pt idx="698">
                  <c:v>44894</c:v>
                </c:pt>
                <c:pt idx="699">
                  <c:v>44895</c:v>
                </c:pt>
                <c:pt idx="700">
                  <c:v>44896</c:v>
                </c:pt>
                <c:pt idx="701">
                  <c:v>44897</c:v>
                </c:pt>
                <c:pt idx="702">
                  <c:v>44898</c:v>
                </c:pt>
                <c:pt idx="703">
                  <c:v>44899</c:v>
                </c:pt>
                <c:pt idx="704">
                  <c:v>44900</c:v>
                </c:pt>
                <c:pt idx="705">
                  <c:v>44901</c:v>
                </c:pt>
                <c:pt idx="706">
                  <c:v>44902</c:v>
                </c:pt>
                <c:pt idx="707">
                  <c:v>44903</c:v>
                </c:pt>
                <c:pt idx="708">
                  <c:v>44904</c:v>
                </c:pt>
                <c:pt idx="709">
                  <c:v>44905</c:v>
                </c:pt>
                <c:pt idx="710">
                  <c:v>44906</c:v>
                </c:pt>
                <c:pt idx="711">
                  <c:v>44907</c:v>
                </c:pt>
                <c:pt idx="712">
                  <c:v>44908</c:v>
                </c:pt>
                <c:pt idx="713">
                  <c:v>44909</c:v>
                </c:pt>
                <c:pt idx="714">
                  <c:v>44910</c:v>
                </c:pt>
                <c:pt idx="715">
                  <c:v>44911</c:v>
                </c:pt>
                <c:pt idx="716">
                  <c:v>44912</c:v>
                </c:pt>
                <c:pt idx="717">
                  <c:v>44913</c:v>
                </c:pt>
                <c:pt idx="718">
                  <c:v>44914</c:v>
                </c:pt>
                <c:pt idx="719">
                  <c:v>44915</c:v>
                </c:pt>
                <c:pt idx="720">
                  <c:v>44916</c:v>
                </c:pt>
                <c:pt idx="721">
                  <c:v>44917</c:v>
                </c:pt>
                <c:pt idx="722">
                  <c:v>44918</c:v>
                </c:pt>
                <c:pt idx="723">
                  <c:v>44919</c:v>
                </c:pt>
                <c:pt idx="724">
                  <c:v>44920</c:v>
                </c:pt>
                <c:pt idx="725">
                  <c:v>44921</c:v>
                </c:pt>
                <c:pt idx="726">
                  <c:v>44922</c:v>
                </c:pt>
                <c:pt idx="727">
                  <c:v>44923</c:v>
                </c:pt>
                <c:pt idx="728">
                  <c:v>44924</c:v>
                </c:pt>
                <c:pt idx="729">
                  <c:v>44925</c:v>
                </c:pt>
                <c:pt idx="730">
                  <c:v>44926</c:v>
                </c:pt>
                <c:pt idx="731">
                  <c:v>44927</c:v>
                </c:pt>
                <c:pt idx="732">
                  <c:v>44928</c:v>
                </c:pt>
                <c:pt idx="733">
                  <c:v>44929</c:v>
                </c:pt>
                <c:pt idx="734">
                  <c:v>44930</c:v>
                </c:pt>
                <c:pt idx="735">
                  <c:v>44931</c:v>
                </c:pt>
                <c:pt idx="736">
                  <c:v>44932</c:v>
                </c:pt>
                <c:pt idx="737">
                  <c:v>44933</c:v>
                </c:pt>
                <c:pt idx="738">
                  <c:v>44934</c:v>
                </c:pt>
                <c:pt idx="739">
                  <c:v>44935</c:v>
                </c:pt>
                <c:pt idx="740">
                  <c:v>44936</c:v>
                </c:pt>
                <c:pt idx="741">
                  <c:v>44937</c:v>
                </c:pt>
                <c:pt idx="742">
                  <c:v>44938</c:v>
                </c:pt>
                <c:pt idx="743">
                  <c:v>44939</c:v>
                </c:pt>
                <c:pt idx="744">
                  <c:v>44940</c:v>
                </c:pt>
                <c:pt idx="745">
                  <c:v>44941</c:v>
                </c:pt>
                <c:pt idx="746">
                  <c:v>44942</c:v>
                </c:pt>
                <c:pt idx="747">
                  <c:v>44943</c:v>
                </c:pt>
                <c:pt idx="748">
                  <c:v>44944</c:v>
                </c:pt>
                <c:pt idx="749">
                  <c:v>44945</c:v>
                </c:pt>
                <c:pt idx="750">
                  <c:v>44946</c:v>
                </c:pt>
                <c:pt idx="751">
                  <c:v>44947</c:v>
                </c:pt>
                <c:pt idx="752">
                  <c:v>44948</c:v>
                </c:pt>
                <c:pt idx="753">
                  <c:v>44949</c:v>
                </c:pt>
                <c:pt idx="754">
                  <c:v>44950</c:v>
                </c:pt>
                <c:pt idx="755">
                  <c:v>44951</c:v>
                </c:pt>
                <c:pt idx="756">
                  <c:v>44952</c:v>
                </c:pt>
                <c:pt idx="757">
                  <c:v>44953</c:v>
                </c:pt>
                <c:pt idx="758">
                  <c:v>44954</c:v>
                </c:pt>
                <c:pt idx="759">
                  <c:v>44955</c:v>
                </c:pt>
                <c:pt idx="760">
                  <c:v>44956</c:v>
                </c:pt>
                <c:pt idx="761">
                  <c:v>44957</c:v>
                </c:pt>
                <c:pt idx="762">
                  <c:v>44958</c:v>
                </c:pt>
                <c:pt idx="763">
                  <c:v>44959</c:v>
                </c:pt>
                <c:pt idx="764">
                  <c:v>44960</c:v>
                </c:pt>
                <c:pt idx="765">
                  <c:v>44961</c:v>
                </c:pt>
                <c:pt idx="766">
                  <c:v>44962</c:v>
                </c:pt>
                <c:pt idx="767">
                  <c:v>44963</c:v>
                </c:pt>
                <c:pt idx="768">
                  <c:v>44964</c:v>
                </c:pt>
                <c:pt idx="769">
                  <c:v>44965</c:v>
                </c:pt>
                <c:pt idx="770">
                  <c:v>44966</c:v>
                </c:pt>
                <c:pt idx="771">
                  <c:v>44967</c:v>
                </c:pt>
                <c:pt idx="772">
                  <c:v>44968</c:v>
                </c:pt>
                <c:pt idx="773">
                  <c:v>44969</c:v>
                </c:pt>
                <c:pt idx="774">
                  <c:v>44970</c:v>
                </c:pt>
                <c:pt idx="775">
                  <c:v>44971</c:v>
                </c:pt>
                <c:pt idx="776">
                  <c:v>44972</c:v>
                </c:pt>
                <c:pt idx="777">
                  <c:v>44973</c:v>
                </c:pt>
                <c:pt idx="778">
                  <c:v>44974</c:v>
                </c:pt>
                <c:pt idx="779">
                  <c:v>44975</c:v>
                </c:pt>
                <c:pt idx="780">
                  <c:v>44976</c:v>
                </c:pt>
                <c:pt idx="781">
                  <c:v>44977</c:v>
                </c:pt>
                <c:pt idx="782">
                  <c:v>44978</c:v>
                </c:pt>
                <c:pt idx="783">
                  <c:v>44979</c:v>
                </c:pt>
                <c:pt idx="784">
                  <c:v>44980</c:v>
                </c:pt>
                <c:pt idx="785">
                  <c:v>44981</c:v>
                </c:pt>
                <c:pt idx="786">
                  <c:v>44982</c:v>
                </c:pt>
                <c:pt idx="787">
                  <c:v>44983</c:v>
                </c:pt>
                <c:pt idx="788">
                  <c:v>44984</c:v>
                </c:pt>
                <c:pt idx="789">
                  <c:v>44985</c:v>
                </c:pt>
                <c:pt idx="790">
                  <c:v>44986</c:v>
                </c:pt>
                <c:pt idx="791">
                  <c:v>44987</c:v>
                </c:pt>
                <c:pt idx="792">
                  <c:v>44988</c:v>
                </c:pt>
                <c:pt idx="793">
                  <c:v>44989</c:v>
                </c:pt>
                <c:pt idx="794">
                  <c:v>44990</c:v>
                </c:pt>
                <c:pt idx="795">
                  <c:v>44991</c:v>
                </c:pt>
                <c:pt idx="796">
                  <c:v>44992</c:v>
                </c:pt>
                <c:pt idx="797">
                  <c:v>44993</c:v>
                </c:pt>
                <c:pt idx="798">
                  <c:v>44994</c:v>
                </c:pt>
                <c:pt idx="799">
                  <c:v>44995</c:v>
                </c:pt>
                <c:pt idx="800">
                  <c:v>44996</c:v>
                </c:pt>
                <c:pt idx="801">
                  <c:v>44997</c:v>
                </c:pt>
                <c:pt idx="802">
                  <c:v>44998</c:v>
                </c:pt>
                <c:pt idx="803">
                  <c:v>44999</c:v>
                </c:pt>
                <c:pt idx="804">
                  <c:v>45000</c:v>
                </c:pt>
                <c:pt idx="805">
                  <c:v>45001</c:v>
                </c:pt>
                <c:pt idx="806">
                  <c:v>45002</c:v>
                </c:pt>
                <c:pt idx="807">
                  <c:v>45003</c:v>
                </c:pt>
                <c:pt idx="808">
                  <c:v>45004</c:v>
                </c:pt>
                <c:pt idx="809">
                  <c:v>45005</c:v>
                </c:pt>
                <c:pt idx="810">
                  <c:v>45006</c:v>
                </c:pt>
                <c:pt idx="811">
                  <c:v>45007</c:v>
                </c:pt>
                <c:pt idx="812">
                  <c:v>45008</c:v>
                </c:pt>
                <c:pt idx="813">
                  <c:v>45009</c:v>
                </c:pt>
                <c:pt idx="814">
                  <c:v>45010</c:v>
                </c:pt>
                <c:pt idx="815">
                  <c:v>45011</c:v>
                </c:pt>
                <c:pt idx="816">
                  <c:v>45012</c:v>
                </c:pt>
                <c:pt idx="817">
                  <c:v>45013</c:v>
                </c:pt>
                <c:pt idx="818">
                  <c:v>45014</c:v>
                </c:pt>
                <c:pt idx="819">
                  <c:v>45015</c:v>
                </c:pt>
                <c:pt idx="820">
                  <c:v>45016</c:v>
                </c:pt>
                <c:pt idx="821">
                  <c:v>45017</c:v>
                </c:pt>
                <c:pt idx="822">
                  <c:v>45018</c:v>
                </c:pt>
                <c:pt idx="823">
                  <c:v>45019</c:v>
                </c:pt>
                <c:pt idx="824">
                  <c:v>45020</c:v>
                </c:pt>
                <c:pt idx="825">
                  <c:v>45021</c:v>
                </c:pt>
                <c:pt idx="826">
                  <c:v>45022</c:v>
                </c:pt>
                <c:pt idx="827">
                  <c:v>45023</c:v>
                </c:pt>
                <c:pt idx="828">
                  <c:v>45024</c:v>
                </c:pt>
                <c:pt idx="829">
                  <c:v>45025</c:v>
                </c:pt>
                <c:pt idx="830">
                  <c:v>45026</c:v>
                </c:pt>
                <c:pt idx="831">
                  <c:v>45027</c:v>
                </c:pt>
                <c:pt idx="832">
                  <c:v>45028</c:v>
                </c:pt>
                <c:pt idx="833">
                  <c:v>45029</c:v>
                </c:pt>
                <c:pt idx="834">
                  <c:v>45030</c:v>
                </c:pt>
                <c:pt idx="835">
                  <c:v>45031</c:v>
                </c:pt>
                <c:pt idx="836">
                  <c:v>45032</c:v>
                </c:pt>
                <c:pt idx="837">
                  <c:v>45033</c:v>
                </c:pt>
                <c:pt idx="838">
                  <c:v>45034</c:v>
                </c:pt>
                <c:pt idx="839">
                  <c:v>45035</c:v>
                </c:pt>
                <c:pt idx="840">
                  <c:v>45036</c:v>
                </c:pt>
                <c:pt idx="841">
                  <c:v>45037</c:v>
                </c:pt>
                <c:pt idx="842">
                  <c:v>45038</c:v>
                </c:pt>
                <c:pt idx="843">
                  <c:v>45039</c:v>
                </c:pt>
                <c:pt idx="844">
                  <c:v>45040</c:v>
                </c:pt>
                <c:pt idx="845">
                  <c:v>45041</c:v>
                </c:pt>
                <c:pt idx="846">
                  <c:v>45042</c:v>
                </c:pt>
                <c:pt idx="847">
                  <c:v>45043</c:v>
                </c:pt>
                <c:pt idx="848">
                  <c:v>45044</c:v>
                </c:pt>
                <c:pt idx="849">
                  <c:v>45045</c:v>
                </c:pt>
                <c:pt idx="850">
                  <c:v>45046</c:v>
                </c:pt>
                <c:pt idx="851">
                  <c:v>45047</c:v>
                </c:pt>
                <c:pt idx="852">
                  <c:v>45048</c:v>
                </c:pt>
                <c:pt idx="853">
                  <c:v>45049</c:v>
                </c:pt>
                <c:pt idx="854">
                  <c:v>45050</c:v>
                </c:pt>
                <c:pt idx="855">
                  <c:v>45051</c:v>
                </c:pt>
                <c:pt idx="856">
                  <c:v>45052</c:v>
                </c:pt>
                <c:pt idx="857">
                  <c:v>45053</c:v>
                </c:pt>
                <c:pt idx="858">
                  <c:v>45054</c:v>
                </c:pt>
                <c:pt idx="859">
                  <c:v>45055</c:v>
                </c:pt>
                <c:pt idx="860">
                  <c:v>45056</c:v>
                </c:pt>
                <c:pt idx="861">
                  <c:v>45057</c:v>
                </c:pt>
                <c:pt idx="862">
                  <c:v>45058</c:v>
                </c:pt>
                <c:pt idx="863">
                  <c:v>45059</c:v>
                </c:pt>
                <c:pt idx="864">
                  <c:v>45060</c:v>
                </c:pt>
                <c:pt idx="865">
                  <c:v>45061</c:v>
                </c:pt>
                <c:pt idx="866">
                  <c:v>45062</c:v>
                </c:pt>
                <c:pt idx="867">
                  <c:v>45063</c:v>
                </c:pt>
                <c:pt idx="868">
                  <c:v>45064</c:v>
                </c:pt>
                <c:pt idx="869">
                  <c:v>45065</c:v>
                </c:pt>
                <c:pt idx="870">
                  <c:v>45066</c:v>
                </c:pt>
                <c:pt idx="871">
                  <c:v>45067</c:v>
                </c:pt>
                <c:pt idx="872">
                  <c:v>45068</c:v>
                </c:pt>
                <c:pt idx="873">
                  <c:v>45069</c:v>
                </c:pt>
                <c:pt idx="874">
                  <c:v>45070</c:v>
                </c:pt>
                <c:pt idx="875">
                  <c:v>45071</c:v>
                </c:pt>
                <c:pt idx="876">
                  <c:v>45072</c:v>
                </c:pt>
                <c:pt idx="877">
                  <c:v>45073</c:v>
                </c:pt>
                <c:pt idx="878">
                  <c:v>45074</c:v>
                </c:pt>
                <c:pt idx="879">
                  <c:v>45075</c:v>
                </c:pt>
                <c:pt idx="880">
                  <c:v>45076</c:v>
                </c:pt>
                <c:pt idx="881">
                  <c:v>45077</c:v>
                </c:pt>
                <c:pt idx="882">
                  <c:v>45078</c:v>
                </c:pt>
                <c:pt idx="883">
                  <c:v>45079</c:v>
                </c:pt>
                <c:pt idx="884">
                  <c:v>45080</c:v>
                </c:pt>
                <c:pt idx="885">
                  <c:v>45081</c:v>
                </c:pt>
                <c:pt idx="886">
                  <c:v>45082</c:v>
                </c:pt>
                <c:pt idx="887">
                  <c:v>45083</c:v>
                </c:pt>
                <c:pt idx="888">
                  <c:v>45084</c:v>
                </c:pt>
                <c:pt idx="889">
                  <c:v>45085</c:v>
                </c:pt>
                <c:pt idx="890">
                  <c:v>45086</c:v>
                </c:pt>
                <c:pt idx="891">
                  <c:v>45087</c:v>
                </c:pt>
                <c:pt idx="892">
                  <c:v>45088</c:v>
                </c:pt>
                <c:pt idx="893">
                  <c:v>45089</c:v>
                </c:pt>
                <c:pt idx="894">
                  <c:v>45090</c:v>
                </c:pt>
                <c:pt idx="895">
                  <c:v>45091</c:v>
                </c:pt>
                <c:pt idx="896">
                  <c:v>45092</c:v>
                </c:pt>
                <c:pt idx="897">
                  <c:v>45093</c:v>
                </c:pt>
                <c:pt idx="898">
                  <c:v>45094</c:v>
                </c:pt>
                <c:pt idx="899">
                  <c:v>45095</c:v>
                </c:pt>
                <c:pt idx="900">
                  <c:v>45096</c:v>
                </c:pt>
                <c:pt idx="901">
                  <c:v>45097</c:v>
                </c:pt>
                <c:pt idx="902">
                  <c:v>45098</c:v>
                </c:pt>
                <c:pt idx="903">
                  <c:v>45099</c:v>
                </c:pt>
                <c:pt idx="904">
                  <c:v>45100</c:v>
                </c:pt>
                <c:pt idx="905">
                  <c:v>45101</c:v>
                </c:pt>
                <c:pt idx="906">
                  <c:v>45102</c:v>
                </c:pt>
                <c:pt idx="907">
                  <c:v>45103</c:v>
                </c:pt>
                <c:pt idx="908">
                  <c:v>45104</c:v>
                </c:pt>
                <c:pt idx="909">
                  <c:v>45105</c:v>
                </c:pt>
                <c:pt idx="910">
                  <c:v>45106</c:v>
                </c:pt>
                <c:pt idx="911">
                  <c:v>45107</c:v>
                </c:pt>
                <c:pt idx="912">
                  <c:v>45108</c:v>
                </c:pt>
                <c:pt idx="913">
                  <c:v>45109</c:v>
                </c:pt>
                <c:pt idx="914">
                  <c:v>45110</c:v>
                </c:pt>
                <c:pt idx="915">
                  <c:v>45111</c:v>
                </c:pt>
                <c:pt idx="916">
                  <c:v>45112</c:v>
                </c:pt>
                <c:pt idx="917">
                  <c:v>45113</c:v>
                </c:pt>
                <c:pt idx="918">
                  <c:v>45114</c:v>
                </c:pt>
                <c:pt idx="919">
                  <c:v>45115</c:v>
                </c:pt>
                <c:pt idx="920">
                  <c:v>45116</c:v>
                </c:pt>
                <c:pt idx="921">
                  <c:v>45117</c:v>
                </c:pt>
                <c:pt idx="922">
                  <c:v>45118</c:v>
                </c:pt>
                <c:pt idx="923">
                  <c:v>45119</c:v>
                </c:pt>
                <c:pt idx="924">
                  <c:v>45120</c:v>
                </c:pt>
                <c:pt idx="925">
                  <c:v>45121</c:v>
                </c:pt>
                <c:pt idx="926">
                  <c:v>45122</c:v>
                </c:pt>
                <c:pt idx="927">
                  <c:v>45123</c:v>
                </c:pt>
                <c:pt idx="928">
                  <c:v>45124</c:v>
                </c:pt>
                <c:pt idx="929">
                  <c:v>45125</c:v>
                </c:pt>
                <c:pt idx="930">
                  <c:v>45126</c:v>
                </c:pt>
                <c:pt idx="931">
                  <c:v>45127</c:v>
                </c:pt>
                <c:pt idx="932">
                  <c:v>45128</c:v>
                </c:pt>
                <c:pt idx="933">
                  <c:v>45129</c:v>
                </c:pt>
                <c:pt idx="934">
                  <c:v>45130</c:v>
                </c:pt>
                <c:pt idx="935">
                  <c:v>45131</c:v>
                </c:pt>
                <c:pt idx="936">
                  <c:v>45132</c:v>
                </c:pt>
                <c:pt idx="937">
                  <c:v>45133</c:v>
                </c:pt>
                <c:pt idx="938">
                  <c:v>45134</c:v>
                </c:pt>
                <c:pt idx="939">
                  <c:v>45135</c:v>
                </c:pt>
                <c:pt idx="940">
                  <c:v>45136</c:v>
                </c:pt>
                <c:pt idx="941">
                  <c:v>45137</c:v>
                </c:pt>
                <c:pt idx="942">
                  <c:v>45138</c:v>
                </c:pt>
                <c:pt idx="943">
                  <c:v>45139</c:v>
                </c:pt>
                <c:pt idx="944">
                  <c:v>45140</c:v>
                </c:pt>
                <c:pt idx="945">
                  <c:v>45141</c:v>
                </c:pt>
                <c:pt idx="946">
                  <c:v>45142</c:v>
                </c:pt>
                <c:pt idx="947">
                  <c:v>45143</c:v>
                </c:pt>
                <c:pt idx="948">
                  <c:v>45144</c:v>
                </c:pt>
                <c:pt idx="949">
                  <c:v>45145</c:v>
                </c:pt>
                <c:pt idx="950">
                  <c:v>45146</c:v>
                </c:pt>
                <c:pt idx="951">
                  <c:v>45147</c:v>
                </c:pt>
                <c:pt idx="952">
                  <c:v>45148</c:v>
                </c:pt>
                <c:pt idx="953">
                  <c:v>45149</c:v>
                </c:pt>
                <c:pt idx="954">
                  <c:v>45150</c:v>
                </c:pt>
                <c:pt idx="955">
                  <c:v>45151</c:v>
                </c:pt>
                <c:pt idx="956">
                  <c:v>45152</c:v>
                </c:pt>
                <c:pt idx="957">
                  <c:v>45153</c:v>
                </c:pt>
                <c:pt idx="958">
                  <c:v>45154</c:v>
                </c:pt>
                <c:pt idx="959">
                  <c:v>45155</c:v>
                </c:pt>
                <c:pt idx="960">
                  <c:v>45156</c:v>
                </c:pt>
                <c:pt idx="961">
                  <c:v>45157</c:v>
                </c:pt>
                <c:pt idx="962">
                  <c:v>45158</c:v>
                </c:pt>
                <c:pt idx="963">
                  <c:v>45159</c:v>
                </c:pt>
                <c:pt idx="964">
                  <c:v>45160</c:v>
                </c:pt>
                <c:pt idx="965">
                  <c:v>45161</c:v>
                </c:pt>
                <c:pt idx="966">
                  <c:v>45162</c:v>
                </c:pt>
                <c:pt idx="967">
                  <c:v>45163</c:v>
                </c:pt>
                <c:pt idx="968">
                  <c:v>45164</c:v>
                </c:pt>
                <c:pt idx="969">
                  <c:v>45165</c:v>
                </c:pt>
                <c:pt idx="970">
                  <c:v>45166</c:v>
                </c:pt>
                <c:pt idx="971">
                  <c:v>45167</c:v>
                </c:pt>
                <c:pt idx="972">
                  <c:v>45168</c:v>
                </c:pt>
                <c:pt idx="973">
                  <c:v>45169</c:v>
                </c:pt>
                <c:pt idx="974">
                  <c:v>45170</c:v>
                </c:pt>
                <c:pt idx="975">
                  <c:v>45171</c:v>
                </c:pt>
                <c:pt idx="976">
                  <c:v>45172</c:v>
                </c:pt>
                <c:pt idx="977">
                  <c:v>45173</c:v>
                </c:pt>
                <c:pt idx="978">
                  <c:v>45174</c:v>
                </c:pt>
                <c:pt idx="979">
                  <c:v>45175</c:v>
                </c:pt>
                <c:pt idx="980">
                  <c:v>45176</c:v>
                </c:pt>
                <c:pt idx="981">
                  <c:v>45177</c:v>
                </c:pt>
                <c:pt idx="982">
                  <c:v>45178</c:v>
                </c:pt>
                <c:pt idx="983">
                  <c:v>45179</c:v>
                </c:pt>
                <c:pt idx="984">
                  <c:v>45180</c:v>
                </c:pt>
                <c:pt idx="985">
                  <c:v>45181</c:v>
                </c:pt>
                <c:pt idx="986">
                  <c:v>45182</c:v>
                </c:pt>
                <c:pt idx="987">
                  <c:v>45183</c:v>
                </c:pt>
                <c:pt idx="988">
                  <c:v>45184</c:v>
                </c:pt>
                <c:pt idx="989">
                  <c:v>45185</c:v>
                </c:pt>
                <c:pt idx="990">
                  <c:v>45186</c:v>
                </c:pt>
                <c:pt idx="991">
                  <c:v>45187</c:v>
                </c:pt>
                <c:pt idx="992">
                  <c:v>45188</c:v>
                </c:pt>
                <c:pt idx="993">
                  <c:v>45189</c:v>
                </c:pt>
                <c:pt idx="994">
                  <c:v>45190</c:v>
                </c:pt>
                <c:pt idx="995">
                  <c:v>45191</c:v>
                </c:pt>
                <c:pt idx="996">
                  <c:v>45192</c:v>
                </c:pt>
                <c:pt idx="997">
                  <c:v>45193</c:v>
                </c:pt>
                <c:pt idx="998">
                  <c:v>45194</c:v>
                </c:pt>
                <c:pt idx="999">
                  <c:v>45195</c:v>
                </c:pt>
                <c:pt idx="1000">
                  <c:v>45196</c:v>
                </c:pt>
                <c:pt idx="1001">
                  <c:v>45197</c:v>
                </c:pt>
                <c:pt idx="1002">
                  <c:v>45198</c:v>
                </c:pt>
                <c:pt idx="1003">
                  <c:v>45199</c:v>
                </c:pt>
                <c:pt idx="1004">
                  <c:v>45200</c:v>
                </c:pt>
                <c:pt idx="1005">
                  <c:v>45201</c:v>
                </c:pt>
                <c:pt idx="1006">
                  <c:v>45202</c:v>
                </c:pt>
                <c:pt idx="1007">
                  <c:v>45203</c:v>
                </c:pt>
                <c:pt idx="1008">
                  <c:v>45204</c:v>
                </c:pt>
                <c:pt idx="1009">
                  <c:v>45205</c:v>
                </c:pt>
                <c:pt idx="1010">
                  <c:v>45206</c:v>
                </c:pt>
                <c:pt idx="1011">
                  <c:v>45207</c:v>
                </c:pt>
                <c:pt idx="1012">
                  <c:v>45208</c:v>
                </c:pt>
                <c:pt idx="1013">
                  <c:v>45209</c:v>
                </c:pt>
                <c:pt idx="1014">
                  <c:v>45210</c:v>
                </c:pt>
                <c:pt idx="1015">
                  <c:v>45211</c:v>
                </c:pt>
                <c:pt idx="1016">
                  <c:v>45212</c:v>
                </c:pt>
                <c:pt idx="1017">
                  <c:v>45213</c:v>
                </c:pt>
                <c:pt idx="1018">
                  <c:v>45214</c:v>
                </c:pt>
                <c:pt idx="1019">
                  <c:v>45215</c:v>
                </c:pt>
                <c:pt idx="1020">
                  <c:v>45216</c:v>
                </c:pt>
                <c:pt idx="1021">
                  <c:v>45217</c:v>
                </c:pt>
                <c:pt idx="1022">
                  <c:v>45218</c:v>
                </c:pt>
                <c:pt idx="1023">
                  <c:v>45219</c:v>
                </c:pt>
                <c:pt idx="1024">
                  <c:v>45220</c:v>
                </c:pt>
                <c:pt idx="1025">
                  <c:v>45221</c:v>
                </c:pt>
                <c:pt idx="1026">
                  <c:v>45222</c:v>
                </c:pt>
                <c:pt idx="1027">
                  <c:v>45223</c:v>
                </c:pt>
                <c:pt idx="1028">
                  <c:v>45224</c:v>
                </c:pt>
                <c:pt idx="1029">
                  <c:v>45225</c:v>
                </c:pt>
                <c:pt idx="1030">
                  <c:v>45226</c:v>
                </c:pt>
                <c:pt idx="1031">
                  <c:v>45227</c:v>
                </c:pt>
                <c:pt idx="1032">
                  <c:v>45228</c:v>
                </c:pt>
                <c:pt idx="1033">
                  <c:v>45229</c:v>
                </c:pt>
                <c:pt idx="1034">
                  <c:v>45230</c:v>
                </c:pt>
                <c:pt idx="1035">
                  <c:v>45231</c:v>
                </c:pt>
                <c:pt idx="1036">
                  <c:v>45232</c:v>
                </c:pt>
                <c:pt idx="1037">
                  <c:v>45233</c:v>
                </c:pt>
                <c:pt idx="1038">
                  <c:v>45234</c:v>
                </c:pt>
                <c:pt idx="1039">
                  <c:v>45235</c:v>
                </c:pt>
                <c:pt idx="1040">
                  <c:v>45236</c:v>
                </c:pt>
                <c:pt idx="1041">
                  <c:v>45237</c:v>
                </c:pt>
                <c:pt idx="1042">
                  <c:v>45238</c:v>
                </c:pt>
                <c:pt idx="1043">
                  <c:v>45239</c:v>
                </c:pt>
                <c:pt idx="1044">
                  <c:v>45240</c:v>
                </c:pt>
                <c:pt idx="1045">
                  <c:v>45241</c:v>
                </c:pt>
                <c:pt idx="1046">
                  <c:v>45242</c:v>
                </c:pt>
                <c:pt idx="1047">
                  <c:v>45243</c:v>
                </c:pt>
                <c:pt idx="1048">
                  <c:v>45244</c:v>
                </c:pt>
                <c:pt idx="1049">
                  <c:v>45245</c:v>
                </c:pt>
                <c:pt idx="1050">
                  <c:v>45246</c:v>
                </c:pt>
                <c:pt idx="1051">
                  <c:v>45247</c:v>
                </c:pt>
                <c:pt idx="1052">
                  <c:v>45248</c:v>
                </c:pt>
                <c:pt idx="1053">
                  <c:v>45249</c:v>
                </c:pt>
                <c:pt idx="1054">
                  <c:v>45250</c:v>
                </c:pt>
                <c:pt idx="1055">
                  <c:v>45251</c:v>
                </c:pt>
                <c:pt idx="1056">
                  <c:v>45252</c:v>
                </c:pt>
                <c:pt idx="1057">
                  <c:v>45253</c:v>
                </c:pt>
                <c:pt idx="1058">
                  <c:v>45254</c:v>
                </c:pt>
                <c:pt idx="1059">
                  <c:v>45255</c:v>
                </c:pt>
                <c:pt idx="1060">
                  <c:v>45256</c:v>
                </c:pt>
                <c:pt idx="1061">
                  <c:v>45257</c:v>
                </c:pt>
                <c:pt idx="1062">
                  <c:v>45258</c:v>
                </c:pt>
                <c:pt idx="1063">
                  <c:v>45259</c:v>
                </c:pt>
                <c:pt idx="1064">
                  <c:v>45260</c:v>
                </c:pt>
                <c:pt idx="1065">
                  <c:v>45261</c:v>
                </c:pt>
                <c:pt idx="1066">
                  <c:v>45262</c:v>
                </c:pt>
                <c:pt idx="1067">
                  <c:v>45263</c:v>
                </c:pt>
                <c:pt idx="1068">
                  <c:v>45264</c:v>
                </c:pt>
                <c:pt idx="1069">
                  <c:v>45265</c:v>
                </c:pt>
                <c:pt idx="1070">
                  <c:v>45266</c:v>
                </c:pt>
                <c:pt idx="1071">
                  <c:v>45267</c:v>
                </c:pt>
                <c:pt idx="1072">
                  <c:v>45268</c:v>
                </c:pt>
                <c:pt idx="1073">
                  <c:v>45269</c:v>
                </c:pt>
                <c:pt idx="1074">
                  <c:v>45270</c:v>
                </c:pt>
                <c:pt idx="1075">
                  <c:v>45271</c:v>
                </c:pt>
                <c:pt idx="1076">
                  <c:v>45272</c:v>
                </c:pt>
                <c:pt idx="1077">
                  <c:v>45273</c:v>
                </c:pt>
                <c:pt idx="1078">
                  <c:v>45274</c:v>
                </c:pt>
                <c:pt idx="1079">
                  <c:v>45275</c:v>
                </c:pt>
                <c:pt idx="1080">
                  <c:v>45276</c:v>
                </c:pt>
                <c:pt idx="1081">
                  <c:v>45277</c:v>
                </c:pt>
                <c:pt idx="1082">
                  <c:v>45278</c:v>
                </c:pt>
                <c:pt idx="1083">
                  <c:v>45279</c:v>
                </c:pt>
                <c:pt idx="1084">
                  <c:v>45280</c:v>
                </c:pt>
                <c:pt idx="1085">
                  <c:v>45281</c:v>
                </c:pt>
                <c:pt idx="1086">
                  <c:v>45282</c:v>
                </c:pt>
                <c:pt idx="1087">
                  <c:v>45283</c:v>
                </c:pt>
                <c:pt idx="1088">
                  <c:v>45284</c:v>
                </c:pt>
                <c:pt idx="1089">
                  <c:v>45285</c:v>
                </c:pt>
                <c:pt idx="1090">
                  <c:v>45286</c:v>
                </c:pt>
                <c:pt idx="1091">
                  <c:v>45287</c:v>
                </c:pt>
                <c:pt idx="1092">
                  <c:v>45288</c:v>
                </c:pt>
                <c:pt idx="1093">
                  <c:v>45289</c:v>
                </c:pt>
                <c:pt idx="1094">
                  <c:v>45290</c:v>
                </c:pt>
                <c:pt idx="1095">
                  <c:v>45291</c:v>
                </c:pt>
                <c:pt idx="1096">
                  <c:v>45292</c:v>
                </c:pt>
                <c:pt idx="1097">
                  <c:v>45293</c:v>
                </c:pt>
                <c:pt idx="1098">
                  <c:v>45294</c:v>
                </c:pt>
                <c:pt idx="1099">
                  <c:v>45295</c:v>
                </c:pt>
                <c:pt idx="1100">
                  <c:v>45296</c:v>
                </c:pt>
                <c:pt idx="1101">
                  <c:v>45297</c:v>
                </c:pt>
                <c:pt idx="1102">
                  <c:v>45298</c:v>
                </c:pt>
                <c:pt idx="1103">
                  <c:v>45299</c:v>
                </c:pt>
                <c:pt idx="1104">
                  <c:v>45300</c:v>
                </c:pt>
                <c:pt idx="1105">
                  <c:v>45301</c:v>
                </c:pt>
                <c:pt idx="1106">
                  <c:v>45302</c:v>
                </c:pt>
                <c:pt idx="1107">
                  <c:v>45303</c:v>
                </c:pt>
                <c:pt idx="1108">
                  <c:v>45304</c:v>
                </c:pt>
                <c:pt idx="1109">
                  <c:v>45305</c:v>
                </c:pt>
                <c:pt idx="1110">
                  <c:v>45306</c:v>
                </c:pt>
                <c:pt idx="1111">
                  <c:v>45307</c:v>
                </c:pt>
                <c:pt idx="1112">
                  <c:v>45308</c:v>
                </c:pt>
                <c:pt idx="1113">
                  <c:v>45309</c:v>
                </c:pt>
                <c:pt idx="1114">
                  <c:v>45310</c:v>
                </c:pt>
                <c:pt idx="1115">
                  <c:v>45311</c:v>
                </c:pt>
                <c:pt idx="1116">
                  <c:v>45312</c:v>
                </c:pt>
                <c:pt idx="1117">
                  <c:v>45313</c:v>
                </c:pt>
                <c:pt idx="1118">
                  <c:v>45314</c:v>
                </c:pt>
                <c:pt idx="1119">
                  <c:v>45315</c:v>
                </c:pt>
                <c:pt idx="1120">
                  <c:v>45316</c:v>
                </c:pt>
                <c:pt idx="1121">
                  <c:v>45317</c:v>
                </c:pt>
                <c:pt idx="1122">
                  <c:v>45318</c:v>
                </c:pt>
                <c:pt idx="1123">
                  <c:v>45319</c:v>
                </c:pt>
                <c:pt idx="1124">
                  <c:v>45320</c:v>
                </c:pt>
                <c:pt idx="1125">
                  <c:v>45321</c:v>
                </c:pt>
                <c:pt idx="1126">
                  <c:v>45322</c:v>
                </c:pt>
                <c:pt idx="1127">
                  <c:v>45323</c:v>
                </c:pt>
                <c:pt idx="1128">
                  <c:v>45324</c:v>
                </c:pt>
                <c:pt idx="1129">
                  <c:v>45325</c:v>
                </c:pt>
                <c:pt idx="1130">
                  <c:v>45326</c:v>
                </c:pt>
                <c:pt idx="1131">
                  <c:v>45327</c:v>
                </c:pt>
                <c:pt idx="1132">
                  <c:v>45328</c:v>
                </c:pt>
                <c:pt idx="1133">
                  <c:v>45329</c:v>
                </c:pt>
                <c:pt idx="1134">
                  <c:v>45330</c:v>
                </c:pt>
                <c:pt idx="1135">
                  <c:v>45331</c:v>
                </c:pt>
                <c:pt idx="1136">
                  <c:v>45332</c:v>
                </c:pt>
                <c:pt idx="1137">
                  <c:v>45333</c:v>
                </c:pt>
                <c:pt idx="1138">
                  <c:v>45334</c:v>
                </c:pt>
                <c:pt idx="1139">
                  <c:v>45335</c:v>
                </c:pt>
                <c:pt idx="1140">
                  <c:v>45336</c:v>
                </c:pt>
                <c:pt idx="1141">
                  <c:v>45337</c:v>
                </c:pt>
                <c:pt idx="1142">
                  <c:v>45338</c:v>
                </c:pt>
                <c:pt idx="1143">
                  <c:v>45339</c:v>
                </c:pt>
                <c:pt idx="1144">
                  <c:v>45340</c:v>
                </c:pt>
                <c:pt idx="1145">
                  <c:v>45341</c:v>
                </c:pt>
                <c:pt idx="1146">
                  <c:v>45342</c:v>
                </c:pt>
                <c:pt idx="1147">
                  <c:v>45343</c:v>
                </c:pt>
                <c:pt idx="1148">
                  <c:v>45344</c:v>
                </c:pt>
                <c:pt idx="1149">
                  <c:v>45345</c:v>
                </c:pt>
                <c:pt idx="1150">
                  <c:v>45346</c:v>
                </c:pt>
                <c:pt idx="1151">
                  <c:v>45347</c:v>
                </c:pt>
                <c:pt idx="1152">
                  <c:v>45348</c:v>
                </c:pt>
                <c:pt idx="1153">
                  <c:v>45349</c:v>
                </c:pt>
                <c:pt idx="1154">
                  <c:v>45350</c:v>
                </c:pt>
                <c:pt idx="1155">
                  <c:v>45351</c:v>
                </c:pt>
                <c:pt idx="1156">
                  <c:v>45352</c:v>
                </c:pt>
                <c:pt idx="1157">
                  <c:v>45353</c:v>
                </c:pt>
                <c:pt idx="1158">
                  <c:v>45354</c:v>
                </c:pt>
                <c:pt idx="1159">
                  <c:v>45355</c:v>
                </c:pt>
                <c:pt idx="1160">
                  <c:v>45356</c:v>
                </c:pt>
                <c:pt idx="1161">
                  <c:v>45357</c:v>
                </c:pt>
                <c:pt idx="1162">
                  <c:v>45358</c:v>
                </c:pt>
                <c:pt idx="1163">
                  <c:v>45359</c:v>
                </c:pt>
                <c:pt idx="1164">
                  <c:v>45360</c:v>
                </c:pt>
                <c:pt idx="1165">
                  <c:v>45361</c:v>
                </c:pt>
                <c:pt idx="1166">
                  <c:v>45362</c:v>
                </c:pt>
                <c:pt idx="1167">
                  <c:v>45363</c:v>
                </c:pt>
                <c:pt idx="1168">
                  <c:v>45364</c:v>
                </c:pt>
                <c:pt idx="1169">
                  <c:v>45365</c:v>
                </c:pt>
                <c:pt idx="1170">
                  <c:v>45366</c:v>
                </c:pt>
                <c:pt idx="1171">
                  <c:v>45367</c:v>
                </c:pt>
                <c:pt idx="1172">
                  <c:v>45368</c:v>
                </c:pt>
                <c:pt idx="1173">
                  <c:v>45369</c:v>
                </c:pt>
                <c:pt idx="1174">
                  <c:v>45370</c:v>
                </c:pt>
                <c:pt idx="1175">
                  <c:v>45371</c:v>
                </c:pt>
                <c:pt idx="1176">
                  <c:v>45372</c:v>
                </c:pt>
                <c:pt idx="1177">
                  <c:v>45373</c:v>
                </c:pt>
                <c:pt idx="1178">
                  <c:v>45374</c:v>
                </c:pt>
                <c:pt idx="1179">
                  <c:v>45375</c:v>
                </c:pt>
                <c:pt idx="1180">
                  <c:v>45376</c:v>
                </c:pt>
                <c:pt idx="1181">
                  <c:v>45377</c:v>
                </c:pt>
                <c:pt idx="1182">
                  <c:v>45378</c:v>
                </c:pt>
                <c:pt idx="1183">
                  <c:v>45379</c:v>
                </c:pt>
                <c:pt idx="1184">
                  <c:v>45380</c:v>
                </c:pt>
                <c:pt idx="1185">
                  <c:v>45381</c:v>
                </c:pt>
                <c:pt idx="1186">
                  <c:v>45382</c:v>
                </c:pt>
                <c:pt idx="1187">
                  <c:v>45383</c:v>
                </c:pt>
                <c:pt idx="1188">
                  <c:v>45384</c:v>
                </c:pt>
                <c:pt idx="1189">
                  <c:v>45385</c:v>
                </c:pt>
                <c:pt idx="1190">
                  <c:v>45386</c:v>
                </c:pt>
                <c:pt idx="1191">
                  <c:v>45387</c:v>
                </c:pt>
                <c:pt idx="1192">
                  <c:v>45388</c:v>
                </c:pt>
                <c:pt idx="1193">
                  <c:v>45389</c:v>
                </c:pt>
                <c:pt idx="1194">
                  <c:v>45390</c:v>
                </c:pt>
                <c:pt idx="1195">
                  <c:v>45391</c:v>
                </c:pt>
                <c:pt idx="1196">
                  <c:v>45392</c:v>
                </c:pt>
                <c:pt idx="1197">
                  <c:v>45393</c:v>
                </c:pt>
                <c:pt idx="1198">
                  <c:v>45394</c:v>
                </c:pt>
                <c:pt idx="1199">
                  <c:v>45395</c:v>
                </c:pt>
                <c:pt idx="1200">
                  <c:v>45396</c:v>
                </c:pt>
                <c:pt idx="1201">
                  <c:v>45397</c:v>
                </c:pt>
                <c:pt idx="1202">
                  <c:v>45398</c:v>
                </c:pt>
                <c:pt idx="1203">
                  <c:v>45399</c:v>
                </c:pt>
                <c:pt idx="1204">
                  <c:v>45400</c:v>
                </c:pt>
                <c:pt idx="1205">
                  <c:v>45401</c:v>
                </c:pt>
                <c:pt idx="1206">
                  <c:v>45402</c:v>
                </c:pt>
                <c:pt idx="1207">
                  <c:v>45403</c:v>
                </c:pt>
                <c:pt idx="1208">
                  <c:v>45404</c:v>
                </c:pt>
                <c:pt idx="1209">
                  <c:v>45405</c:v>
                </c:pt>
                <c:pt idx="1210">
                  <c:v>45406</c:v>
                </c:pt>
                <c:pt idx="1211">
                  <c:v>45407</c:v>
                </c:pt>
                <c:pt idx="1212">
                  <c:v>45408</c:v>
                </c:pt>
                <c:pt idx="1213">
                  <c:v>45409</c:v>
                </c:pt>
                <c:pt idx="1214">
                  <c:v>45410</c:v>
                </c:pt>
                <c:pt idx="1215">
                  <c:v>45411</c:v>
                </c:pt>
                <c:pt idx="1216">
                  <c:v>45412</c:v>
                </c:pt>
                <c:pt idx="1217">
                  <c:v>45413</c:v>
                </c:pt>
                <c:pt idx="1218">
                  <c:v>45414</c:v>
                </c:pt>
                <c:pt idx="1219">
                  <c:v>45415</c:v>
                </c:pt>
                <c:pt idx="1220">
                  <c:v>45416</c:v>
                </c:pt>
                <c:pt idx="1221">
                  <c:v>45417</c:v>
                </c:pt>
                <c:pt idx="1222">
                  <c:v>45418</c:v>
                </c:pt>
                <c:pt idx="1223">
                  <c:v>45419</c:v>
                </c:pt>
                <c:pt idx="1224">
                  <c:v>45420</c:v>
                </c:pt>
                <c:pt idx="1225">
                  <c:v>45421</c:v>
                </c:pt>
                <c:pt idx="1226">
                  <c:v>45422</c:v>
                </c:pt>
                <c:pt idx="1227">
                  <c:v>45423</c:v>
                </c:pt>
                <c:pt idx="1228">
                  <c:v>45424</c:v>
                </c:pt>
                <c:pt idx="1229">
                  <c:v>45425</c:v>
                </c:pt>
                <c:pt idx="1230">
                  <c:v>45426</c:v>
                </c:pt>
                <c:pt idx="1231">
                  <c:v>45427</c:v>
                </c:pt>
                <c:pt idx="1232">
                  <c:v>45428</c:v>
                </c:pt>
                <c:pt idx="1233">
                  <c:v>45429</c:v>
                </c:pt>
                <c:pt idx="1234">
                  <c:v>45430</c:v>
                </c:pt>
                <c:pt idx="1235">
                  <c:v>45431</c:v>
                </c:pt>
                <c:pt idx="1236">
                  <c:v>45432</c:v>
                </c:pt>
                <c:pt idx="1237">
                  <c:v>45433</c:v>
                </c:pt>
                <c:pt idx="1238">
                  <c:v>45434</c:v>
                </c:pt>
                <c:pt idx="1239">
                  <c:v>45435</c:v>
                </c:pt>
                <c:pt idx="1240">
                  <c:v>45436</c:v>
                </c:pt>
                <c:pt idx="1241">
                  <c:v>45437</c:v>
                </c:pt>
                <c:pt idx="1242">
                  <c:v>45438</c:v>
                </c:pt>
                <c:pt idx="1243">
                  <c:v>45439</c:v>
                </c:pt>
                <c:pt idx="1244">
                  <c:v>45440</c:v>
                </c:pt>
                <c:pt idx="1245">
                  <c:v>45441</c:v>
                </c:pt>
                <c:pt idx="1246">
                  <c:v>45442</c:v>
                </c:pt>
                <c:pt idx="1247">
                  <c:v>45443</c:v>
                </c:pt>
                <c:pt idx="1248">
                  <c:v>45444</c:v>
                </c:pt>
                <c:pt idx="1249">
                  <c:v>45445</c:v>
                </c:pt>
                <c:pt idx="1250">
                  <c:v>45446</c:v>
                </c:pt>
                <c:pt idx="1251">
                  <c:v>45447</c:v>
                </c:pt>
                <c:pt idx="1252">
                  <c:v>45448</c:v>
                </c:pt>
                <c:pt idx="1253">
                  <c:v>45449</c:v>
                </c:pt>
                <c:pt idx="1254">
                  <c:v>45450</c:v>
                </c:pt>
                <c:pt idx="1255">
                  <c:v>45451</c:v>
                </c:pt>
                <c:pt idx="1256">
                  <c:v>45452</c:v>
                </c:pt>
                <c:pt idx="1257">
                  <c:v>45453</c:v>
                </c:pt>
                <c:pt idx="1258">
                  <c:v>45454</c:v>
                </c:pt>
                <c:pt idx="1259">
                  <c:v>45455</c:v>
                </c:pt>
                <c:pt idx="1260">
                  <c:v>45456</c:v>
                </c:pt>
                <c:pt idx="1261">
                  <c:v>45457</c:v>
                </c:pt>
                <c:pt idx="1262">
                  <c:v>45458</c:v>
                </c:pt>
                <c:pt idx="1263">
                  <c:v>45459</c:v>
                </c:pt>
                <c:pt idx="1264">
                  <c:v>45460</c:v>
                </c:pt>
                <c:pt idx="1265">
                  <c:v>45461</c:v>
                </c:pt>
                <c:pt idx="1266">
                  <c:v>45462</c:v>
                </c:pt>
                <c:pt idx="1267">
                  <c:v>45463</c:v>
                </c:pt>
                <c:pt idx="1268">
                  <c:v>45464</c:v>
                </c:pt>
                <c:pt idx="1269">
                  <c:v>45465</c:v>
                </c:pt>
                <c:pt idx="1270">
                  <c:v>45466</c:v>
                </c:pt>
                <c:pt idx="1271">
                  <c:v>45467</c:v>
                </c:pt>
                <c:pt idx="1272">
                  <c:v>45468</c:v>
                </c:pt>
                <c:pt idx="1273">
                  <c:v>45469</c:v>
                </c:pt>
                <c:pt idx="1274">
                  <c:v>45470</c:v>
                </c:pt>
                <c:pt idx="1275">
                  <c:v>45471</c:v>
                </c:pt>
                <c:pt idx="1276">
                  <c:v>45472</c:v>
                </c:pt>
                <c:pt idx="1277">
                  <c:v>45473</c:v>
                </c:pt>
                <c:pt idx="1278">
                  <c:v>45474</c:v>
                </c:pt>
                <c:pt idx="1279">
                  <c:v>45475</c:v>
                </c:pt>
                <c:pt idx="1280">
                  <c:v>45476</c:v>
                </c:pt>
                <c:pt idx="1281">
                  <c:v>45477</c:v>
                </c:pt>
                <c:pt idx="1282">
                  <c:v>45478</c:v>
                </c:pt>
                <c:pt idx="1283">
                  <c:v>45479</c:v>
                </c:pt>
                <c:pt idx="1284">
                  <c:v>45480</c:v>
                </c:pt>
                <c:pt idx="1285">
                  <c:v>45481</c:v>
                </c:pt>
                <c:pt idx="1286">
                  <c:v>45482</c:v>
                </c:pt>
                <c:pt idx="1287">
                  <c:v>45483</c:v>
                </c:pt>
                <c:pt idx="1288">
                  <c:v>45484</c:v>
                </c:pt>
                <c:pt idx="1289">
                  <c:v>45485</c:v>
                </c:pt>
                <c:pt idx="1290">
                  <c:v>45486</c:v>
                </c:pt>
                <c:pt idx="1291">
                  <c:v>45487</c:v>
                </c:pt>
                <c:pt idx="1292">
                  <c:v>45488</c:v>
                </c:pt>
                <c:pt idx="1293">
                  <c:v>45489</c:v>
                </c:pt>
                <c:pt idx="1294">
                  <c:v>45490</c:v>
                </c:pt>
                <c:pt idx="1295">
                  <c:v>45491</c:v>
                </c:pt>
                <c:pt idx="1296">
                  <c:v>45492</c:v>
                </c:pt>
                <c:pt idx="1297">
                  <c:v>45493</c:v>
                </c:pt>
                <c:pt idx="1298">
                  <c:v>45494</c:v>
                </c:pt>
                <c:pt idx="1299">
                  <c:v>45495</c:v>
                </c:pt>
                <c:pt idx="1300">
                  <c:v>45496</c:v>
                </c:pt>
                <c:pt idx="1301">
                  <c:v>45497</c:v>
                </c:pt>
                <c:pt idx="1302">
                  <c:v>45498</c:v>
                </c:pt>
                <c:pt idx="1303">
                  <c:v>45499</c:v>
                </c:pt>
                <c:pt idx="1304">
                  <c:v>45500</c:v>
                </c:pt>
                <c:pt idx="1305">
                  <c:v>45501</c:v>
                </c:pt>
                <c:pt idx="1306">
                  <c:v>45502</c:v>
                </c:pt>
                <c:pt idx="1307">
                  <c:v>45503</c:v>
                </c:pt>
                <c:pt idx="1308">
                  <c:v>45504</c:v>
                </c:pt>
                <c:pt idx="1309">
                  <c:v>45505</c:v>
                </c:pt>
                <c:pt idx="1310">
                  <c:v>45506</c:v>
                </c:pt>
                <c:pt idx="1311">
                  <c:v>45507</c:v>
                </c:pt>
                <c:pt idx="1312">
                  <c:v>45508</c:v>
                </c:pt>
                <c:pt idx="1313">
                  <c:v>45509</c:v>
                </c:pt>
                <c:pt idx="1314">
                  <c:v>45510</c:v>
                </c:pt>
                <c:pt idx="1315">
                  <c:v>45511</c:v>
                </c:pt>
                <c:pt idx="1316">
                  <c:v>45512</c:v>
                </c:pt>
                <c:pt idx="1317">
                  <c:v>45513</c:v>
                </c:pt>
                <c:pt idx="1318">
                  <c:v>45514</c:v>
                </c:pt>
                <c:pt idx="1319">
                  <c:v>45515</c:v>
                </c:pt>
                <c:pt idx="1320">
                  <c:v>45516</c:v>
                </c:pt>
                <c:pt idx="1321">
                  <c:v>45517</c:v>
                </c:pt>
                <c:pt idx="1322">
                  <c:v>45518</c:v>
                </c:pt>
                <c:pt idx="1323">
                  <c:v>45519</c:v>
                </c:pt>
                <c:pt idx="1324">
                  <c:v>45520</c:v>
                </c:pt>
                <c:pt idx="1325">
                  <c:v>45521</c:v>
                </c:pt>
                <c:pt idx="1326">
                  <c:v>45522</c:v>
                </c:pt>
                <c:pt idx="1327">
                  <c:v>45523</c:v>
                </c:pt>
                <c:pt idx="1328">
                  <c:v>45524</c:v>
                </c:pt>
                <c:pt idx="1329">
                  <c:v>45525</c:v>
                </c:pt>
                <c:pt idx="1330">
                  <c:v>45526</c:v>
                </c:pt>
                <c:pt idx="1331">
                  <c:v>45527</c:v>
                </c:pt>
                <c:pt idx="1332">
                  <c:v>45528</c:v>
                </c:pt>
                <c:pt idx="1333">
                  <c:v>45529</c:v>
                </c:pt>
                <c:pt idx="1334">
                  <c:v>45530</c:v>
                </c:pt>
                <c:pt idx="1335">
                  <c:v>45531</c:v>
                </c:pt>
                <c:pt idx="1336">
                  <c:v>45532</c:v>
                </c:pt>
                <c:pt idx="1337">
                  <c:v>45533</c:v>
                </c:pt>
                <c:pt idx="1338">
                  <c:v>45534</c:v>
                </c:pt>
                <c:pt idx="1339">
                  <c:v>45535</c:v>
                </c:pt>
                <c:pt idx="1340">
                  <c:v>45536</c:v>
                </c:pt>
                <c:pt idx="1341">
                  <c:v>45537</c:v>
                </c:pt>
                <c:pt idx="1342">
                  <c:v>45538</c:v>
                </c:pt>
                <c:pt idx="1343">
                  <c:v>45539</c:v>
                </c:pt>
                <c:pt idx="1344">
                  <c:v>45540</c:v>
                </c:pt>
                <c:pt idx="1345">
                  <c:v>45541</c:v>
                </c:pt>
                <c:pt idx="1346">
                  <c:v>45542</c:v>
                </c:pt>
                <c:pt idx="1347">
                  <c:v>45543</c:v>
                </c:pt>
                <c:pt idx="1348">
                  <c:v>45544</c:v>
                </c:pt>
                <c:pt idx="1349">
                  <c:v>45545</c:v>
                </c:pt>
                <c:pt idx="1350">
                  <c:v>45546</c:v>
                </c:pt>
                <c:pt idx="1351">
                  <c:v>45547</c:v>
                </c:pt>
                <c:pt idx="1352">
                  <c:v>45548</c:v>
                </c:pt>
                <c:pt idx="1353">
                  <c:v>45549</c:v>
                </c:pt>
                <c:pt idx="1354">
                  <c:v>45550</c:v>
                </c:pt>
                <c:pt idx="1355">
                  <c:v>45551</c:v>
                </c:pt>
                <c:pt idx="1356">
                  <c:v>45552</c:v>
                </c:pt>
                <c:pt idx="1357">
                  <c:v>45553</c:v>
                </c:pt>
                <c:pt idx="1358">
                  <c:v>45554</c:v>
                </c:pt>
                <c:pt idx="1359">
                  <c:v>45555</c:v>
                </c:pt>
                <c:pt idx="1360">
                  <c:v>45556</c:v>
                </c:pt>
                <c:pt idx="1361">
                  <c:v>45557</c:v>
                </c:pt>
                <c:pt idx="1362">
                  <c:v>45558</c:v>
                </c:pt>
                <c:pt idx="1363">
                  <c:v>45559</c:v>
                </c:pt>
                <c:pt idx="1364">
                  <c:v>45560</c:v>
                </c:pt>
                <c:pt idx="1365">
                  <c:v>45561</c:v>
                </c:pt>
                <c:pt idx="1366">
                  <c:v>45562</c:v>
                </c:pt>
                <c:pt idx="1367">
                  <c:v>45563</c:v>
                </c:pt>
                <c:pt idx="1368">
                  <c:v>45564</c:v>
                </c:pt>
                <c:pt idx="1369">
                  <c:v>45565</c:v>
                </c:pt>
                <c:pt idx="1370">
                  <c:v>45566</c:v>
                </c:pt>
                <c:pt idx="1371">
                  <c:v>45567</c:v>
                </c:pt>
                <c:pt idx="1372">
                  <c:v>45568</c:v>
                </c:pt>
                <c:pt idx="1373">
                  <c:v>45569</c:v>
                </c:pt>
                <c:pt idx="1374">
                  <c:v>45570</c:v>
                </c:pt>
                <c:pt idx="1375">
                  <c:v>45571</c:v>
                </c:pt>
                <c:pt idx="1376">
                  <c:v>45572</c:v>
                </c:pt>
                <c:pt idx="1377">
                  <c:v>45573</c:v>
                </c:pt>
                <c:pt idx="1378">
                  <c:v>45574</c:v>
                </c:pt>
                <c:pt idx="1379">
                  <c:v>45575</c:v>
                </c:pt>
                <c:pt idx="1380">
                  <c:v>45576</c:v>
                </c:pt>
                <c:pt idx="1381">
                  <c:v>45577</c:v>
                </c:pt>
                <c:pt idx="1382">
                  <c:v>45578</c:v>
                </c:pt>
                <c:pt idx="1383">
                  <c:v>45579</c:v>
                </c:pt>
                <c:pt idx="1384">
                  <c:v>45580</c:v>
                </c:pt>
                <c:pt idx="1385">
                  <c:v>45581</c:v>
                </c:pt>
                <c:pt idx="1386">
                  <c:v>45582</c:v>
                </c:pt>
                <c:pt idx="1387">
                  <c:v>45583</c:v>
                </c:pt>
                <c:pt idx="1388">
                  <c:v>45584</c:v>
                </c:pt>
                <c:pt idx="1389">
                  <c:v>45585</c:v>
                </c:pt>
                <c:pt idx="1390">
                  <c:v>45586</c:v>
                </c:pt>
                <c:pt idx="1391">
                  <c:v>45587</c:v>
                </c:pt>
                <c:pt idx="1392">
                  <c:v>45588</c:v>
                </c:pt>
                <c:pt idx="1393">
                  <c:v>45589</c:v>
                </c:pt>
                <c:pt idx="1394">
                  <c:v>45590</c:v>
                </c:pt>
                <c:pt idx="1395">
                  <c:v>45591</c:v>
                </c:pt>
                <c:pt idx="1396">
                  <c:v>45592</c:v>
                </c:pt>
                <c:pt idx="1397">
                  <c:v>45593</c:v>
                </c:pt>
                <c:pt idx="1398">
                  <c:v>45594</c:v>
                </c:pt>
                <c:pt idx="1399">
                  <c:v>45595</c:v>
                </c:pt>
                <c:pt idx="1400">
                  <c:v>45596</c:v>
                </c:pt>
                <c:pt idx="1401">
                  <c:v>45597</c:v>
                </c:pt>
                <c:pt idx="1402">
                  <c:v>45598</c:v>
                </c:pt>
                <c:pt idx="1403">
                  <c:v>45599</c:v>
                </c:pt>
                <c:pt idx="1404">
                  <c:v>45600</c:v>
                </c:pt>
                <c:pt idx="1405">
                  <c:v>45601</c:v>
                </c:pt>
                <c:pt idx="1406">
                  <c:v>45602</c:v>
                </c:pt>
                <c:pt idx="1407">
                  <c:v>45603</c:v>
                </c:pt>
                <c:pt idx="1408">
                  <c:v>45604</c:v>
                </c:pt>
                <c:pt idx="1409">
                  <c:v>45605</c:v>
                </c:pt>
                <c:pt idx="1410">
                  <c:v>45606</c:v>
                </c:pt>
                <c:pt idx="1411">
                  <c:v>45607</c:v>
                </c:pt>
                <c:pt idx="1412">
                  <c:v>45608</c:v>
                </c:pt>
                <c:pt idx="1413">
                  <c:v>45609</c:v>
                </c:pt>
                <c:pt idx="1414">
                  <c:v>45610</c:v>
                </c:pt>
                <c:pt idx="1415">
                  <c:v>45611</c:v>
                </c:pt>
                <c:pt idx="1416">
                  <c:v>45612</c:v>
                </c:pt>
                <c:pt idx="1417">
                  <c:v>45613</c:v>
                </c:pt>
                <c:pt idx="1418">
                  <c:v>45614</c:v>
                </c:pt>
                <c:pt idx="1419">
                  <c:v>45615</c:v>
                </c:pt>
                <c:pt idx="1420">
                  <c:v>45616</c:v>
                </c:pt>
                <c:pt idx="1421">
                  <c:v>45617</c:v>
                </c:pt>
                <c:pt idx="1422">
                  <c:v>45618</c:v>
                </c:pt>
                <c:pt idx="1423">
                  <c:v>45619</c:v>
                </c:pt>
                <c:pt idx="1424">
                  <c:v>45620</c:v>
                </c:pt>
                <c:pt idx="1425">
                  <c:v>45621</c:v>
                </c:pt>
                <c:pt idx="1426">
                  <c:v>45622</c:v>
                </c:pt>
                <c:pt idx="1427">
                  <c:v>45623</c:v>
                </c:pt>
                <c:pt idx="1428">
                  <c:v>45624</c:v>
                </c:pt>
                <c:pt idx="1429">
                  <c:v>45625</c:v>
                </c:pt>
                <c:pt idx="1430">
                  <c:v>45626</c:v>
                </c:pt>
                <c:pt idx="1431">
                  <c:v>45627</c:v>
                </c:pt>
                <c:pt idx="1432">
                  <c:v>45628</c:v>
                </c:pt>
                <c:pt idx="1433">
                  <c:v>45629</c:v>
                </c:pt>
                <c:pt idx="1434">
                  <c:v>45630</c:v>
                </c:pt>
                <c:pt idx="1435">
                  <c:v>45631</c:v>
                </c:pt>
                <c:pt idx="1436">
                  <c:v>45632</c:v>
                </c:pt>
                <c:pt idx="1437">
                  <c:v>45633</c:v>
                </c:pt>
                <c:pt idx="1438">
                  <c:v>45634</c:v>
                </c:pt>
                <c:pt idx="1439">
                  <c:v>45635</c:v>
                </c:pt>
                <c:pt idx="1440">
                  <c:v>45636</c:v>
                </c:pt>
                <c:pt idx="1441">
                  <c:v>45637</c:v>
                </c:pt>
                <c:pt idx="1442">
                  <c:v>45638</c:v>
                </c:pt>
                <c:pt idx="1443">
                  <c:v>45639</c:v>
                </c:pt>
                <c:pt idx="1444">
                  <c:v>45640</c:v>
                </c:pt>
                <c:pt idx="1445">
                  <c:v>45641</c:v>
                </c:pt>
                <c:pt idx="1446">
                  <c:v>45642</c:v>
                </c:pt>
                <c:pt idx="1447">
                  <c:v>45643</c:v>
                </c:pt>
                <c:pt idx="1448">
                  <c:v>45644</c:v>
                </c:pt>
                <c:pt idx="1449">
                  <c:v>45645</c:v>
                </c:pt>
                <c:pt idx="1450">
                  <c:v>45646</c:v>
                </c:pt>
                <c:pt idx="1451">
                  <c:v>45647</c:v>
                </c:pt>
                <c:pt idx="1452">
                  <c:v>45648</c:v>
                </c:pt>
                <c:pt idx="1453">
                  <c:v>45649</c:v>
                </c:pt>
                <c:pt idx="1454">
                  <c:v>45650</c:v>
                </c:pt>
                <c:pt idx="1455">
                  <c:v>45651</c:v>
                </c:pt>
                <c:pt idx="1456">
                  <c:v>45652</c:v>
                </c:pt>
                <c:pt idx="1457">
                  <c:v>45653</c:v>
                </c:pt>
                <c:pt idx="1458">
                  <c:v>45654</c:v>
                </c:pt>
                <c:pt idx="1459">
                  <c:v>45655</c:v>
                </c:pt>
                <c:pt idx="1460">
                  <c:v>45656</c:v>
                </c:pt>
                <c:pt idx="1461">
                  <c:v>45657</c:v>
                </c:pt>
                <c:pt idx="1462">
                  <c:v>45658</c:v>
                </c:pt>
                <c:pt idx="1463">
                  <c:v>45659</c:v>
                </c:pt>
                <c:pt idx="1464">
                  <c:v>45660</c:v>
                </c:pt>
                <c:pt idx="1465">
                  <c:v>45661</c:v>
                </c:pt>
                <c:pt idx="1466">
                  <c:v>45662</c:v>
                </c:pt>
                <c:pt idx="1467">
                  <c:v>45663</c:v>
                </c:pt>
                <c:pt idx="1468">
                  <c:v>45664</c:v>
                </c:pt>
                <c:pt idx="1469">
                  <c:v>45665</c:v>
                </c:pt>
                <c:pt idx="1470">
                  <c:v>45666</c:v>
                </c:pt>
                <c:pt idx="1471">
                  <c:v>45667</c:v>
                </c:pt>
                <c:pt idx="1472">
                  <c:v>45668</c:v>
                </c:pt>
                <c:pt idx="1473">
                  <c:v>45669</c:v>
                </c:pt>
                <c:pt idx="1474">
                  <c:v>45670</c:v>
                </c:pt>
                <c:pt idx="1475">
                  <c:v>45671</c:v>
                </c:pt>
                <c:pt idx="1476">
                  <c:v>45672</c:v>
                </c:pt>
                <c:pt idx="1477">
                  <c:v>45673</c:v>
                </c:pt>
                <c:pt idx="1478">
                  <c:v>45674</c:v>
                </c:pt>
                <c:pt idx="1479">
                  <c:v>45675</c:v>
                </c:pt>
                <c:pt idx="1480">
                  <c:v>45676</c:v>
                </c:pt>
                <c:pt idx="1481">
                  <c:v>45677</c:v>
                </c:pt>
                <c:pt idx="1482">
                  <c:v>45678</c:v>
                </c:pt>
                <c:pt idx="1483">
                  <c:v>45679</c:v>
                </c:pt>
                <c:pt idx="1484">
                  <c:v>45680</c:v>
                </c:pt>
                <c:pt idx="1485">
                  <c:v>45681</c:v>
                </c:pt>
                <c:pt idx="1486">
                  <c:v>45682</c:v>
                </c:pt>
                <c:pt idx="1487">
                  <c:v>45683</c:v>
                </c:pt>
                <c:pt idx="1488">
                  <c:v>45684</c:v>
                </c:pt>
                <c:pt idx="1489">
                  <c:v>45685</c:v>
                </c:pt>
                <c:pt idx="1490">
                  <c:v>45686</c:v>
                </c:pt>
                <c:pt idx="1491">
                  <c:v>45687</c:v>
                </c:pt>
                <c:pt idx="1492">
                  <c:v>45688</c:v>
                </c:pt>
                <c:pt idx="1493">
                  <c:v>45689</c:v>
                </c:pt>
                <c:pt idx="1494">
                  <c:v>45690</c:v>
                </c:pt>
                <c:pt idx="1495">
                  <c:v>45691</c:v>
                </c:pt>
                <c:pt idx="1496">
                  <c:v>45692</c:v>
                </c:pt>
                <c:pt idx="1497">
                  <c:v>45693</c:v>
                </c:pt>
                <c:pt idx="1498">
                  <c:v>45694</c:v>
                </c:pt>
                <c:pt idx="1499">
                  <c:v>45695</c:v>
                </c:pt>
                <c:pt idx="1500">
                  <c:v>45696</c:v>
                </c:pt>
                <c:pt idx="1501">
                  <c:v>45697</c:v>
                </c:pt>
                <c:pt idx="1502">
                  <c:v>45698</c:v>
                </c:pt>
                <c:pt idx="1503">
                  <c:v>45699</c:v>
                </c:pt>
                <c:pt idx="1504">
                  <c:v>45700</c:v>
                </c:pt>
                <c:pt idx="1505">
                  <c:v>45701</c:v>
                </c:pt>
                <c:pt idx="1506">
                  <c:v>45702</c:v>
                </c:pt>
                <c:pt idx="1507">
                  <c:v>45703</c:v>
                </c:pt>
                <c:pt idx="1508">
                  <c:v>45704</c:v>
                </c:pt>
                <c:pt idx="1509">
                  <c:v>45705</c:v>
                </c:pt>
                <c:pt idx="1510">
                  <c:v>45706</c:v>
                </c:pt>
                <c:pt idx="1511">
                  <c:v>45707</c:v>
                </c:pt>
                <c:pt idx="1512">
                  <c:v>45708</c:v>
                </c:pt>
                <c:pt idx="1513">
                  <c:v>45709</c:v>
                </c:pt>
                <c:pt idx="1514">
                  <c:v>45710</c:v>
                </c:pt>
                <c:pt idx="1515">
                  <c:v>45711</c:v>
                </c:pt>
                <c:pt idx="1516">
                  <c:v>45712</c:v>
                </c:pt>
                <c:pt idx="1517">
                  <c:v>45713</c:v>
                </c:pt>
                <c:pt idx="1518">
                  <c:v>45714</c:v>
                </c:pt>
                <c:pt idx="1519">
                  <c:v>45715</c:v>
                </c:pt>
                <c:pt idx="1520">
                  <c:v>45716</c:v>
                </c:pt>
                <c:pt idx="1521">
                  <c:v>45717</c:v>
                </c:pt>
                <c:pt idx="1522">
                  <c:v>45718</c:v>
                </c:pt>
                <c:pt idx="1523">
                  <c:v>45719</c:v>
                </c:pt>
                <c:pt idx="1524">
                  <c:v>45720</c:v>
                </c:pt>
                <c:pt idx="1525">
                  <c:v>45721</c:v>
                </c:pt>
                <c:pt idx="1526">
                  <c:v>45722</c:v>
                </c:pt>
                <c:pt idx="1527">
                  <c:v>45723</c:v>
                </c:pt>
                <c:pt idx="1528">
                  <c:v>45724</c:v>
                </c:pt>
                <c:pt idx="1529">
                  <c:v>45725</c:v>
                </c:pt>
                <c:pt idx="1530">
                  <c:v>45726</c:v>
                </c:pt>
                <c:pt idx="1531">
                  <c:v>45727</c:v>
                </c:pt>
                <c:pt idx="1532">
                  <c:v>45728</c:v>
                </c:pt>
                <c:pt idx="1533">
                  <c:v>45729</c:v>
                </c:pt>
                <c:pt idx="1534">
                  <c:v>45730</c:v>
                </c:pt>
                <c:pt idx="1535">
                  <c:v>45731</c:v>
                </c:pt>
                <c:pt idx="1536">
                  <c:v>45732</c:v>
                </c:pt>
                <c:pt idx="1537">
                  <c:v>45733</c:v>
                </c:pt>
                <c:pt idx="1538">
                  <c:v>45734</c:v>
                </c:pt>
                <c:pt idx="1539">
                  <c:v>45735</c:v>
                </c:pt>
                <c:pt idx="1540">
                  <c:v>45736</c:v>
                </c:pt>
                <c:pt idx="1541">
                  <c:v>45737</c:v>
                </c:pt>
                <c:pt idx="1542">
                  <c:v>45738</c:v>
                </c:pt>
                <c:pt idx="1543">
                  <c:v>45739</c:v>
                </c:pt>
                <c:pt idx="1544">
                  <c:v>45740</c:v>
                </c:pt>
                <c:pt idx="1545">
                  <c:v>45741</c:v>
                </c:pt>
                <c:pt idx="1546">
                  <c:v>45742</c:v>
                </c:pt>
                <c:pt idx="1547">
                  <c:v>45743</c:v>
                </c:pt>
                <c:pt idx="1548">
                  <c:v>45744</c:v>
                </c:pt>
                <c:pt idx="1549">
                  <c:v>45745</c:v>
                </c:pt>
                <c:pt idx="1550">
                  <c:v>45746</c:v>
                </c:pt>
                <c:pt idx="1551">
                  <c:v>45747</c:v>
                </c:pt>
                <c:pt idx="1552">
                  <c:v>45748</c:v>
                </c:pt>
                <c:pt idx="1553">
                  <c:v>45749</c:v>
                </c:pt>
                <c:pt idx="1554">
                  <c:v>45750</c:v>
                </c:pt>
                <c:pt idx="1555">
                  <c:v>45751</c:v>
                </c:pt>
                <c:pt idx="1556">
                  <c:v>45752</c:v>
                </c:pt>
                <c:pt idx="1557">
                  <c:v>45753</c:v>
                </c:pt>
                <c:pt idx="1558">
                  <c:v>45754</c:v>
                </c:pt>
                <c:pt idx="1559">
                  <c:v>45755</c:v>
                </c:pt>
                <c:pt idx="1560">
                  <c:v>45756</c:v>
                </c:pt>
                <c:pt idx="1561">
                  <c:v>45757</c:v>
                </c:pt>
                <c:pt idx="1562">
                  <c:v>45758</c:v>
                </c:pt>
                <c:pt idx="1563">
                  <c:v>45759</c:v>
                </c:pt>
                <c:pt idx="1564">
                  <c:v>45760</c:v>
                </c:pt>
                <c:pt idx="1565">
                  <c:v>45761</c:v>
                </c:pt>
                <c:pt idx="1566">
                  <c:v>45762</c:v>
                </c:pt>
                <c:pt idx="1567">
                  <c:v>45763</c:v>
                </c:pt>
                <c:pt idx="1568">
                  <c:v>45764</c:v>
                </c:pt>
                <c:pt idx="1569">
                  <c:v>45765</c:v>
                </c:pt>
                <c:pt idx="1570">
                  <c:v>45766</c:v>
                </c:pt>
                <c:pt idx="1571">
                  <c:v>45767</c:v>
                </c:pt>
                <c:pt idx="1572">
                  <c:v>45768</c:v>
                </c:pt>
                <c:pt idx="1573">
                  <c:v>45769</c:v>
                </c:pt>
                <c:pt idx="1574">
                  <c:v>45770</c:v>
                </c:pt>
                <c:pt idx="1575">
                  <c:v>45771</c:v>
                </c:pt>
                <c:pt idx="1576">
                  <c:v>45772</c:v>
                </c:pt>
                <c:pt idx="1577">
                  <c:v>45773</c:v>
                </c:pt>
                <c:pt idx="1578">
                  <c:v>45774</c:v>
                </c:pt>
                <c:pt idx="1579">
                  <c:v>45775</c:v>
                </c:pt>
                <c:pt idx="1580">
                  <c:v>45776</c:v>
                </c:pt>
                <c:pt idx="1581">
                  <c:v>45777</c:v>
                </c:pt>
                <c:pt idx="1582">
                  <c:v>45778</c:v>
                </c:pt>
                <c:pt idx="1583">
                  <c:v>45779</c:v>
                </c:pt>
                <c:pt idx="1584">
                  <c:v>45780</c:v>
                </c:pt>
                <c:pt idx="1585">
                  <c:v>45781</c:v>
                </c:pt>
                <c:pt idx="1586">
                  <c:v>45782</c:v>
                </c:pt>
                <c:pt idx="1587">
                  <c:v>45783</c:v>
                </c:pt>
                <c:pt idx="1588">
                  <c:v>45784</c:v>
                </c:pt>
                <c:pt idx="1589">
                  <c:v>45785</c:v>
                </c:pt>
                <c:pt idx="1590">
                  <c:v>45786</c:v>
                </c:pt>
                <c:pt idx="1591">
                  <c:v>45787</c:v>
                </c:pt>
                <c:pt idx="1592">
                  <c:v>45788</c:v>
                </c:pt>
                <c:pt idx="1593">
                  <c:v>45789</c:v>
                </c:pt>
                <c:pt idx="1594">
                  <c:v>45790</c:v>
                </c:pt>
                <c:pt idx="1595">
                  <c:v>45791</c:v>
                </c:pt>
                <c:pt idx="1596">
                  <c:v>45792</c:v>
                </c:pt>
                <c:pt idx="1597">
                  <c:v>45793</c:v>
                </c:pt>
                <c:pt idx="1598">
                  <c:v>45794</c:v>
                </c:pt>
                <c:pt idx="1599">
                  <c:v>45795</c:v>
                </c:pt>
                <c:pt idx="1600">
                  <c:v>45796</c:v>
                </c:pt>
                <c:pt idx="1601">
                  <c:v>45797</c:v>
                </c:pt>
                <c:pt idx="1602">
                  <c:v>45798</c:v>
                </c:pt>
                <c:pt idx="1603">
                  <c:v>45799</c:v>
                </c:pt>
                <c:pt idx="1604">
                  <c:v>45800</c:v>
                </c:pt>
                <c:pt idx="1605">
                  <c:v>45801</c:v>
                </c:pt>
                <c:pt idx="1606">
                  <c:v>45802</c:v>
                </c:pt>
                <c:pt idx="1607">
                  <c:v>45803</c:v>
                </c:pt>
                <c:pt idx="1608">
                  <c:v>45804</c:v>
                </c:pt>
                <c:pt idx="1609">
                  <c:v>45805</c:v>
                </c:pt>
                <c:pt idx="1610">
                  <c:v>45806</c:v>
                </c:pt>
                <c:pt idx="1611">
                  <c:v>45807</c:v>
                </c:pt>
                <c:pt idx="1612">
                  <c:v>45808</c:v>
                </c:pt>
                <c:pt idx="1613">
                  <c:v>45809</c:v>
                </c:pt>
                <c:pt idx="1614">
                  <c:v>45810</c:v>
                </c:pt>
                <c:pt idx="1615">
                  <c:v>45811</c:v>
                </c:pt>
                <c:pt idx="1616">
                  <c:v>45812</c:v>
                </c:pt>
                <c:pt idx="1617">
                  <c:v>45813</c:v>
                </c:pt>
                <c:pt idx="1618">
                  <c:v>45814</c:v>
                </c:pt>
                <c:pt idx="1619">
                  <c:v>45815</c:v>
                </c:pt>
                <c:pt idx="1620">
                  <c:v>45816</c:v>
                </c:pt>
                <c:pt idx="1621">
                  <c:v>45817</c:v>
                </c:pt>
                <c:pt idx="1622">
                  <c:v>45818</c:v>
                </c:pt>
                <c:pt idx="1623">
                  <c:v>45819</c:v>
                </c:pt>
                <c:pt idx="1624">
                  <c:v>45820</c:v>
                </c:pt>
                <c:pt idx="1625">
                  <c:v>45821</c:v>
                </c:pt>
                <c:pt idx="1626">
                  <c:v>45822</c:v>
                </c:pt>
                <c:pt idx="1627">
                  <c:v>45823</c:v>
                </c:pt>
                <c:pt idx="1628">
                  <c:v>45824</c:v>
                </c:pt>
                <c:pt idx="1629">
                  <c:v>45825</c:v>
                </c:pt>
                <c:pt idx="1630">
                  <c:v>45826</c:v>
                </c:pt>
                <c:pt idx="1631">
                  <c:v>45827</c:v>
                </c:pt>
                <c:pt idx="1632">
                  <c:v>45828</c:v>
                </c:pt>
                <c:pt idx="1633">
                  <c:v>45829</c:v>
                </c:pt>
                <c:pt idx="1634">
                  <c:v>45830</c:v>
                </c:pt>
                <c:pt idx="1635">
                  <c:v>45831</c:v>
                </c:pt>
                <c:pt idx="1636">
                  <c:v>45832</c:v>
                </c:pt>
                <c:pt idx="1637">
                  <c:v>45833</c:v>
                </c:pt>
                <c:pt idx="1638">
                  <c:v>45834</c:v>
                </c:pt>
                <c:pt idx="1639">
                  <c:v>45835</c:v>
                </c:pt>
                <c:pt idx="1640">
                  <c:v>45836</c:v>
                </c:pt>
                <c:pt idx="1641">
                  <c:v>45837</c:v>
                </c:pt>
                <c:pt idx="1642">
                  <c:v>45838</c:v>
                </c:pt>
                <c:pt idx="1643">
                  <c:v>45839</c:v>
                </c:pt>
                <c:pt idx="1644">
                  <c:v>45840</c:v>
                </c:pt>
                <c:pt idx="1645">
                  <c:v>45841</c:v>
                </c:pt>
                <c:pt idx="1646">
                  <c:v>45842</c:v>
                </c:pt>
                <c:pt idx="1647">
                  <c:v>45843</c:v>
                </c:pt>
                <c:pt idx="1648">
                  <c:v>45844</c:v>
                </c:pt>
                <c:pt idx="1649">
                  <c:v>45845</c:v>
                </c:pt>
                <c:pt idx="1650">
                  <c:v>45846</c:v>
                </c:pt>
                <c:pt idx="1651">
                  <c:v>45847</c:v>
                </c:pt>
                <c:pt idx="1652">
                  <c:v>45848</c:v>
                </c:pt>
                <c:pt idx="1653">
                  <c:v>45849</c:v>
                </c:pt>
                <c:pt idx="1654">
                  <c:v>45850</c:v>
                </c:pt>
                <c:pt idx="1655">
                  <c:v>45851</c:v>
                </c:pt>
                <c:pt idx="1656">
                  <c:v>45852</c:v>
                </c:pt>
                <c:pt idx="1657">
                  <c:v>45853</c:v>
                </c:pt>
                <c:pt idx="1658">
                  <c:v>45854</c:v>
                </c:pt>
                <c:pt idx="1659">
                  <c:v>45855</c:v>
                </c:pt>
                <c:pt idx="1660">
                  <c:v>45856</c:v>
                </c:pt>
                <c:pt idx="1661">
                  <c:v>45857</c:v>
                </c:pt>
                <c:pt idx="1662">
                  <c:v>45858</c:v>
                </c:pt>
                <c:pt idx="1663">
                  <c:v>45859</c:v>
                </c:pt>
                <c:pt idx="1664">
                  <c:v>45860</c:v>
                </c:pt>
                <c:pt idx="1665">
                  <c:v>45861</c:v>
                </c:pt>
                <c:pt idx="1666">
                  <c:v>45862</c:v>
                </c:pt>
                <c:pt idx="1667">
                  <c:v>45863</c:v>
                </c:pt>
                <c:pt idx="1668">
                  <c:v>45864</c:v>
                </c:pt>
                <c:pt idx="1669">
                  <c:v>45865</c:v>
                </c:pt>
                <c:pt idx="1670">
                  <c:v>45866</c:v>
                </c:pt>
                <c:pt idx="1671">
                  <c:v>45867</c:v>
                </c:pt>
                <c:pt idx="1672">
                  <c:v>45868</c:v>
                </c:pt>
                <c:pt idx="1673">
                  <c:v>45869</c:v>
                </c:pt>
                <c:pt idx="1674">
                  <c:v>45870</c:v>
                </c:pt>
                <c:pt idx="1675">
                  <c:v>45871</c:v>
                </c:pt>
                <c:pt idx="1676">
                  <c:v>45872</c:v>
                </c:pt>
                <c:pt idx="1677">
                  <c:v>45873</c:v>
                </c:pt>
                <c:pt idx="1678">
                  <c:v>45874</c:v>
                </c:pt>
                <c:pt idx="1679">
                  <c:v>45875</c:v>
                </c:pt>
                <c:pt idx="1680">
                  <c:v>45876</c:v>
                </c:pt>
                <c:pt idx="1681">
                  <c:v>45877</c:v>
                </c:pt>
                <c:pt idx="1682">
                  <c:v>45878</c:v>
                </c:pt>
                <c:pt idx="1683">
                  <c:v>45879</c:v>
                </c:pt>
                <c:pt idx="1684">
                  <c:v>45880</c:v>
                </c:pt>
                <c:pt idx="1685">
                  <c:v>45881</c:v>
                </c:pt>
                <c:pt idx="1686">
                  <c:v>45882</c:v>
                </c:pt>
                <c:pt idx="1687">
                  <c:v>45883</c:v>
                </c:pt>
                <c:pt idx="1688">
                  <c:v>45884</c:v>
                </c:pt>
                <c:pt idx="1689">
                  <c:v>45885</c:v>
                </c:pt>
                <c:pt idx="1690">
                  <c:v>45886</c:v>
                </c:pt>
                <c:pt idx="1691">
                  <c:v>45887</c:v>
                </c:pt>
                <c:pt idx="1692">
                  <c:v>45888</c:v>
                </c:pt>
                <c:pt idx="1693">
                  <c:v>45889</c:v>
                </c:pt>
                <c:pt idx="1694">
                  <c:v>45890</c:v>
                </c:pt>
                <c:pt idx="1695">
                  <c:v>45891</c:v>
                </c:pt>
                <c:pt idx="1696">
                  <c:v>45892</c:v>
                </c:pt>
                <c:pt idx="1697">
                  <c:v>45893</c:v>
                </c:pt>
                <c:pt idx="1698">
                  <c:v>45894</c:v>
                </c:pt>
                <c:pt idx="1699">
                  <c:v>45895</c:v>
                </c:pt>
                <c:pt idx="1700">
                  <c:v>45896</c:v>
                </c:pt>
                <c:pt idx="1701">
                  <c:v>45897</c:v>
                </c:pt>
                <c:pt idx="1702">
                  <c:v>45898</c:v>
                </c:pt>
                <c:pt idx="1703">
                  <c:v>45899</c:v>
                </c:pt>
                <c:pt idx="1704">
                  <c:v>45900</c:v>
                </c:pt>
                <c:pt idx="1705">
                  <c:v>45901</c:v>
                </c:pt>
                <c:pt idx="1706">
                  <c:v>45902</c:v>
                </c:pt>
                <c:pt idx="1707">
                  <c:v>45903</c:v>
                </c:pt>
                <c:pt idx="1708">
                  <c:v>45904</c:v>
                </c:pt>
                <c:pt idx="1709">
                  <c:v>45905</c:v>
                </c:pt>
                <c:pt idx="1710">
                  <c:v>45906</c:v>
                </c:pt>
                <c:pt idx="1711">
                  <c:v>45907</c:v>
                </c:pt>
                <c:pt idx="1712">
                  <c:v>45908</c:v>
                </c:pt>
                <c:pt idx="1713">
                  <c:v>45909</c:v>
                </c:pt>
                <c:pt idx="1714">
                  <c:v>45910</c:v>
                </c:pt>
                <c:pt idx="1715">
                  <c:v>45911</c:v>
                </c:pt>
                <c:pt idx="1716">
                  <c:v>45912</c:v>
                </c:pt>
                <c:pt idx="1717">
                  <c:v>45913</c:v>
                </c:pt>
                <c:pt idx="1718">
                  <c:v>45914</c:v>
                </c:pt>
                <c:pt idx="1719">
                  <c:v>45915</c:v>
                </c:pt>
                <c:pt idx="1720">
                  <c:v>45916</c:v>
                </c:pt>
                <c:pt idx="1721">
                  <c:v>45917</c:v>
                </c:pt>
                <c:pt idx="1722">
                  <c:v>45918</c:v>
                </c:pt>
                <c:pt idx="1723">
                  <c:v>45919</c:v>
                </c:pt>
                <c:pt idx="1724">
                  <c:v>45920</c:v>
                </c:pt>
                <c:pt idx="1725">
                  <c:v>45921</c:v>
                </c:pt>
                <c:pt idx="1726">
                  <c:v>45922</c:v>
                </c:pt>
                <c:pt idx="1727">
                  <c:v>45923</c:v>
                </c:pt>
                <c:pt idx="1728">
                  <c:v>45924</c:v>
                </c:pt>
                <c:pt idx="1729">
                  <c:v>45925</c:v>
                </c:pt>
                <c:pt idx="1730">
                  <c:v>45926</c:v>
                </c:pt>
                <c:pt idx="1731">
                  <c:v>45927</c:v>
                </c:pt>
                <c:pt idx="1732">
                  <c:v>45928</c:v>
                </c:pt>
                <c:pt idx="1733">
                  <c:v>45929</c:v>
                </c:pt>
                <c:pt idx="1734">
                  <c:v>45930</c:v>
                </c:pt>
                <c:pt idx="1735">
                  <c:v>45931</c:v>
                </c:pt>
                <c:pt idx="1736">
                  <c:v>45932</c:v>
                </c:pt>
                <c:pt idx="1737">
                  <c:v>45933</c:v>
                </c:pt>
                <c:pt idx="1738">
                  <c:v>45934</c:v>
                </c:pt>
                <c:pt idx="1739">
                  <c:v>45935</c:v>
                </c:pt>
                <c:pt idx="1740">
                  <c:v>45936</c:v>
                </c:pt>
                <c:pt idx="1741">
                  <c:v>45937</c:v>
                </c:pt>
                <c:pt idx="1742">
                  <c:v>45938</c:v>
                </c:pt>
                <c:pt idx="1743">
                  <c:v>45939</c:v>
                </c:pt>
                <c:pt idx="1744">
                  <c:v>45940</c:v>
                </c:pt>
                <c:pt idx="1745">
                  <c:v>45941</c:v>
                </c:pt>
                <c:pt idx="1746">
                  <c:v>45942</c:v>
                </c:pt>
                <c:pt idx="1747">
                  <c:v>45943</c:v>
                </c:pt>
                <c:pt idx="1748">
                  <c:v>45944</c:v>
                </c:pt>
                <c:pt idx="1749">
                  <c:v>45945</c:v>
                </c:pt>
                <c:pt idx="1750">
                  <c:v>45946</c:v>
                </c:pt>
                <c:pt idx="1751">
                  <c:v>45947</c:v>
                </c:pt>
                <c:pt idx="1752">
                  <c:v>45948</c:v>
                </c:pt>
                <c:pt idx="1753">
                  <c:v>45949</c:v>
                </c:pt>
                <c:pt idx="1754">
                  <c:v>45950</c:v>
                </c:pt>
                <c:pt idx="1755">
                  <c:v>45951</c:v>
                </c:pt>
                <c:pt idx="1756">
                  <c:v>45952</c:v>
                </c:pt>
                <c:pt idx="1757">
                  <c:v>45953</c:v>
                </c:pt>
                <c:pt idx="1758">
                  <c:v>45954</c:v>
                </c:pt>
                <c:pt idx="1759">
                  <c:v>45955</c:v>
                </c:pt>
                <c:pt idx="1760">
                  <c:v>45956</c:v>
                </c:pt>
                <c:pt idx="1761">
                  <c:v>45957</c:v>
                </c:pt>
                <c:pt idx="1762">
                  <c:v>45958</c:v>
                </c:pt>
                <c:pt idx="1763">
                  <c:v>45959</c:v>
                </c:pt>
                <c:pt idx="1764">
                  <c:v>45960</c:v>
                </c:pt>
                <c:pt idx="1765">
                  <c:v>45961</c:v>
                </c:pt>
                <c:pt idx="1766">
                  <c:v>45962</c:v>
                </c:pt>
                <c:pt idx="1767">
                  <c:v>45963</c:v>
                </c:pt>
                <c:pt idx="1768">
                  <c:v>45964</c:v>
                </c:pt>
                <c:pt idx="1769">
                  <c:v>45965</c:v>
                </c:pt>
                <c:pt idx="1770">
                  <c:v>45966</c:v>
                </c:pt>
                <c:pt idx="1771">
                  <c:v>45967</c:v>
                </c:pt>
                <c:pt idx="1772">
                  <c:v>45968</c:v>
                </c:pt>
                <c:pt idx="1773">
                  <c:v>45969</c:v>
                </c:pt>
                <c:pt idx="1774">
                  <c:v>45970</c:v>
                </c:pt>
                <c:pt idx="1775">
                  <c:v>45971</c:v>
                </c:pt>
                <c:pt idx="1776">
                  <c:v>45972</c:v>
                </c:pt>
                <c:pt idx="1777">
                  <c:v>45973</c:v>
                </c:pt>
                <c:pt idx="1778">
                  <c:v>45974</c:v>
                </c:pt>
                <c:pt idx="1779">
                  <c:v>45975</c:v>
                </c:pt>
                <c:pt idx="1780">
                  <c:v>45976</c:v>
                </c:pt>
                <c:pt idx="1781">
                  <c:v>45977</c:v>
                </c:pt>
                <c:pt idx="1782">
                  <c:v>45978</c:v>
                </c:pt>
                <c:pt idx="1783">
                  <c:v>45979</c:v>
                </c:pt>
                <c:pt idx="1784">
                  <c:v>45980</c:v>
                </c:pt>
                <c:pt idx="1785">
                  <c:v>45981</c:v>
                </c:pt>
                <c:pt idx="1786">
                  <c:v>45982</c:v>
                </c:pt>
                <c:pt idx="1787">
                  <c:v>45983</c:v>
                </c:pt>
                <c:pt idx="1788">
                  <c:v>45984</c:v>
                </c:pt>
                <c:pt idx="1789">
                  <c:v>45985</c:v>
                </c:pt>
                <c:pt idx="1790">
                  <c:v>45986</c:v>
                </c:pt>
                <c:pt idx="1791">
                  <c:v>45987</c:v>
                </c:pt>
                <c:pt idx="1792">
                  <c:v>45988</c:v>
                </c:pt>
                <c:pt idx="1793">
                  <c:v>45989</c:v>
                </c:pt>
                <c:pt idx="1794">
                  <c:v>45990</c:v>
                </c:pt>
                <c:pt idx="1795">
                  <c:v>45991</c:v>
                </c:pt>
                <c:pt idx="1796">
                  <c:v>45992</c:v>
                </c:pt>
                <c:pt idx="1797">
                  <c:v>45993</c:v>
                </c:pt>
                <c:pt idx="1798">
                  <c:v>45994</c:v>
                </c:pt>
                <c:pt idx="1799">
                  <c:v>45995</c:v>
                </c:pt>
                <c:pt idx="1800">
                  <c:v>45996</c:v>
                </c:pt>
                <c:pt idx="1801">
                  <c:v>45997</c:v>
                </c:pt>
                <c:pt idx="1802">
                  <c:v>45998</c:v>
                </c:pt>
                <c:pt idx="1803">
                  <c:v>45999</c:v>
                </c:pt>
                <c:pt idx="1804">
                  <c:v>46000</c:v>
                </c:pt>
                <c:pt idx="1805">
                  <c:v>46001</c:v>
                </c:pt>
                <c:pt idx="1806">
                  <c:v>46002</c:v>
                </c:pt>
                <c:pt idx="1807">
                  <c:v>46003</c:v>
                </c:pt>
                <c:pt idx="1808">
                  <c:v>46004</c:v>
                </c:pt>
                <c:pt idx="1809">
                  <c:v>46005</c:v>
                </c:pt>
                <c:pt idx="1810">
                  <c:v>46006</c:v>
                </c:pt>
                <c:pt idx="1811">
                  <c:v>46007</c:v>
                </c:pt>
                <c:pt idx="1812">
                  <c:v>46008</c:v>
                </c:pt>
                <c:pt idx="1813">
                  <c:v>46009</c:v>
                </c:pt>
                <c:pt idx="1814">
                  <c:v>46010</c:v>
                </c:pt>
                <c:pt idx="1815">
                  <c:v>46011</c:v>
                </c:pt>
                <c:pt idx="1816">
                  <c:v>46012</c:v>
                </c:pt>
                <c:pt idx="1817">
                  <c:v>46013</c:v>
                </c:pt>
                <c:pt idx="1818">
                  <c:v>46014</c:v>
                </c:pt>
                <c:pt idx="1819">
                  <c:v>46015</c:v>
                </c:pt>
                <c:pt idx="1820">
                  <c:v>46016</c:v>
                </c:pt>
                <c:pt idx="1821">
                  <c:v>46017</c:v>
                </c:pt>
                <c:pt idx="1822">
                  <c:v>46018</c:v>
                </c:pt>
                <c:pt idx="1823">
                  <c:v>46019</c:v>
                </c:pt>
                <c:pt idx="1824">
                  <c:v>46020</c:v>
                </c:pt>
                <c:pt idx="1825">
                  <c:v>46021</c:v>
                </c:pt>
                <c:pt idx="1826">
                  <c:v>46022</c:v>
                </c:pt>
              </c:numCache>
            </c:numRef>
          </c:cat>
          <c:val>
            <c:numRef>
              <c:f>Sheet1!$C$2:$C$2069</c:f>
              <c:numCache>
                <c:formatCode>0.00%</c:formatCode>
                <c:ptCount val="2068"/>
                <c:pt idx="0">
                  <c:v>0</c:v>
                </c:pt>
                <c:pt idx="1">
                  <c:v>0</c:v>
                </c:pt>
                <c:pt idx="2">
                  <c:v>0</c:v>
                </c:pt>
                <c:pt idx="3">
                  <c:v>0</c:v>
                </c:pt>
                <c:pt idx="4">
                  <c:v>3.5169131939736076E-3</c:v>
                </c:pt>
                <c:pt idx="5">
                  <c:v>-2.9005567384899678E-4</c:v>
                </c:pt>
                <c:pt idx="6">
                  <c:v>-3.4444004042205735E-3</c:v>
                </c:pt>
                <c:pt idx="7">
                  <c:v>1.0538653364489363E-2</c:v>
                </c:pt>
                <c:pt idx="8">
                  <c:v>2.1355280700232838E-2</c:v>
                </c:pt>
                <c:pt idx="9">
                  <c:v>2.1355280700232838E-2</c:v>
                </c:pt>
                <c:pt idx="10">
                  <c:v>2.1355280700232838E-2</c:v>
                </c:pt>
                <c:pt idx="11">
                  <c:v>2.6600437205032391E-2</c:v>
                </c:pt>
                <c:pt idx="12">
                  <c:v>2.6249954958861964E-2</c:v>
                </c:pt>
                <c:pt idx="13">
                  <c:v>2.413497074957064E-2</c:v>
                </c:pt>
                <c:pt idx="14">
                  <c:v>2.8074883494304287E-2</c:v>
                </c:pt>
                <c:pt idx="15">
                  <c:v>1.9433666940173993E-2</c:v>
                </c:pt>
                <c:pt idx="16">
                  <c:v>1.9433666940173993E-2</c:v>
                </c:pt>
                <c:pt idx="17">
                  <c:v>1.9433666940173993E-2</c:v>
                </c:pt>
                <c:pt idx="18">
                  <c:v>1.9240296490941233E-2</c:v>
                </c:pt>
                <c:pt idx="19">
                  <c:v>2.6552092335305987E-2</c:v>
                </c:pt>
                <c:pt idx="20">
                  <c:v>3.5664648795086434E-2</c:v>
                </c:pt>
                <c:pt idx="21">
                  <c:v>3.7985085156205828E-2</c:v>
                </c:pt>
                <c:pt idx="22">
                  <c:v>3.2667415861652956E-2</c:v>
                </c:pt>
                <c:pt idx="23">
                  <c:v>3.2667415861652956E-2</c:v>
                </c:pt>
                <c:pt idx="24">
                  <c:v>3.2667415861652956E-2</c:v>
                </c:pt>
                <c:pt idx="25">
                  <c:v>3.6389785722290784E-2</c:v>
                </c:pt>
                <c:pt idx="26">
                  <c:v>3.3211268557056001E-2</c:v>
                </c:pt>
                <c:pt idx="27">
                  <c:v>3.2232334608297608E-2</c:v>
                </c:pt>
                <c:pt idx="28">
                  <c:v>1.318413086784659E-2</c:v>
                </c:pt>
                <c:pt idx="29">
                  <c:v>3.0191660093703376E-3</c:v>
                </c:pt>
                <c:pt idx="30">
                  <c:v>3.0191660093703376E-3</c:v>
                </c:pt>
                <c:pt idx="31">
                  <c:v>-4.5696556905737394E-3</c:v>
                </c:pt>
                <c:pt idx="32">
                  <c:v>2.1572444338059001E-2</c:v>
                </c:pt>
                <c:pt idx="33">
                  <c:v>3.9808465102713339E-2</c:v>
                </c:pt>
                <c:pt idx="34">
                  <c:v>4.3209477927733816E-2</c:v>
                </c:pt>
                <c:pt idx="35">
                  <c:v>4.9212007292671132E-2</c:v>
                </c:pt>
                <c:pt idx="36">
                  <c:v>5.1039418988213327E-2</c:v>
                </c:pt>
                <c:pt idx="37">
                  <c:v>5.1039418988213327E-2</c:v>
                </c:pt>
                <c:pt idx="38">
                  <c:v>5.1039418988213327E-2</c:v>
                </c:pt>
                <c:pt idx="39">
                  <c:v>5.3361751580681724E-2</c:v>
                </c:pt>
                <c:pt idx="40">
                  <c:v>5.2118099220765969E-2</c:v>
                </c:pt>
                <c:pt idx="41">
                  <c:v>4.5138410237832431E-2</c:v>
                </c:pt>
                <c:pt idx="42">
                  <c:v>5.1496270783389947E-2</c:v>
                </c:pt>
                <c:pt idx="43">
                  <c:v>5.6711999583587698E-2</c:v>
                </c:pt>
                <c:pt idx="44">
                  <c:v>5.6711999583587698E-2</c:v>
                </c:pt>
                <c:pt idx="45">
                  <c:v>5.6711999583587698E-2</c:v>
                </c:pt>
                <c:pt idx="46">
                  <c:v>6.6483564159694308E-2</c:v>
                </c:pt>
                <c:pt idx="47">
                  <c:v>6.6673918698114676E-2</c:v>
                </c:pt>
                <c:pt idx="48">
                  <c:v>6.6661227492586198E-2</c:v>
                </c:pt>
                <c:pt idx="49">
                  <c:v>5.4275455171034534E-2</c:v>
                </c:pt>
                <c:pt idx="50">
                  <c:v>5.2739923143305417E-2</c:v>
                </c:pt>
                <c:pt idx="51">
                  <c:v>5.2739923143305417E-2</c:v>
                </c:pt>
                <c:pt idx="52">
                  <c:v>5.2739923143305417E-2</c:v>
                </c:pt>
                <c:pt idx="53">
                  <c:v>3.4973445379356177E-2</c:v>
                </c:pt>
                <c:pt idx="54">
                  <c:v>2.4516605367903139E-2</c:v>
                </c:pt>
                <c:pt idx="55">
                  <c:v>2.4021684470977363E-2</c:v>
                </c:pt>
                <c:pt idx="56">
                  <c:v>2.2105438851570652E-2</c:v>
                </c:pt>
                <c:pt idx="57">
                  <c:v>4.5039377298212455E-3</c:v>
                </c:pt>
                <c:pt idx="58">
                  <c:v>4.5039377298212455E-3</c:v>
                </c:pt>
                <c:pt idx="59">
                  <c:v>5.6993039128855122E-4</c:v>
                </c:pt>
                <c:pt idx="60">
                  <c:v>2.6953149780456299E-2</c:v>
                </c:pt>
                <c:pt idx="61">
                  <c:v>2.14074722106956E-2</c:v>
                </c:pt>
                <c:pt idx="62">
                  <c:v>1.4605451075490663E-2</c:v>
                </c:pt>
                <c:pt idx="63">
                  <c:v>5.9125667319366929E-3</c:v>
                </c:pt>
                <c:pt idx="64">
                  <c:v>2.6384569325294651E-3</c:v>
                </c:pt>
                <c:pt idx="65">
                  <c:v>2.6384569325294651E-3</c:v>
                </c:pt>
                <c:pt idx="66">
                  <c:v>2.6384569325294651E-3</c:v>
                </c:pt>
                <c:pt idx="67">
                  <c:v>2.1572444338059001E-2</c:v>
                </c:pt>
                <c:pt idx="68">
                  <c:v>2.6331325857916709E-2</c:v>
                </c:pt>
                <c:pt idx="69">
                  <c:v>2.6407468576252313E-2</c:v>
                </c:pt>
                <c:pt idx="70">
                  <c:v>3.219426099171159E-2</c:v>
                </c:pt>
                <c:pt idx="71">
                  <c:v>2.9440459015124248E-2</c:v>
                </c:pt>
                <c:pt idx="72">
                  <c:v>2.9440459015124248E-2</c:v>
                </c:pt>
                <c:pt idx="73">
                  <c:v>2.9440459015124248E-2</c:v>
                </c:pt>
                <c:pt idx="74">
                  <c:v>2.9503910527931082E-2</c:v>
                </c:pt>
                <c:pt idx="75">
                  <c:v>4.105212197746539E-2</c:v>
                </c:pt>
                <c:pt idx="76">
                  <c:v>3.3767862121189866E-2</c:v>
                </c:pt>
                <c:pt idx="77">
                  <c:v>3.2029288864348471E-2</c:v>
                </c:pt>
                <c:pt idx="78">
                  <c:v>2.9668882655294198E-2</c:v>
                </c:pt>
                <c:pt idx="79">
                  <c:v>2.9668882655294198E-2</c:v>
                </c:pt>
                <c:pt idx="80">
                  <c:v>2.9668882655294198E-2</c:v>
                </c:pt>
                <c:pt idx="81">
                  <c:v>2.9592739936958594E-2</c:v>
                </c:pt>
                <c:pt idx="82">
                  <c:v>3.6458217099807087E-2</c:v>
                </c:pt>
                <c:pt idx="83">
                  <c:v>3.3564820892077595E-2</c:v>
                </c:pt>
                <c:pt idx="84">
                  <c:v>2.8158733038622614E-2</c:v>
                </c:pt>
                <c:pt idx="85">
                  <c:v>4.3691712133967685E-2</c:v>
                </c:pt>
                <c:pt idx="86">
                  <c:v>4.3691712133967685E-2</c:v>
                </c:pt>
                <c:pt idx="87">
                  <c:v>4.3691712133967685E-2</c:v>
                </c:pt>
                <c:pt idx="88">
                  <c:v>4.7942977036534558E-2</c:v>
                </c:pt>
                <c:pt idx="89">
                  <c:v>5.6940427738594084E-2</c:v>
                </c:pt>
                <c:pt idx="90">
                  <c:v>5.1508961988918432E-2</c:v>
                </c:pt>
                <c:pt idx="91">
                  <c:v>5.1508961988918432E-2</c:v>
                </c:pt>
                <c:pt idx="92">
                  <c:v>5.1508961988918432E-2</c:v>
                </c:pt>
                <c:pt idx="93">
                  <c:v>5.1508961988918432E-2</c:v>
                </c:pt>
                <c:pt idx="94">
                  <c:v>5.1508961988918432E-2</c:v>
                </c:pt>
                <c:pt idx="95">
                  <c:v>5.1508961988918432E-2</c:v>
                </c:pt>
                <c:pt idx="96">
                  <c:v>7.6178981502629028E-2</c:v>
                </c:pt>
                <c:pt idx="97">
                  <c:v>6.7524170775660933E-2</c:v>
                </c:pt>
                <c:pt idx="98">
                  <c:v>7.4275431603587669E-2</c:v>
                </c:pt>
                <c:pt idx="99">
                  <c:v>8.0265274277832643E-2</c:v>
                </c:pt>
                <c:pt idx="100">
                  <c:v>8.0265274277832643E-2</c:v>
                </c:pt>
                <c:pt idx="101">
                  <c:v>8.0265274277832643E-2</c:v>
                </c:pt>
                <c:pt idx="102">
                  <c:v>7.2473402319102723E-2</c:v>
                </c:pt>
                <c:pt idx="103">
                  <c:v>7.6902335069398045E-2</c:v>
                </c:pt>
                <c:pt idx="104">
                  <c:v>7.8831262864659954E-2</c:v>
                </c:pt>
                <c:pt idx="105">
                  <c:v>8.3767807717409534E-2</c:v>
                </c:pt>
                <c:pt idx="106">
                  <c:v>8.8513993516902326E-2</c:v>
                </c:pt>
                <c:pt idx="107">
                  <c:v>8.8513993516902326E-2</c:v>
                </c:pt>
                <c:pt idx="108">
                  <c:v>8.8513993516902326E-2</c:v>
                </c:pt>
                <c:pt idx="109">
                  <c:v>8.0189131559497182E-2</c:v>
                </c:pt>
                <c:pt idx="110">
                  <c:v>7.0163760932163227E-2</c:v>
                </c:pt>
                <c:pt idx="111">
                  <c:v>6.8628228904434249E-2</c:v>
                </c:pt>
                <c:pt idx="112">
                  <c:v>7.9351570687479694E-2</c:v>
                </c:pt>
                <c:pt idx="113">
                  <c:v>7.7828729865279347E-2</c:v>
                </c:pt>
                <c:pt idx="114">
                  <c:v>7.7828729865279347E-2</c:v>
                </c:pt>
                <c:pt idx="115">
                  <c:v>7.7828729865279347E-2</c:v>
                </c:pt>
                <c:pt idx="116">
                  <c:v>8.1432783919412943E-2</c:v>
                </c:pt>
                <c:pt idx="117">
                  <c:v>7.5366803041668928E-2</c:v>
                </c:pt>
                <c:pt idx="118">
                  <c:v>8.0011468226605306E-2</c:v>
                </c:pt>
                <c:pt idx="119">
                  <c:v>7.7384564760795194E-2</c:v>
                </c:pt>
                <c:pt idx="120">
                  <c:v>7.2168835960597449E-2</c:v>
                </c:pt>
                <c:pt idx="121">
                  <c:v>7.2168835960597449E-2</c:v>
                </c:pt>
                <c:pt idx="122">
                  <c:v>7.2168835960597449E-2</c:v>
                </c:pt>
                <c:pt idx="123">
                  <c:v>7.4300814014645056E-2</c:v>
                </c:pt>
                <c:pt idx="124">
                  <c:v>6.2498796513883403E-2</c:v>
                </c:pt>
                <c:pt idx="125">
                  <c:v>6.6724679005392751E-2</c:v>
                </c:pt>
                <c:pt idx="126">
                  <c:v>6.4909963030215886E-2</c:v>
                </c:pt>
                <c:pt idx="127">
                  <c:v>7.2054624140512405E-2</c:v>
                </c:pt>
                <c:pt idx="128">
                  <c:v>7.2054624140512405E-2</c:v>
                </c:pt>
                <c:pt idx="129">
                  <c:v>7.2054624140512405E-2</c:v>
                </c:pt>
                <c:pt idx="130">
                  <c:v>6.9021629186803754E-2</c:v>
                </c:pt>
                <c:pt idx="131">
                  <c:v>4.2917598259920593E-2</c:v>
                </c:pt>
                <c:pt idx="132">
                  <c:v>4.4580033313263386E-2</c:v>
                </c:pt>
                <c:pt idx="133">
                  <c:v>4.4580033313263386E-2</c:v>
                </c:pt>
                <c:pt idx="134">
                  <c:v>4.4580033313263386E-2</c:v>
                </c:pt>
                <c:pt idx="135">
                  <c:v>4.4580033313263386E-2</c:v>
                </c:pt>
                <c:pt idx="136">
                  <c:v>4.4580033313263386E-2</c:v>
                </c:pt>
                <c:pt idx="137">
                  <c:v>5.4630786351654595E-2</c:v>
                </c:pt>
                <c:pt idx="138">
                  <c:v>5.087444234601364E-2</c:v>
                </c:pt>
                <c:pt idx="139">
                  <c:v>3.5100348404969853E-2</c:v>
                </c:pt>
                <c:pt idx="140">
                  <c:v>4.8082566752840422E-2</c:v>
                </c:pt>
                <c:pt idx="141">
                  <c:v>5.9656160613431979E-2</c:v>
                </c:pt>
                <c:pt idx="142">
                  <c:v>5.9656160613431979E-2</c:v>
                </c:pt>
                <c:pt idx="143">
                  <c:v>5.9656160613431979E-2</c:v>
                </c:pt>
                <c:pt idx="144">
                  <c:v>5.9656160613431979E-2</c:v>
                </c:pt>
                <c:pt idx="145">
                  <c:v>5.9897275459130414E-2</c:v>
                </c:pt>
                <c:pt idx="146">
                  <c:v>6.402163733608375E-2</c:v>
                </c:pt>
                <c:pt idx="147">
                  <c:v>6.2816054077917446E-2</c:v>
                </c:pt>
                <c:pt idx="148">
                  <c:v>6.9034320392332524E-2</c:v>
                </c:pt>
                <c:pt idx="149">
                  <c:v>6.9034320392332524E-2</c:v>
                </c:pt>
                <c:pt idx="150">
                  <c:v>6.9034320392332524E-2</c:v>
                </c:pt>
                <c:pt idx="151">
                  <c:v>5.9897275459130414E-2</c:v>
                </c:pt>
                <c:pt idx="152">
                  <c:v>5.975768122798826E-2</c:v>
                </c:pt>
                <c:pt idx="153">
                  <c:v>6.1864276870978757E-2</c:v>
                </c:pt>
                <c:pt idx="154">
                  <c:v>6.3882043104941319E-2</c:v>
                </c:pt>
                <c:pt idx="155">
                  <c:v>6.7803359237945393E-2</c:v>
                </c:pt>
                <c:pt idx="156">
                  <c:v>6.7803359237945393E-2</c:v>
                </c:pt>
                <c:pt idx="157">
                  <c:v>6.7803359237945393E-2</c:v>
                </c:pt>
                <c:pt idx="158">
                  <c:v>6.7409958955575888E-2</c:v>
                </c:pt>
                <c:pt idx="159">
                  <c:v>6.6280518415745171E-2</c:v>
                </c:pt>
                <c:pt idx="160">
                  <c:v>6.6876964442063952E-2</c:v>
                </c:pt>
                <c:pt idx="161">
                  <c:v>7.1953099011119404E-2</c:v>
                </c:pt>
                <c:pt idx="162">
                  <c:v>8.1039383637043161E-2</c:v>
                </c:pt>
                <c:pt idx="163">
                  <c:v>8.1039383637043161E-2</c:v>
                </c:pt>
                <c:pt idx="164">
                  <c:v>8.1039383637043161E-2</c:v>
                </c:pt>
                <c:pt idx="165">
                  <c:v>7.9503851609314322E-2</c:v>
                </c:pt>
                <c:pt idx="166">
                  <c:v>8.3843950435745149E-2</c:v>
                </c:pt>
                <c:pt idx="167">
                  <c:v>8.5861712154871553E-2</c:v>
                </c:pt>
                <c:pt idx="168">
                  <c:v>9.2219572700428645E-2</c:v>
                </c:pt>
                <c:pt idx="169">
                  <c:v>9.3856629857550472E-2</c:v>
                </c:pt>
                <c:pt idx="170">
                  <c:v>9.3856629857550472E-2</c:v>
                </c:pt>
                <c:pt idx="171">
                  <c:v>9.3856629857550472E-2</c:v>
                </c:pt>
                <c:pt idx="172">
                  <c:v>9.1128205777184099E-2</c:v>
                </c:pt>
                <c:pt idx="173">
                  <c:v>9.5963225500540969E-2</c:v>
                </c:pt>
                <c:pt idx="174">
                  <c:v>9.4097744703249192E-2</c:v>
                </c:pt>
                <c:pt idx="175">
                  <c:v>9.8843930502741706E-2</c:v>
                </c:pt>
                <c:pt idx="176">
                  <c:v>9.7904849016168069E-2</c:v>
                </c:pt>
                <c:pt idx="177">
                  <c:v>9.7904849016168069E-2</c:v>
                </c:pt>
                <c:pt idx="178">
                  <c:v>9.7904849016168069E-2</c:v>
                </c:pt>
                <c:pt idx="179">
                  <c:v>0.10282869814855261</c:v>
                </c:pt>
                <c:pt idx="180">
                  <c:v>0.10918655869410983</c:v>
                </c:pt>
                <c:pt idx="181">
                  <c:v>0.10413580653611178</c:v>
                </c:pt>
                <c:pt idx="182">
                  <c:v>0.10525255587041386</c:v>
                </c:pt>
                <c:pt idx="183">
                  <c:v>0.11267640544299468</c:v>
                </c:pt>
                <c:pt idx="184">
                  <c:v>0.11267640544299468</c:v>
                </c:pt>
                <c:pt idx="185">
                  <c:v>0.11267640544299468</c:v>
                </c:pt>
                <c:pt idx="186">
                  <c:v>0.11589975042028726</c:v>
                </c:pt>
                <c:pt idx="187">
                  <c:v>0.12144542799004782</c:v>
                </c:pt>
                <c:pt idx="188">
                  <c:v>0.13112815864229035</c:v>
                </c:pt>
                <c:pt idx="189">
                  <c:v>0.11289213787763615</c:v>
                </c:pt>
                <c:pt idx="190">
                  <c:v>0.12102664981145736</c:v>
                </c:pt>
                <c:pt idx="191">
                  <c:v>0.12102664981145736</c:v>
                </c:pt>
                <c:pt idx="192">
                  <c:v>0.12102664981145736</c:v>
                </c:pt>
                <c:pt idx="193">
                  <c:v>0.12886927756262906</c:v>
                </c:pt>
                <c:pt idx="194">
                  <c:v>0.1380697785234743</c:v>
                </c:pt>
                <c:pt idx="195">
                  <c:v>0.1402652035754923</c:v>
                </c:pt>
                <c:pt idx="196">
                  <c:v>0.13799363580513885</c:v>
                </c:pt>
                <c:pt idx="197">
                  <c:v>0.13602662987845421</c:v>
                </c:pt>
                <c:pt idx="198">
                  <c:v>0.13602662987845421</c:v>
                </c:pt>
                <c:pt idx="199">
                  <c:v>0.13602662987845421</c:v>
                </c:pt>
                <c:pt idx="200">
                  <c:v>0.11743528244801624</c:v>
                </c:pt>
                <c:pt idx="201">
                  <c:v>0.12749872217709979</c:v>
                </c:pt>
                <c:pt idx="202">
                  <c:v>0.12874237453701554</c:v>
                </c:pt>
                <c:pt idx="203">
                  <c:v>0.136013943187762</c:v>
                </c:pt>
                <c:pt idx="204">
                  <c:v>0.14596316658192393</c:v>
                </c:pt>
                <c:pt idx="205">
                  <c:v>0.14596316658192393</c:v>
                </c:pt>
                <c:pt idx="206">
                  <c:v>0.14596316658192393</c:v>
                </c:pt>
                <c:pt idx="207">
                  <c:v>0.14244794193681826</c:v>
                </c:pt>
                <c:pt idx="208">
                  <c:v>0.13805708731794566</c:v>
                </c:pt>
                <c:pt idx="209">
                  <c:v>0.14338702793822861</c:v>
                </c:pt>
                <c:pt idx="210">
                  <c:v>0.14058246565436305</c:v>
                </c:pt>
                <c:pt idx="211">
                  <c:v>0.14139464411532315</c:v>
                </c:pt>
                <c:pt idx="212">
                  <c:v>0.14007484903707179</c:v>
                </c:pt>
                <c:pt idx="213">
                  <c:v>0.14007484903707179</c:v>
                </c:pt>
                <c:pt idx="214">
                  <c:v>0.14529058235210626</c:v>
                </c:pt>
                <c:pt idx="215">
                  <c:v>0.14732103527676116</c:v>
                </c:pt>
                <c:pt idx="216">
                  <c:v>0.15664843474838336</c:v>
                </c:pt>
                <c:pt idx="217">
                  <c:v>0.16672456568299565</c:v>
                </c:pt>
                <c:pt idx="218">
                  <c:v>0.16710527475983653</c:v>
                </c:pt>
                <c:pt idx="219">
                  <c:v>0.16710527475983653</c:v>
                </c:pt>
                <c:pt idx="220">
                  <c:v>0.16710527475983653</c:v>
                </c:pt>
                <c:pt idx="221">
                  <c:v>0.17031593304643677</c:v>
                </c:pt>
                <c:pt idx="222">
                  <c:v>0.17268902594618324</c:v>
                </c:pt>
                <c:pt idx="223">
                  <c:v>0.17313318653583096</c:v>
                </c:pt>
                <c:pt idx="224">
                  <c:v>0.16979562973845347</c:v>
                </c:pt>
                <c:pt idx="225">
                  <c:v>0.17063319061047097</c:v>
                </c:pt>
                <c:pt idx="226">
                  <c:v>0.17063319061047097</c:v>
                </c:pt>
                <c:pt idx="227">
                  <c:v>0.17063319061047097</c:v>
                </c:pt>
                <c:pt idx="228">
                  <c:v>0.16829816681247409</c:v>
                </c:pt>
                <c:pt idx="229">
                  <c:v>0.17426262707566181</c:v>
                </c:pt>
                <c:pt idx="230">
                  <c:v>0.17624232420787508</c:v>
                </c:pt>
                <c:pt idx="231">
                  <c:v>0.16701644535080903</c:v>
                </c:pt>
                <c:pt idx="232">
                  <c:v>0.17628039330962436</c:v>
                </c:pt>
                <c:pt idx="233">
                  <c:v>0.17628039330962436</c:v>
                </c:pt>
                <c:pt idx="234">
                  <c:v>0.17628039330962436</c:v>
                </c:pt>
                <c:pt idx="235">
                  <c:v>0.18025246974990666</c:v>
                </c:pt>
                <c:pt idx="236">
                  <c:v>0.18352657954931373</c:v>
                </c:pt>
                <c:pt idx="237">
                  <c:v>0.18304434534308014</c:v>
                </c:pt>
                <c:pt idx="238">
                  <c:v>0.17773978261901788</c:v>
                </c:pt>
                <c:pt idx="239">
                  <c:v>0.17900881738999089</c:v>
                </c:pt>
                <c:pt idx="240">
                  <c:v>0.17900881738999089</c:v>
                </c:pt>
                <c:pt idx="241">
                  <c:v>0.17900881738999089</c:v>
                </c:pt>
                <c:pt idx="242">
                  <c:v>0.18740982206573192</c:v>
                </c:pt>
                <c:pt idx="243">
                  <c:v>0.18733367934739634</c:v>
                </c:pt>
                <c:pt idx="244">
                  <c:v>0.18584891214178215</c:v>
                </c:pt>
                <c:pt idx="245">
                  <c:v>0.18795550778477235</c:v>
                </c:pt>
                <c:pt idx="246">
                  <c:v>0.18682606724494177</c:v>
                </c:pt>
                <c:pt idx="247">
                  <c:v>0.18682606724494177</c:v>
                </c:pt>
                <c:pt idx="248">
                  <c:v>0.18682606724494177</c:v>
                </c:pt>
                <c:pt idx="249">
                  <c:v>0.19770168994982185</c:v>
                </c:pt>
                <c:pt idx="250">
                  <c:v>0.19913569684815799</c:v>
                </c:pt>
                <c:pt idx="251">
                  <c:v>0.20001133133676136</c:v>
                </c:pt>
                <c:pt idx="252">
                  <c:v>0.2028666584427414</c:v>
                </c:pt>
                <c:pt idx="253">
                  <c:v>0.19886919959140201</c:v>
                </c:pt>
                <c:pt idx="254">
                  <c:v>0.19886919959140201</c:v>
                </c:pt>
                <c:pt idx="255">
                  <c:v>0.19886919959140201</c:v>
                </c:pt>
                <c:pt idx="256">
                  <c:v>0.20135650882606981</c:v>
                </c:pt>
                <c:pt idx="257">
                  <c:v>0.20191488123580242</c:v>
                </c:pt>
                <c:pt idx="258">
                  <c:v>0.19648341548612677</c:v>
                </c:pt>
                <c:pt idx="259">
                  <c:v>0.20174990910843932</c:v>
                </c:pt>
                <c:pt idx="260">
                  <c:v>0.2031331556994975</c:v>
                </c:pt>
                <c:pt idx="261">
                  <c:v>0.2031331556994975</c:v>
                </c:pt>
                <c:pt idx="262">
                  <c:v>0.2031331556994975</c:v>
                </c:pt>
                <c:pt idx="263">
                  <c:v>0.18272708777904584</c:v>
                </c:pt>
                <c:pt idx="264">
                  <c:v>0.18695297027055546</c:v>
                </c:pt>
                <c:pt idx="265">
                  <c:v>0.18996058281320644</c:v>
                </c:pt>
                <c:pt idx="266">
                  <c:v>0.20100117764544961</c:v>
                </c:pt>
                <c:pt idx="267">
                  <c:v>0.20246056695484313</c:v>
                </c:pt>
                <c:pt idx="268">
                  <c:v>0.20246056695484313</c:v>
                </c:pt>
                <c:pt idx="269">
                  <c:v>0.20246056695484313</c:v>
                </c:pt>
                <c:pt idx="270">
                  <c:v>0.19431336833032972</c:v>
                </c:pt>
                <c:pt idx="271">
                  <c:v>0.16781593712107679</c:v>
                </c:pt>
                <c:pt idx="272">
                  <c:v>0.16808243437783291</c:v>
                </c:pt>
                <c:pt idx="273">
                  <c:v>0.16176264293402512</c:v>
                </c:pt>
                <c:pt idx="274">
                  <c:v>0.15219412410186733</c:v>
                </c:pt>
                <c:pt idx="275">
                  <c:v>0.15219412410186733</c:v>
                </c:pt>
                <c:pt idx="276">
                  <c:v>0.15219412410186733</c:v>
                </c:pt>
                <c:pt idx="277">
                  <c:v>0.14324743370708617</c:v>
                </c:pt>
                <c:pt idx="278">
                  <c:v>0.15394539307907437</c:v>
                </c:pt>
                <c:pt idx="279">
                  <c:v>0.1557854914653089</c:v>
                </c:pt>
                <c:pt idx="280">
                  <c:v>0.1749605982313733</c:v>
                </c:pt>
                <c:pt idx="281">
                  <c:v>0.17150882509907434</c:v>
                </c:pt>
                <c:pt idx="282">
                  <c:v>0.17150882509907434</c:v>
                </c:pt>
                <c:pt idx="283">
                  <c:v>0.17150882509907434</c:v>
                </c:pt>
                <c:pt idx="284">
                  <c:v>0.17045552727757923</c:v>
                </c:pt>
                <c:pt idx="285">
                  <c:v>0.16248599198595756</c:v>
                </c:pt>
                <c:pt idx="286">
                  <c:v>0.16365350162753756</c:v>
                </c:pt>
                <c:pt idx="287">
                  <c:v>0.18124231605859492</c:v>
                </c:pt>
                <c:pt idx="288">
                  <c:v>0.19213062996900376</c:v>
                </c:pt>
                <c:pt idx="289">
                  <c:v>0.19213062996900376</c:v>
                </c:pt>
                <c:pt idx="290">
                  <c:v>0.19213062996900376</c:v>
                </c:pt>
                <c:pt idx="291">
                  <c:v>0.19362808838014686</c:v>
                </c:pt>
                <c:pt idx="292">
                  <c:v>0.20053163464474452</c:v>
                </c:pt>
                <c:pt idx="293">
                  <c:v>0.20318391600677543</c:v>
                </c:pt>
                <c:pt idx="294">
                  <c:v>0.20119153218387026</c:v>
                </c:pt>
                <c:pt idx="295">
                  <c:v>0.20921182778276987</c:v>
                </c:pt>
                <c:pt idx="296">
                  <c:v>0.20921182778276987</c:v>
                </c:pt>
                <c:pt idx="297">
                  <c:v>0.20921182778276987</c:v>
                </c:pt>
                <c:pt idx="298">
                  <c:v>0.20903416444987827</c:v>
                </c:pt>
                <c:pt idx="299">
                  <c:v>0.22043009046274137</c:v>
                </c:pt>
                <c:pt idx="300">
                  <c:v>0.21517628804595759</c:v>
                </c:pt>
                <c:pt idx="301">
                  <c:v>0.21161030309357357</c:v>
                </c:pt>
                <c:pt idx="302">
                  <c:v>0.21850115815264273</c:v>
                </c:pt>
                <c:pt idx="303">
                  <c:v>0.21850115815264273</c:v>
                </c:pt>
                <c:pt idx="304">
                  <c:v>0.22456713903038689</c:v>
                </c:pt>
                <c:pt idx="305">
                  <c:v>0.22719404249619685</c:v>
                </c:pt>
                <c:pt idx="306">
                  <c:v>0.22941484995927255</c:v>
                </c:pt>
                <c:pt idx="307">
                  <c:v>0.22763820308584456</c:v>
                </c:pt>
                <c:pt idx="308">
                  <c:v>0.24905949972604205</c:v>
                </c:pt>
                <c:pt idx="309">
                  <c:v>0.25143259262578854</c:v>
                </c:pt>
                <c:pt idx="310">
                  <c:v>0.25143259262578854</c:v>
                </c:pt>
                <c:pt idx="311">
                  <c:v>0.25143259262578854</c:v>
                </c:pt>
                <c:pt idx="312">
                  <c:v>0.25111533506175432</c:v>
                </c:pt>
                <c:pt idx="313">
                  <c:v>0.24822193433918799</c:v>
                </c:pt>
                <c:pt idx="314">
                  <c:v>0.24914832913506957</c:v>
                </c:pt>
                <c:pt idx="315">
                  <c:v>0.25280314801131781</c:v>
                </c:pt>
                <c:pt idx="316">
                  <c:v>0.25843765950494246</c:v>
                </c:pt>
                <c:pt idx="317">
                  <c:v>0.25843765950494246</c:v>
                </c:pt>
                <c:pt idx="318">
                  <c:v>0.25843765950494246</c:v>
                </c:pt>
                <c:pt idx="319">
                  <c:v>0.26809500774612771</c:v>
                </c:pt>
                <c:pt idx="320">
                  <c:v>0.28006200188908908</c:v>
                </c:pt>
                <c:pt idx="321">
                  <c:v>0.28417367256051335</c:v>
                </c:pt>
                <c:pt idx="322">
                  <c:v>0.28136910576181123</c:v>
                </c:pt>
                <c:pt idx="323">
                  <c:v>0.29592492975399692</c:v>
                </c:pt>
                <c:pt idx="324">
                  <c:v>0.29592492975399692</c:v>
                </c:pt>
                <c:pt idx="325">
                  <c:v>0.29592492975399692</c:v>
                </c:pt>
                <c:pt idx="326">
                  <c:v>0.29952898380813026</c:v>
                </c:pt>
                <c:pt idx="327">
                  <c:v>0.27607723424327801</c:v>
                </c:pt>
                <c:pt idx="328">
                  <c:v>0.27974474432505486</c:v>
                </c:pt>
                <c:pt idx="329">
                  <c:v>0.28553153674051401</c:v>
                </c:pt>
                <c:pt idx="330">
                  <c:v>0.25705441291388453</c:v>
                </c:pt>
                <c:pt idx="331">
                  <c:v>0.25705441291388453</c:v>
                </c:pt>
                <c:pt idx="332">
                  <c:v>0.25705441291388453</c:v>
                </c:pt>
                <c:pt idx="333">
                  <c:v>0.26185136353549199</c:v>
                </c:pt>
                <c:pt idx="334">
                  <c:v>0.24365341187258707</c:v>
                </c:pt>
                <c:pt idx="335">
                  <c:v>0.25352649706324998</c:v>
                </c:pt>
                <c:pt idx="336">
                  <c:v>0.25134375870192427</c:v>
                </c:pt>
                <c:pt idx="337">
                  <c:v>0.24616609900347569</c:v>
                </c:pt>
                <c:pt idx="338">
                  <c:v>0.24616609900347569</c:v>
                </c:pt>
                <c:pt idx="339">
                  <c:v>0.24616609900347569</c:v>
                </c:pt>
                <c:pt idx="340">
                  <c:v>0.25281583921684642</c:v>
                </c:pt>
                <c:pt idx="341">
                  <c:v>0.28177519724970979</c:v>
                </c:pt>
                <c:pt idx="342">
                  <c:v>0.27871682439978046</c:v>
                </c:pt>
                <c:pt idx="343">
                  <c:v>0.27940210434996332</c:v>
                </c:pt>
                <c:pt idx="344">
                  <c:v>0.27827266381013271</c:v>
                </c:pt>
                <c:pt idx="345">
                  <c:v>0.27827266381013271</c:v>
                </c:pt>
                <c:pt idx="346">
                  <c:v>0.27827266381013271</c:v>
                </c:pt>
                <c:pt idx="347">
                  <c:v>0.27744778962880745</c:v>
                </c:pt>
                <c:pt idx="348">
                  <c:v>0.2594148146081024</c:v>
                </c:pt>
                <c:pt idx="349">
                  <c:v>0.26360262799786227</c:v>
                </c:pt>
                <c:pt idx="350">
                  <c:v>0.27497317611450484</c:v>
                </c:pt>
                <c:pt idx="351">
                  <c:v>0.2541229430895689</c:v>
                </c:pt>
                <c:pt idx="352">
                  <c:v>0.2541229430895689</c:v>
                </c:pt>
                <c:pt idx="353">
                  <c:v>0.2541229430895689</c:v>
                </c:pt>
                <c:pt idx="354">
                  <c:v>0.22766358549690197</c:v>
                </c:pt>
                <c:pt idx="355">
                  <c:v>0.23518895568403933</c:v>
                </c:pt>
                <c:pt idx="356">
                  <c:v>0.25131838080570362</c:v>
                </c:pt>
                <c:pt idx="357">
                  <c:v>0.26556963392454702</c:v>
                </c:pt>
                <c:pt idx="358">
                  <c:v>0.26556963392454702</c:v>
                </c:pt>
                <c:pt idx="359">
                  <c:v>0.26556963392454702</c:v>
                </c:pt>
                <c:pt idx="360">
                  <c:v>0.26556963392454702</c:v>
                </c:pt>
                <c:pt idx="361">
                  <c:v>0.26888181282570356</c:v>
                </c:pt>
                <c:pt idx="362">
                  <c:v>0.28037925945312281</c:v>
                </c:pt>
                <c:pt idx="363">
                  <c:v>0.26918637918420885</c:v>
                </c:pt>
                <c:pt idx="364">
                  <c:v>0.27663561116784735</c:v>
                </c:pt>
                <c:pt idx="365">
                  <c:v>0.2683741962084123</c:v>
                </c:pt>
                <c:pt idx="366">
                  <c:v>0.2683741962084123</c:v>
                </c:pt>
                <c:pt idx="367">
                  <c:v>0.2683741962084123</c:v>
                </c:pt>
                <c:pt idx="368">
                  <c:v>0.2725873920092296</c:v>
                </c:pt>
                <c:pt idx="369">
                  <c:v>0.27386911347089482</c:v>
                </c:pt>
                <c:pt idx="370">
                  <c:v>0.26121684389258704</c:v>
                </c:pt>
                <c:pt idx="371">
                  <c:v>0.24021432994581687</c:v>
                </c:pt>
                <c:pt idx="372">
                  <c:v>0.22543008231346134</c:v>
                </c:pt>
                <c:pt idx="373">
                  <c:v>0.22543008231346134</c:v>
                </c:pt>
                <c:pt idx="374">
                  <c:v>0.22543008231346134</c:v>
                </c:pt>
                <c:pt idx="375">
                  <c:v>0.21102654827278358</c:v>
                </c:pt>
                <c:pt idx="376">
                  <c:v>0.21411029901893386</c:v>
                </c:pt>
                <c:pt idx="377">
                  <c:v>0.23096307319253001</c:v>
                </c:pt>
                <c:pt idx="378">
                  <c:v>0.22600115044355945</c:v>
                </c:pt>
                <c:pt idx="379">
                  <c:v>0.2045417801867761</c:v>
                </c:pt>
                <c:pt idx="380">
                  <c:v>0.2045417801867761</c:v>
                </c:pt>
                <c:pt idx="381">
                  <c:v>0.2045417801867761</c:v>
                </c:pt>
                <c:pt idx="382">
                  <c:v>0.20586157977986402</c:v>
                </c:pt>
                <c:pt idx="383">
                  <c:v>0.1944910316632216</c:v>
                </c:pt>
                <c:pt idx="384">
                  <c:v>0.18612809608923001</c:v>
                </c:pt>
                <c:pt idx="385">
                  <c:v>0.19320930568671968</c:v>
                </c:pt>
                <c:pt idx="386">
                  <c:v>0.17058243030319289</c:v>
                </c:pt>
                <c:pt idx="387">
                  <c:v>0.17058243030319289</c:v>
                </c:pt>
                <c:pt idx="388">
                  <c:v>0.17058243030319289</c:v>
                </c:pt>
                <c:pt idx="389">
                  <c:v>0.13974490026750913</c:v>
                </c:pt>
                <c:pt idx="390">
                  <c:v>0.13965607085848147</c:v>
                </c:pt>
                <c:pt idx="391">
                  <c:v>0.14365352519498445</c:v>
                </c:pt>
                <c:pt idx="392">
                  <c:v>0.13628044044451812</c:v>
                </c:pt>
                <c:pt idx="393">
                  <c:v>0.13451793855398678</c:v>
                </c:pt>
                <c:pt idx="394">
                  <c:v>0.13451793855398678</c:v>
                </c:pt>
                <c:pt idx="395">
                  <c:v>0.13451793855398678</c:v>
                </c:pt>
                <c:pt idx="396">
                  <c:v>0.17068804587449576</c:v>
                </c:pt>
                <c:pt idx="397">
                  <c:v>0.16842012609207074</c:v>
                </c:pt>
                <c:pt idx="398">
                  <c:v>0.19330246030915774</c:v>
                </c:pt>
                <c:pt idx="399">
                  <c:v>0.16327518089922918</c:v>
                </c:pt>
                <c:pt idx="400">
                  <c:v>0.14842353578692638</c:v>
                </c:pt>
                <c:pt idx="401">
                  <c:v>0.14842353578692638</c:v>
                </c:pt>
                <c:pt idx="402">
                  <c:v>0.14842353578692638</c:v>
                </c:pt>
                <c:pt idx="403">
                  <c:v>0.15754705878467548</c:v>
                </c:pt>
                <c:pt idx="404">
                  <c:v>0.14647960518982445</c:v>
                </c:pt>
                <c:pt idx="405">
                  <c:v>0.16744815853610162</c:v>
                </c:pt>
                <c:pt idx="406">
                  <c:v>0.16279567816910528</c:v>
                </c:pt>
                <c:pt idx="407">
                  <c:v>0.151857818442449</c:v>
                </c:pt>
                <c:pt idx="408">
                  <c:v>0.151857818442449</c:v>
                </c:pt>
                <c:pt idx="409">
                  <c:v>0.151857818442449</c:v>
                </c:pt>
                <c:pt idx="410">
                  <c:v>0.12968402496558326</c:v>
                </c:pt>
                <c:pt idx="411">
                  <c:v>0.13988319422572629</c:v>
                </c:pt>
                <c:pt idx="412">
                  <c:v>0.13463457484129648</c:v>
                </c:pt>
                <c:pt idx="413">
                  <c:v>0.13504928063732308</c:v>
                </c:pt>
                <c:pt idx="414">
                  <c:v>0.12497970976021094</c:v>
                </c:pt>
                <c:pt idx="415">
                  <c:v>0.12497970976021094</c:v>
                </c:pt>
                <c:pt idx="416">
                  <c:v>0.12497970976021094</c:v>
                </c:pt>
                <c:pt idx="417">
                  <c:v>0.11319948086061686</c:v>
                </c:pt>
                <c:pt idx="418">
                  <c:v>0.11077604301855473</c:v>
                </c:pt>
                <c:pt idx="419">
                  <c:v>0.10493128461669102</c:v>
                </c:pt>
                <c:pt idx="420">
                  <c:v>9.1440393179777854E-2</c:v>
                </c:pt>
                <c:pt idx="421">
                  <c:v>0.11519525081093135</c:v>
                </c:pt>
                <c:pt idx="422">
                  <c:v>0.11519525081093135</c:v>
                </c:pt>
                <c:pt idx="423">
                  <c:v>0.11519525081093135</c:v>
                </c:pt>
                <c:pt idx="424">
                  <c:v>0.11892759846033414</c:v>
                </c:pt>
                <c:pt idx="425">
                  <c:v>0.12285434594170226</c:v>
                </c:pt>
                <c:pt idx="426">
                  <c:v>0.12372263479124655</c:v>
                </c:pt>
                <c:pt idx="427">
                  <c:v>0.12325608964200739</c:v>
                </c:pt>
                <c:pt idx="428" formatCode="0.0%">
                  <c:v>0.11116482913797497</c:v>
                </c:pt>
                <c:pt idx="429" formatCode="0.0%">
                  <c:v>0.11116482913797497</c:v>
                </c:pt>
                <c:pt idx="430" formatCode="0.0%">
                  <c:v>0.11116482913797497</c:v>
                </c:pt>
                <c:pt idx="431" formatCode="0.0%">
                  <c:v>9.1297837215861932E-2</c:v>
                </c:pt>
                <c:pt idx="432" formatCode="0.0%">
                  <c:v>7.5551983577408499E-2</c:v>
                </c:pt>
                <c:pt idx="433" formatCode="0.0%">
                  <c:v>8.6450966046573541E-2</c:v>
                </c:pt>
                <c:pt idx="434" formatCode="0.0%">
                  <c:v>9.7220354647544124E-2</c:v>
                </c:pt>
                <c:pt idx="435" formatCode="0.0%">
                  <c:v>9.9721547004588726E-2</c:v>
                </c:pt>
                <c:pt idx="436" formatCode="0.0%">
                  <c:v>9.9721547004588726E-2</c:v>
                </c:pt>
                <c:pt idx="437" formatCode="0.0%">
                  <c:v>9.9721547004588726E-2</c:v>
                </c:pt>
                <c:pt idx="438" formatCode="0.0%">
                  <c:v>9.3358408615110022E-2</c:v>
                </c:pt>
                <c:pt idx="439" formatCode="0.0%">
                  <c:v>9.8036804143876E-2</c:v>
                </c:pt>
                <c:pt idx="440" formatCode="0.0%">
                  <c:v>0.12451316461097207</c:v>
                </c:pt>
                <c:pt idx="441" formatCode="0.0%">
                  <c:v>0.13209450522676078</c:v>
                </c:pt>
                <c:pt idx="442" formatCode="0.0%">
                  <c:v>0.14896783996598414</c:v>
                </c:pt>
                <c:pt idx="443" formatCode="0.0%">
                  <c:v>0.14896783996598414</c:v>
                </c:pt>
                <c:pt idx="444" formatCode="0.0%">
                  <c:v>0.14896783996598414</c:v>
                </c:pt>
                <c:pt idx="445" formatCode="0.0%">
                  <c:v>0.15128759910162159</c:v>
                </c:pt>
                <c:pt idx="446" formatCode="0.0%">
                  <c:v>0.16362508976115847</c:v>
                </c:pt>
                <c:pt idx="447" formatCode="0.0%">
                  <c:v>0.15552536915775478</c:v>
                </c:pt>
                <c:pt idx="448" formatCode="0.0%">
                  <c:v>0.14970653494733382</c:v>
                </c:pt>
                <c:pt idx="449" formatCode="0.0%">
                  <c:v>0.14290276657038589</c:v>
                </c:pt>
                <c:pt idx="450" formatCode="0.0%">
                  <c:v>0.14290276657038589</c:v>
                </c:pt>
                <c:pt idx="451" formatCode="0.0%">
                  <c:v>0.14290276657038589</c:v>
                </c:pt>
                <c:pt idx="452" formatCode="0.0%">
                  <c:v>0.14948621995359915</c:v>
                </c:pt>
                <c:pt idx="453" formatCode="0.0%">
                  <c:v>0.16083878547628189</c:v>
                </c:pt>
                <c:pt idx="454" formatCode="0.0%">
                  <c:v>0.15910220777719331</c:v>
                </c:pt>
                <c:pt idx="455" formatCode="0.0%">
                  <c:v>0.14570203295098394</c:v>
                </c:pt>
                <c:pt idx="456" formatCode="0.0%">
                  <c:v>0.15546057222365747</c:v>
                </c:pt>
                <c:pt idx="457" formatCode="0.0%">
                  <c:v>0.15546057222365747</c:v>
                </c:pt>
                <c:pt idx="458" formatCode="0.0%">
                  <c:v>0.15546057222365747</c:v>
                </c:pt>
                <c:pt idx="459" formatCode="0.0%">
                  <c:v>0.17732333409608486</c:v>
                </c:pt>
                <c:pt idx="460" formatCode="0.0%">
                  <c:v>0.18047250482377536</c:v>
                </c:pt>
                <c:pt idx="461" formatCode="0.0%">
                  <c:v>0.15709347573115751</c:v>
                </c:pt>
                <c:pt idx="462" formatCode="0.0%">
                  <c:v>0.15520138448726811</c:v>
                </c:pt>
                <c:pt idx="463" formatCode="0.0%">
                  <c:v>0.16538758713685311</c:v>
                </c:pt>
                <c:pt idx="464" formatCode="0.0%">
                  <c:v>0.16538758713685311</c:v>
                </c:pt>
                <c:pt idx="465" formatCode="0.0%">
                  <c:v>0.16538758713685311</c:v>
                </c:pt>
                <c:pt idx="466" formatCode="0.0%">
                  <c:v>0.14137354176931055</c:v>
                </c:pt>
                <c:pt idx="467" formatCode="0.0%">
                  <c:v>0.13561949997815034</c:v>
                </c:pt>
                <c:pt idx="468" formatCode="0.0%">
                  <c:v>0.13516591692463295</c:v>
                </c:pt>
                <c:pt idx="469" formatCode="0.0%">
                  <c:v>0.13516591692463295</c:v>
                </c:pt>
                <c:pt idx="470" formatCode="0.0%">
                  <c:v>0.13516591692463295</c:v>
                </c:pt>
                <c:pt idx="471" formatCode="0.0%">
                  <c:v>0.13516591692463295</c:v>
                </c:pt>
                <c:pt idx="472" formatCode="0.0%">
                  <c:v>0.13516591692463295</c:v>
                </c:pt>
                <c:pt idx="473" formatCode="0.0%">
                  <c:v>0.13516591692463295</c:v>
                </c:pt>
                <c:pt idx="474" formatCode="0.0%">
                  <c:v>0.12622382714829114</c:v>
                </c:pt>
                <c:pt idx="475" formatCode="0.0%">
                  <c:v>0.13521775627784535</c:v>
                </c:pt>
                <c:pt idx="476" formatCode="0.0%">
                  <c:v>0.13796517879039413</c:v>
                </c:pt>
                <c:pt idx="477" formatCode="0.0%">
                  <c:v>0.11253854039424936</c:v>
                </c:pt>
                <c:pt idx="478" formatCode="0.0%">
                  <c:v>0.11253854039424936</c:v>
                </c:pt>
                <c:pt idx="479" formatCode="0.0%">
                  <c:v>0.11253854039424936</c:v>
                </c:pt>
                <c:pt idx="480" formatCode="0.0%">
                  <c:v>9.4563644230862137E-2</c:v>
                </c:pt>
                <c:pt idx="481" formatCode="0.0%">
                  <c:v>9.9462354753362806E-2</c:v>
                </c:pt>
                <c:pt idx="482" formatCode="0.0%">
                  <c:v>0.1074065618119657</c:v>
                </c:pt>
                <c:pt idx="483" formatCode="0.0%">
                  <c:v>0.11699662544411722</c:v>
                </c:pt>
                <c:pt idx="484" formatCode="0.0%">
                  <c:v>0.12243964014567553</c:v>
                </c:pt>
                <c:pt idx="485" formatCode="0.0%">
                  <c:v>0.1065901078007974</c:v>
                </c:pt>
                <c:pt idx="486" formatCode="0.0%">
                  <c:v>0.1065901078007974</c:v>
                </c:pt>
                <c:pt idx="487" formatCode="0.0%">
                  <c:v>0.10589029007693868</c:v>
                </c:pt>
                <c:pt idx="488" formatCode="0.0%">
                  <c:v>0.10114709761407553</c:v>
                </c:pt>
                <c:pt idx="489" formatCode="0.0%">
                  <c:v>9.5717045008238563E-2</c:v>
                </c:pt>
                <c:pt idx="490" formatCode="0.0%">
                  <c:v>9.4978350026888869E-2</c:v>
                </c:pt>
                <c:pt idx="491" formatCode="0.0%">
                  <c:v>7.2700882358434457E-2</c:v>
                </c:pt>
                <c:pt idx="492" formatCode="0.0%">
                  <c:v>7.2700882358434457E-2</c:v>
                </c:pt>
                <c:pt idx="493" formatCode="0.0%">
                  <c:v>7.2700882358434457E-2</c:v>
                </c:pt>
                <c:pt idx="494" formatCode="0.0%">
                  <c:v>5.2159996903905749E-2</c:v>
                </c:pt>
                <c:pt idx="495" formatCode="0.0%">
                  <c:v>4.8984906499608911E-2</c:v>
                </c:pt>
                <c:pt idx="496" formatCode="0.0%">
                  <c:v>5.4155766854220105E-2</c:v>
                </c:pt>
                <c:pt idx="497" formatCode="0.0%">
                  <c:v>4.9917992283250501E-2</c:v>
                </c:pt>
                <c:pt idx="498" formatCode="0.0%">
                  <c:v>4.9917992283250501E-2</c:v>
                </c:pt>
                <c:pt idx="499" formatCode="0.0%">
                  <c:v>4.9917992283250501E-2</c:v>
                </c:pt>
                <c:pt idx="500" formatCode="0.0%">
                  <c:v>4.9917992283250501E-2</c:v>
                </c:pt>
                <c:pt idx="501" formatCode="0.0%">
                  <c:v>7.0018256779983121E-2</c:v>
                </c:pt>
                <c:pt idx="502" formatCode="0.0%">
                  <c:v>6.8903733260097938E-2</c:v>
                </c:pt>
                <c:pt idx="503" formatCode="0.0%">
                  <c:v>6.9512834373253007E-2</c:v>
                </c:pt>
                <c:pt idx="504" formatCode="0.0%">
                  <c:v>4.6872500261984695E-2</c:v>
                </c:pt>
                <c:pt idx="505" formatCode="0.0%">
                  <c:v>5.7719643377937474E-2</c:v>
                </c:pt>
                <c:pt idx="506" formatCode="0.0%">
                  <c:v>5.7719643377937474E-2</c:v>
                </c:pt>
                <c:pt idx="507" formatCode="0.0%">
                  <c:v>5.7719643377937474E-2</c:v>
                </c:pt>
                <c:pt idx="508" formatCode="0.0%">
                  <c:v>5.6242253415237968E-2</c:v>
                </c:pt>
                <c:pt idx="509" formatCode="0.0%">
                  <c:v>3.7684175815301868E-2</c:v>
                </c:pt>
                <c:pt idx="510" formatCode="0.0%">
                  <c:v>5.2561740604210885E-2</c:v>
                </c:pt>
                <c:pt idx="511" formatCode="0.0%">
                  <c:v>5.2561740604210885E-2</c:v>
                </c:pt>
                <c:pt idx="512" formatCode="0.0%">
                  <c:v>5.2561740604210885E-2</c:v>
                </c:pt>
                <c:pt idx="513" formatCode="0.0%">
                  <c:v>5.2561740604210885E-2</c:v>
                </c:pt>
                <c:pt idx="514" formatCode="0.0%">
                  <c:v>5.2561740604210885E-2</c:v>
                </c:pt>
                <c:pt idx="515" formatCode="0.0%">
                  <c:v>0.10027880876453125</c:v>
                </c:pt>
                <c:pt idx="516" formatCode="0.0%">
                  <c:v>9.3164013297981685E-2</c:v>
                </c:pt>
                <c:pt idx="517" formatCode="0.0%">
                  <c:v>9.1621826401184728E-2</c:v>
                </c:pt>
                <c:pt idx="518" formatCode="0.0%">
                  <c:v>8.5362362203294573E-2</c:v>
                </c:pt>
                <c:pt idx="519" formatCode="0.0%">
                  <c:v>9.3099216363884241E-2</c:v>
                </c:pt>
                <c:pt idx="520" formatCode="0.0%">
                  <c:v>9.3099216363884241E-2</c:v>
                </c:pt>
                <c:pt idx="521" formatCode="0.0%">
                  <c:v>9.3099216363884241E-2</c:v>
                </c:pt>
                <c:pt idx="522" formatCode="0.0%">
                  <c:v>9.3099216363884241E-2</c:v>
                </c:pt>
                <c:pt idx="523" formatCode="0.0%">
                  <c:v>9.532825888881831E-2</c:v>
                </c:pt>
                <c:pt idx="524" formatCode="0.0%">
                  <c:v>9.1971735263114168E-2</c:v>
                </c:pt>
                <c:pt idx="525" formatCode="0.0%">
                  <c:v>9.0636901264330869E-2</c:v>
                </c:pt>
                <c:pt idx="526" formatCode="0.0%">
                  <c:v>5.8976718346902143E-2</c:v>
                </c:pt>
                <c:pt idx="527" formatCode="0.0%">
                  <c:v>5.8976718346902143E-2</c:v>
                </c:pt>
                <c:pt idx="528" formatCode="0.0%">
                  <c:v>5.8976718346902143E-2</c:v>
                </c:pt>
                <c:pt idx="529" formatCode="0.0%">
                  <c:v>3.1981973377354367E-2</c:v>
                </c:pt>
                <c:pt idx="530" formatCode="0.0%">
                  <c:v>1.9126102730202491E-2</c:v>
                </c:pt>
                <c:pt idx="531" formatCode="0.0%">
                  <c:v>2.6474166256535342E-2</c:v>
                </c:pt>
                <c:pt idx="532" formatCode="0.0%">
                  <c:v>3.0303402298198991E-3</c:v>
                </c:pt>
                <c:pt idx="533" formatCode="0.0%">
                  <c:v>8.9201431558947773E-4</c:v>
                </c:pt>
                <c:pt idx="534" formatCode="0.0%">
                  <c:v>8.9201431558947773E-4</c:v>
                </c:pt>
                <c:pt idx="535" formatCode="0.0%">
                  <c:v>8.9201431558947773E-4</c:v>
                </c:pt>
                <c:pt idx="536" formatCode="0.0%">
                  <c:v>4.9742708269218385E-3</c:v>
                </c:pt>
                <c:pt idx="537" formatCode="0.0%">
                  <c:v>1.7856065665516497E-2</c:v>
                </c:pt>
                <c:pt idx="538" formatCode="0.0%">
                  <c:v>1.5639980721467595E-2</c:v>
                </c:pt>
                <c:pt idx="539" formatCode="0.0%">
                  <c:v>2.49578990363446E-2</c:v>
                </c:pt>
                <c:pt idx="540" formatCode="0.0%">
                  <c:v>4.361965082786895E-2</c:v>
                </c:pt>
                <c:pt idx="541" formatCode="0.0%">
                  <c:v>4.361965082786895E-2</c:v>
                </c:pt>
                <c:pt idx="542" formatCode="0.0%">
                  <c:v>4.361965082786895E-2</c:v>
                </c:pt>
                <c:pt idx="543" formatCode="0.0%">
                  <c:v>4.831100845235653E-2</c:v>
                </c:pt>
                <c:pt idx="544" formatCode="0.0%">
                  <c:v>4.4513859354019726E-2</c:v>
                </c:pt>
                <c:pt idx="545" formatCode="0.0%">
                  <c:v>3.8371031443439139E-2</c:v>
                </c:pt>
                <c:pt idx="546" formatCode="0.0%">
                  <c:v>2.9403026505327716E-2</c:v>
                </c:pt>
                <c:pt idx="547" formatCode="0.0%">
                  <c:v>2.9584459726734735E-2</c:v>
                </c:pt>
                <c:pt idx="548" formatCode="0.0%">
                  <c:v>2.9584459726734735E-2</c:v>
                </c:pt>
                <c:pt idx="549" formatCode="0.0%">
                  <c:v>2.9584459726734735E-2</c:v>
                </c:pt>
                <c:pt idx="550" formatCode="0.0%">
                  <c:v>3.6103111661014251E-2</c:v>
                </c:pt>
                <c:pt idx="551" formatCode="0.0%">
                  <c:v>4.1338768949722604E-2</c:v>
                </c:pt>
                <c:pt idx="552" formatCode="0.0%">
                  <c:v>7.1132775785032007E-2</c:v>
                </c:pt>
                <c:pt idx="553" formatCode="0.0%">
                  <c:v>7.9906394435687964E-2</c:v>
                </c:pt>
                <c:pt idx="554" formatCode="0.0%">
                  <c:v>8.4986538179595505E-2</c:v>
                </c:pt>
                <c:pt idx="555" formatCode="0.0%">
                  <c:v>8.4986538179595505E-2</c:v>
                </c:pt>
                <c:pt idx="556" formatCode="0.0%">
                  <c:v>8.4986538179595505E-2</c:v>
                </c:pt>
                <c:pt idx="557" formatCode="0.0%">
                  <c:v>8.8887361469520976E-2</c:v>
                </c:pt>
                <c:pt idx="558" formatCode="0.0%">
                  <c:v>8.7124864093825777E-2</c:v>
                </c:pt>
                <c:pt idx="559" formatCode="0.0%">
                  <c:v>7.0731032084726586E-2</c:v>
                </c:pt>
                <c:pt idx="560" formatCode="0.0%">
                  <c:v>6.7866968770031233E-2</c:v>
                </c:pt>
                <c:pt idx="561" formatCode="0.0%">
                  <c:v>9.0390671108826551E-2</c:v>
                </c:pt>
                <c:pt idx="562" formatCode="0.0%">
                  <c:v>9.0390671108826551E-2</c:v>
                </c:pt>
                <c:pt idx="563" formatCode="0.0%">
                  <c:v>9.0390671108826551E-2</c:v>
                </c:pt>
                <c:pt idx="564" formatCode="0.0%">
                  <c:v>8.5103174466905351E-2</c:v>
                </c:pt>
                <c:pt idx="565" formatCode="0.0%">
                  <c:v>8.5038373017971625E-2</c:v>
                </c:pt>
                <c:pt idx="566" formatCode="0.0%">
                  <c:v>0.10342797949222188</c:v>
                </c:pt>
                <c:pt idx="567" formatCode="0.0%">
                  <c:v>0.11178688783201479</c:v>
                </c:pt>
                <c:pt idx="568" formatCode="0.0%">
                  <c:v>0.11927750732226357</c:v>
                </c:pt>
                <c:pt idx="569" formatCode="0.0%">
                  <c:v>0.11927750732226357</c:v>
                </c:pt>
                <c:pt idx="570" formatCode="0.0%">
                  <c:v>0.11927750732226357</c:v>
                </c:pt>
                <c:pt idx="571" formatCode="0.0%">
                  <c:v>0.11095747623996161</c:v>
                </c:pt>
                <c:pt idx="572" formatCode="0.0%">
                  <c:v>0.11214975427482883</c:v>
                </c:pt>
                <c:pt idx="573" formatCode="0.0%">
                  <c:v>0.12113072582349843</c:v>
                </c:pt>
                <c:pt idx="574" formatCode="0.0%">
                  <c:v>0.12859542563714085</c:v>
                </c:pt>
                <c:pt idx="575" formatCode="0.0%">
                  <c:v>0.14948621995359915</c:v>
                </c:pt>
                <c:pt idx="576" formatCode="0.0%">
                  <c:v>0.14948621995359915</c:v>
                </c:pt>
                <c:pt idx="577" formatCode="0.0%">
                  <c:v>0.15005643929442655</c:v>
                </c:pt>
                <c:pt idx="578" formatCode="0.0%">
                  <c:v>0.14684247163263861</c:v>
                </c:pt>
                <c:pt idx="579" formatCode="0.0%">
                  <c:v>0.14360258429424447</c:v>
                </c:pt>
                <c:pt idx="580" formatCode="0.0%">
                  <c:v>0.14635001132162984</c:v>
                </c:pt>
                <c:pt idx="581" formatCode="0.0%">
                  <c:v>0.15250579681309545</c:v>
                </c:pt>
                <c:pt idx="582" formatCode="0.0%">
                  <c:v>0.1558364007621931</c:v>
                </c:pt>
                <c:pt idx="583" formatCode="0.0%">
                  <c:v>0.1558364007621931</c:v>
                </c:pt>
                <c:pt idx="584" formatCode="0.0%">
                  <c:v>0.1558364007621931</c:v>
                </c:pt>
                <c:pt idx="585" formatCode="0.0%">
                  <c:v>0.15726195137167978</c:v>
                </c:pt>
                <c:pt idx="586" formatCode="0.0%">
                  <c:v>0.14059596953046977</c:v>
                </c:pt>
                <c:pt idx="587" formatCode="0.0%">
                  <c:v>0.14618153568110756</c:v>
                </c:pt>
                <c:pt idx="588" formatCode="0.0%">
                  <c:v>0.1550069891701395</c:v>
                </c:pt>
                <c:pt idx="589" formatCode="0.0%">
                  <c:v>0.16149972594264966</c:v>
                </c:pt>
                <c:pt idx="590" formatCode="0.0%">
                  <c:v>0.16149972594264966</c:v>
                </c:pt>
                <c:pt idx="591" formatCode="0.0%">
                  <c:v>0.16149972594264966</c:v>
                </c:pt>
                <c:pt idx="592" formatCode="0.0%">
                  <c:v>0.17812682601153185</c:v>
                </c:pt>
                <c:pt idx="593" formatCode="0.0%">
                  <c:v>0.17773803989211159</c:v>
                </c:pt>
                <c:pt idx="594" formatCode="0.0%">
                  <c:v>0.17686975104256716</c:v>
                </c:pt>
                <c:pt idx="595" formatCode="0.0%">
                  <c:v>0.17662352088706285</c:v>
                </c:pt>
                <c:pt idx="596" formatCode="0.0%">
                  <c:v>0.17641616798904963</c:v>
                </c:pt>
                <c:pt idx="597" formatCode="0.0%">
                  <c:v>0.17641616798904963</c:v>
                </c:pt>
                <c:pt idx="598" formatCode="0.0%">
                  <c:v>0.17641616798904963</c:v>
                </c:pt>
                <c:pt idx="599" formatCode="0.0%">
                  <c:v>0.16756479482341122</c:v>
                </c:pt>
                <c:pt idx="600" formatCode="0.0%">
                  <c:v>0.15603079156448474</c:v>
                </c:pt>
                <c:pt idx="601" formatCode="0.0%">
                  <c:v>0.15564200544506449</c:v>
                </c:pt>
                <c:pt idx="602" formatCode="0.0%">
                  <c:v>0.16131828820640592</c:v>
                </c:pt>
                <c:pt idx="603" formatCode="0.0%">
                  <c:v>0.14978428946231603</c:v>
                </c:pt>
                <c:pt idx="604" formatCode="0.0%">
                  <c:v>0.14978428946231603</c:v>
                </c:pt>
                <c:pt idx="605" formatCode="0.0%">
                  <c:v>0.14978428946231603</c:v>
                </c:pt>
                <c:pt idx="606" formatCode="0.0%">
                  <c:v>0.12313945335469768</c:v>
                </c:pt>
                <c:pt idx="607" formatCode="0.0%">
                  <c:v>0.11763164623387851</c:v>
                </c:pt>
                <c:pt idx="608" formatCode="0.0%">
                  <c:v>0.10468505446118655</c:v>
                </c:pt>
                <c:pt idx="609" formatCode="0.0%">
                  <c:v>0.10022696941131898</c:v>
                </c:pt>
                <c:pt idx="610" formatCode="0.0%">
                  <c:v>0.11283660990296611</c:v>
                </c:pt>
                <c:pt idx="611" formatCode="0.0%">
                  <c:v>0.11283660990296611</c:v>
                </c:pt>
                <c:pt idx="612" formatCode="0.0%">
                  <c:v>0.11283660990296611</c:v>
                </c:pt>
                <c:pt idx="613" formatCode="0.0%">
                  <c:v>0.10563110234054961</c:v>
                </c:pt>
                <c:pt idx="614" formatCode="0.0%">
                  <c:v>0.10888394725982863</c:v>
                </c:pt>
                <c:pt idx="615" formatCode="0.0%">
                  <c:v>0.10074534939893383</c:v>
                </c:pt>
                <c:pt idx="616" formatCode="0.0%">
                  <c:v>0.11468982840420111</c:v>
                </c:pt>
                <c:pt idx="617" formatCode="0.0%">
                  <c:v>0.12531665652641905</c:v>
                </c:pt>
                <c:pt idx="618" formatCode="0.0%">
                  <c:v>0.12531665652641905</c:v>
                </c:pt>
                <c:pt idx="619" formatCode="0.0%">
                  <c:v>0.12531665652641905</c:v>
                </c:pt>
                <c:pt idx="620" formatCode="0.0%">
                  <c:v>0.12544625490945038</c:v>
                </c:pt>
                <c:pt idx="621" formatCode="0.0%">
                  <c:v>0.11459911179349745</c:v>
                </c:pt>
                <c:pt idx="622" formatCode="0.0%">
                  <c:v>9.9954819579208168E-2</c:v>
                </c:pt>
                <c:pt idx="623" formatCode="0.0%">
                  <c:v>8.5466040909719682E-2</c:v>
                </c:pt>
                <c:pt idx="624" formatCode="0.0%">
                  <c:v>6.4627081431637243E-2</c:v>
                </c:pt>
                <c:pt idx="625" formatCode="0.0%">
                  <c:v>6.4627081431637243E-2</c:v>
                </c:pt>
                <c:pt idx="626" formatCode="0.0%">
                  <c:v>6.4627081431637243E-2</c:v>
                </c:pt>
                <c:pt idx="627" formatCode="0.0%">
                  <c:v>6.8514947140677407E-2</c:v>
                </c:pt>
                <c:pt idx="628" formatCode="0.0%">
                  <c:v>6.1166883614344837E-2</c:v>
                </c:pt>
                <c:pt idx="629" formatCode="0.0%">
                  <c:v>7.0342245965306208E-2</c:v>
                </c:pt>
                <c:pt idx="630" formatCode="0.0%">
                  <c:v>5.2185916580511818E-2</c:v>
                </c:pt>
                <c:pt idx="631" formatCode="0.0%">
                  <c:v>5.1434259503440959E-2</c:v>
                </c:pt>
                <c:pt idx="632" formatCode="0.0%">
                  <c:v>5.1434259503440959E-2</c:v>
                </c:pt>
                <c:pt idx="633" formatCode="0.0%">
                  <c:v>5.1434259503440959E-2</c:v>
                </c:pt>
                <c:pt idx="634" formatCode="0.0%">
                  <c:v>5.40391305669101E-2</c:v>
                </c:pt>
                <c:pt idx="635" formatCode="0.0%">
                  <c:v>5.0630767587993973E-2</c:v>
                </c:pt>
                <c:pt idx="636" formatCode="0.0%">
                  <c:v>4.5135918048059692E-2</c:v>
                </c:pt>
                <c:pt idx="637" formatCode="0.0%">
                  <c:v>2.3882257288787088E-2</c:v>
                </c:pt>
                <c:pt idx="638" formatCode="0.0%">
                  <c:v>1.7739429378206779E-2</c:v>
                </c:pt>
                <c:pt idx="639" formatCode="0.0%">
                  <c:v>1.7739429378206779E-2</c:v>
                </c:pt>
                <c:pt idx="640" formatCode="0.0%">
                  <c:v>1.7739429378206779E-2</c:v>
                </c:pt>
                <c:pt idx="641" formatCode="0.0%">
                  <c:v>2.9169753930708139E-2</c:v>
                </c:pt>
                <c:pt idx="642" formatCode="0.0%">
                  <c:v>5.2471023993507518E-2</c:v>
                </c:pt>
                <c:pt idx="643" formatCode="0.0%">
                  <c:v>5.485558006324226E-2</c:v>
                </c:pt>
                <c:pt idx="644" formatCode="0.0%">
                  <c:v>6.3758792582092813E-2</c:v>
                </c:pt>
                <c:pt idx="645" formatCode="0.0%">
                  <c:v>4.5239596754484523E-2</c:v>
                </c:pt>
                <c:pt idx="646" formatCode="0.0%">
                  <c:v>4.5239596754484523E-2</c:v>
                </c:pt>
                <c:pt idx="647" formatCode="0.0%">
                  <c:v>4.5239596754484523E-2</c:v>
                </c:pt>
                <c:pt idx="648" formatCode="0.0%">
                  <c:v>3.6440058427222227E-2</c:v>
                </c:pt>
                <c:pt idx="649" formatCode="0.0%">
                  <c:v>1.8555878874538509E-2</c:v>
                </c:pt>
                <c:pt idx="650" formatCode="0.0%">
                  <c:v>2.0499813986476881E-2</c:v>
                </c:pt>
                <c:pt idx="651" formatCode="0.0%">
                  <c:v>3.2247310321118052E-3</c:v>
                </c:pt>
                <c:pt idx="652" formatCode="0.0%">
                  <c:v>1.8529963712768733E-2</c:v>
                </c:pt>
                <c:pt idx="653" formatCode="0.0%">
                  <c:v>1.8529963712768733E-2</c:v>
                </c:pt>
                <c:pt idx="654" formatCode="0.0%">
                  <c:v>1.8529963712768733E-2</c:v>
                </c:pt>
                <c:pt idx="655" formatCode="0.0%">
                  <c:v>2.3558268103464002E-2</c:v>
                </c:pt>
                <c:pt idx="656" formatCode="0.0%">
                  <c:v>3.5105228943275224E-2</c:v>
                </c:pt>
                <c:pt idx="657" formatCode="0.0%">
                  <c:v>3.0711940827504662E-2</c:v>
                </c:pt>
                <c:pt idx="658" formatCode="0.0%">
                  <c:v>2.561883498787566E-2</c:v>
                </c:pt>
                <c:pt idx="659" formatCode="0.0%">
                  <c:v>1.230937677236966E-2</c:v>
                </c:pt>
                <c:pt idx="660" formatCode="0.0%">
                  <c:v>1.230937677236966E-2</c:v>
                </c:pt>
                <c:pt idx="661" formatCode="0.0%">
                  <c:v>1.230937677236966E-2</c:v>
                </c:pt>
                <c:pt idx="662" formatCode="0.0%">
                  <c:v>2.491902177885379E-2</c:v>
                </c:pt>
                <c:pt idx="663" formatCode="0.0%">
                  <c:v>3.2979860609929829E-2</c:v>
                </c:pt>
                <c:pt idx="664" formatCode="0.0%">
                  <c:v>2.9688133918323274E-2</c:v>
                </c:pt>
                <c:pt idx="665" formatCode="0.0%">
                  <c:v>3.2889143999226322E-2</c:v>
                </c:pt>
                <c:pt idx="666" formatCode="0.0%">
                  <c:v>3.1787582575062603E-2</c:v>
                </c:pt>
                <c:pt idx="667" formatCode="0.0%">
                  <c:v>3.1787582575062603E-2</c:v>
                </c:pt>
                <c:pt idx="668" formatCode="0.0%">
                  <c:v>3.1787582575062603E-2</c:v>
                </c:pt>
                <c:pt idx="669" formatCode="0.0%">
                  <c:v>4.6444832370236923E-2</c:v>
                </c:pt>
                <c:pt idx="670" formatCode="0.0%">
                  <c:v>4.4708254671148209E-2</c:v>
                </c:pt>
                <c:pt idx="671" formatCode="0.0%">
                  <c:v>4.3541896312887046E-2</c:v>
                </c:pt>
                <c:pt idx="672" formatCode="0.0%">
                  <c:v>2.5787310628398074E-2</c:v>
                </c:pt>
                <c:pt idx="673" formatCode="0.0%">
                  <c:v>2.4102567767685344E-2</c:v>
                </c:pt>
                <c:pt idx="674" formatCode="0.0%">
                  <c:v>2.4102567767685344E-2</c:v>
                </c:pt>
                <c:pt idx="675" formatCode="0.0%">
                  <c:v>2.4102567767685344E-2</c:v>
                </c:pt>
                <c:pt idx="676" formatCode="0.0%">
                  <c:v>2.7173983980393928E-2</c:v>
                </c:pt>
                <c:pt idx="677" formatCode="0.0%">
                  <c:v>3.7515704689616174E-2</c:v>
                </c:pt>
                <c:pt idx="678" formatCode="0.0%">
                  <c:v>3.3679678333788557E-2</c:v>
                </c:pt>
                <c:pt idx="679" formatCode="0.0%">
                  <c:v>5.7460451126711547E-2</c:v>
                </c:pt>
                <c:pt idx="680" formatCode="0.0%">
                  <c:v>8.5621554454520202E-2</c:v>
                </c:pt>
                <c:pt idx="681" formatCode="0.0%">
                  <c:v>8.5621554454520202E-2</c:v>
                </c:pt>
                <c:pt idx="682" formatCode="0.0%">
                  <c:v>8.5621554454520202E-2</c:v>
                </c:pt>
                <c:pt idx="683" formatCode="0.0%">
                  <c:v>8.0826522638444656E-2</c:v>
                </c:pt>
                <c:pt idx="684" formatCode="0.0%">
                  <c:v>9.0274034821516691E-2</c:v>
                </c:pt>
                <c:pt idx="685" formatCode="0.0%">
                  <c:v>7.7806945778948769E-2</c:v>
                </c:pt>
                <c:pt idx="686" formatCode="0.0%">
                  <c:v>7.2273218981523113E-2</c:v>
                </c:pt>
                <c:pt idx="687" formatCode="0.0%">
                  <c:v>7.522799439208526E-2</c:v>
                </c:pt>
                <c:pt idx="688" formatCode="0.0%">
                  <c:v>7.522799439208526E-2</c:v>
                </c:pt>
                <c:pt idx="689" formatCode="0.0%">
                  <c:v>7.522799439208526E-2</c:v>
                </c:pt>
                <c:pt idx="690" formatCode="0.0%">
                  <c:v>7.7664389815032708E-2</c:v>
                </c:pt>
                <c:pt idx="691" formatCode="0.0%">
                  <c:v>8.2031758254196771E-2</c:v>
                </c:pt>
                <c:pt idx="692" formatCode="0.0%">
                  <c:v>8.877072518221113E-2</c:v>
                </c:pt>
                <c:pt idx="693" formatCode="0.0%">
                  <c:v>9.149223253299027E-2</c:v>
                </c:pt>
                <c:pt idx="694" formatCode="0.0%">
                  <c:v>9.0157398534206831E-2</c:v>
                </c:pt>
                <c:pt idx="695" formatCode="0.0%">
                  <c:v>9.0157398534206831E-2</c:v>
                </c:pt>
                <c:pt idx="696" formatCode="0.0%">
                  <c:v>9.0157398534206831E-2</c:v>
                </c:pt>
                <c:pt idx="697" formatCode="0.0%">
                  <c:v>8.5167971401002796E-2</c:v>
                </c:pt>
                <c:pt idx="698" formatCode="0.0%">
                  <c:v>7.831236818567873E-2</c:v>
                </c:pt>
                <c:pt idx="699" formatCode="0.0%">
                  <c:v>0.10754911326104534</c:v>
                </c:pt>
                <c:pt idx="700" formatCode="0.0%">
                  <c:v>9.6053991774446526E-2</c:v>
                </c:pt>
                <c:pt idx="701" formatCode="0.0%">
                  <c:v>9.3604638770614479E-2</c:v>
                </c:pt>
                <c:pt idx="702" formatCode="0.0%">
                  <c:v>9.3604638770614479E-2</c:v>
                </c:pt>
                <c:pt idx="703" formatCode="0.0%">
                  <c:v>9.3604638770614479E-2</c:v>
                </c:pt>
                <c:pt idx="704" formatCode="0.0%">
                  <c:v>8.7539569889852661E-2</c:v>
                </c:pt>
                <c:pt idx="705" formatCode="0.0%">
                  <c:v>7.6523951133377746E-2</c:v>
                </c:pt>
                <c:pt idx="706" formatCode="0.0%">
                  <c:v>6.4925150940353837E-2</c:v>
                </c:pt>
                <c:pt idx="707" formatCode="0.0%">
                  <c:v>6.9642428241447618E-2</c:v>
                </c:pt>
                <c:pt idx="708" formatCode="0.0%">
                  <c:v>7.6627625324966003E-2</c:v>
                </c:pt>
                <c:pt idx="709" formatCode="0.0%">
                  <c:v>7.6627625324966003E-2</c:v>
                </c:pt>
                <c:pt idx="710" formatCode="0.0%">
                  <c:v>7.6627625324966003E-2</c:v>
                </c:pt>
                <c:pt idx="711" formatCode="0.0%">
                  <c:v>7.2921197352169564E-2</c:v>
                </c:pt>
                <c:pt idx="712" formatCode="0.0%">
                  <c:v>9.5924397906251638E-2</c:v>
                </c:pt>
                <c:pt idx="713" formatCode="0.0%">
                  <c:v>9.3293607166176004E-2</c:v>
                </c:pt>
                <c:pt idx="714" formatCode="0.0%">
                  <c:v>5.8963760766017115E-2</c:v>
                </c:pt>
                <c:pt idx="715" formatCode="0.0%">
                  <c:v>4.9503286487223762E-2</c:v>
                </c:pt>
                <c:pt idx="716" formatCode="0.0%">
                  <c:v>4.9503286487223762E-2</c:v>
                </c:pt>
                <c:pt idx="717" formatCode="0.0%">
                  <c:v>4.9503286487223762E-2</c:v>
                </c:pt>
                <c:pt idx="718" formatCode="0.0%">
                  <c:v>5.1058435479741891E-2</c:v>
                </c:pt>
                <c:pt idx="719" formatCode="0.0%">
                  <c:v>3.9874341082744708E-2</c:v>
                </c:pt>
                <c:pt idx="720" formatCode="0.0%">
                  <c:v>4.6302276406320855E-2</c:v>
                </c:pt>
                <c:pt idx="721" formatCode="0.0%">
                  <c:v>3.9355961095129711E-2</c:v>
                </c:pt>
                <c:pt idx="722" formatCode="0.0%">
                  <c:v>4.0509357357669556E-2</c:v>
                </c:pt>
                <c:pt idx="723" formatCode="0.0%">
                  <c:v>4.0509357357669556E-2</c:v>
                </c:pt>
                <c:pt idx="724" formatCode="0.0%">
                  <c:v>4.0509357357669556E-2</c:v>
                </c:pt>
                <c:pt idx="725" formatCode="0.0%">
                  <c:v>4.0509357357669556E-2</c:v>
                </c:pt>
                <c:pt idx="726" formatCode="0.0%">
                  <c:v>3.8137763383656133E-2</c:v>
                </c:pt>
                <c:pt idx="727" formatCode="0.0%">
                  <c:v>3.7269470019275559E-2</c:v>
                </c:pt>
                <c:pt idx="728" formatCode="0.0%">
                  <c:v>4.0548239129997228E-2</c:v>
                </c:pt>
                <c:pt idx="729" formatCode="0.0%">
                  <c:v>3.4586844440823938E-2</c:v>
                </c:pt>
                <c:pt idx="730" formatCode="0.0%">
                  <c:v>3.4949710883637831E-2</c:v>
                </c:pt>
                <c:pt idx="731" formatCode="0.0%">
                  <c:v>3.4949710883637831E-2</c:v>
                </c:pt>
                <c:pt idx="732" formatCode="0.0%">
                  <c:v>3.5221860715748649E-2</c:v>
                </c:pt>
                <c:pt idx="733" formatCode="0.0%">
                  <c:v>4.9710639385237128E-2</c:v>
                </c:pt>
                <c:pt idx="734" formatCode="0.0%">
                  <c:v>4.9840237768268313E-2</c:v>
                </c:pt>
                <c:pt idx="735" formatCode="0.0%">
                  <c:v>4.7494558956024523E-2</c:v>
                </c:pt>
                <c:pt idx="736" formatCode="0.0%">
                  <c:v>4.636707785525445E-2</c:v>
                </c:pt>
                <c:pt idx="737" formatCode="0.0%">
                  <c:v>4.636707785525445E-2</c:v>
                </c:pt>
                <c:pt idx="738" formatCode="0.0%">
                  <c:v>4.636707785525445E-2</c:v>
                </c:pt>
                <c:pt idx="739" formatCode="0.0%">
                  <c:v>6.0570744596911086E-2</c:v>
                </c:pt>
                <c:pt idx="740" formatCode="0.0%">
                  <c:v>5.6307050349335412E-2</c:v>
                </c:pt>
                <c:pt idx="741" formatCode="0.0%">
                  <c:v>6.4886273682863024E-2</c:v>
                </c:pt>
                <c:pt idx="742" formatCode="0.0%">
                  <c:v>7.5422389709213888E-2</c:v>
                </c:pt>
                <c:pt idx="743" formatCode="0.0%">
                  <c:v>7.6264758882151965E-2</c:v>
                </c:pt>
                <c:pt idx="744" formatCode="0.0%">
                  <c:v>7.6264758882151965E-2</c:v>
                </c:pt>
                <c:pt idx="745" formatCode="0.0%">
                  <c:v>7.6264758882151965E-2</c:v>
                </c:pt>
                <c:pt idx="746" formatCode="0.0%">
                  <c:v>7.9971191369785408E-2</c:v>
                </c:pt>
                <c:pt idx="747" formatCode="0.0%">
                  <c:v>8.7565489566458862E-2</c:v>
                </c:pt>
                <c:pt idx="748" formatCode="0.0%">
                  <c:v>9.3578719094008278E-2</c:v>
                </c:pt>
                <c:pt idx="749" formatCode="0.0%">
                  <c:v>8.0243341201895926E-2</c:v>
                </c:pt>
                <c:pt idx="750" formatCode="0.0%">
                  <c:v>7.8416046892103852E-2</c:v>
                </c:pt>
                <c:pt idx="751" formatCode="0.0%">
                  <c:v>7.8416046892103852E-2</c:v>
                </c:pt>
                <c:pt idx="752" formatCode="0.0%">
                  <c:v>7.8416046892103852E-2</c:v>
                </c:pt>
                <c:pt idx="753" formatCode="0.0%">
                  <c:v>9.149223253299027E-2</c:v>
                </c:pt>
                <c:pt idx="754" formatCode="0.0%">
                  <c:v>9.0105559180994554E-2</c:v>
                </c:pt>
                <c:pt idx="755" formatCode="0.0%">
                  <c:v>7.4320828285050031E-2</c:v>
                </c:pt>
                <c:pt idx="756" formatCode="0.0%">
                  <c:v>8.2524223080042272E-2</c:v>
                </c:pt>
                <c:pt idx="757" formatCode="0.0%">
                  <c:v>9.1796753743130358E-2</c:v>
                </c:pt>
                <c:pt idx="758" formatCode="0.0%">
                  <c:v>9.1796753743130358E-2</c:v>
                </c:pt>
                <c:pt idx="759" formatCode="0.0%">
                  <c:v>9.1796753743130358E-2</c:v>
                </c:pt>
                <c:pt idx="760" formatCode="0.0%">
                  <c:v>8.5127509435884291E-2</c:v>
                </c:pt>
                <c:pt idx="761" formatCode="0.0%">
                  <c:v>8.5878972374983958E-2</c:v>
                </c:pt>
                <c:pt idx="762" formatCode="0.0%">
                  <c:v>8.3007306075546558E-2</c:v>
                </c:pt>
                <c:pt idx="763" formatCode="0.0%">
                  <c:v>0.10255879219020514</c:v>
                </c:pt>
                <c:pt idx="764" formatCode="0.0%">
                  <c:v>0.11173738716413269</c:v>
                </c:pt>
                <c:pt idx="765" formatCode="0.0%">
                  <c:v>0.11173738716413269</c:v>
                </c:pt>
                <c:pt idx="766" formatCode="0.0%">
                  <c:v>0.11173738716413269</c:v>
                </c:pt>
                <c:pt idx="767" formatCode="0.0%">
                  <c:v>0.10207570467986414</c:v>
                </c:pt>
                <c:pt idx="768" formatCode="0.0%">
                  <c:v>0.10803374484548442</c:v>
                </c:pt>
                <c:pt idx="769" formatCode="0.0%">
                  <c:v>0.11337450752896629</c:v>
                </c:pt>
                <c:pt idx="770" formatCode="0.0%">
                  <c:v>0.11007343061087439</c:v>
                </c:pt>
                <c:pt idx="771" formatCode="0.0%">
                  <c:v>0.10231724843503458</c:v>
                </c:pt>
                <c:pt idx="772" formatCode="0.0%">
                  <c:v>0.10231724843503458</c:v>
                </c:pt>
                <c:pt idx="773" formatCode="0.0%">
                  <c:v>0.10231724843503458</c:v>
                </c:pt>
                <c:pt idx="774" formatCode="0.0%">
                  <c:v>0.10894623394480689</c:v>
                </c:pt>
                <c:pt idx="775" formatCode="0.0%">
                  <c:v>0.11293167881609946</c:v>
                </c:pt>
                <c:pt idx="776" formatCode="0.0%">
                  <c:v>0.1076848473069414</c:v>
                </c:pt>
                <c:pt idx="777" formatCode="0.0%">
                  <c:v>0.10073380496188761</c:v>
                </c:pt>
                <c:pt idx="778" formatCode="0.0%">
                  <c:v>9.0079120298185697E-2</c:v>
                </c:pt>
                <c:pt idx="779" formatCode="0.0%">
                  <c:v>9.0079120298185697E-2</c:v>
                </c:pt>
                <c:pt idx="780" formatCode="0.0%">
                  <c:v>9.0079120298185697E-2</c:v>
                </c:pt>
                <c:pt idx="781" formatCode="0.0%">
                  <c:v>8.6898815257678882E-2</c:v>
                </c:pt>
                <c:pt idx="782" formatCode="0.0%">
                  <c:v>7.6740631683693439E-2</c:v>
                </c:pt>
                <c:pt idx="783" formatCode="0.0%">
                  <c:v>7.311750244515651E-2</c:v>
                </c:pt>
                <c:pt idx="784" formatCode="0.0%">
                  <c:v>8.1061551484480396E-2</c:v>
                </c:pt>
                <c:pt idx="785" formatCode="0.0%">
                  <c:v>6.5710213293023401E-2</c:v>
                </c:pt>
                <c:pt idx="786" formatCode="0.0%">
                  <c:v>6.5710213293023401E-2</c:v>
                </c:pt>
                <c:pt idx="787" formatCode="0.0%">
                  <c:v>6.5710213293023401E-2</c:v>
                </c:pt>
                <c:pt idx="788" formatCode="0.0%">
                  <c:v>7.0138482362346363E-2</c:v>
                </c:pt>
                <c:pt idx="789" formatCode="0.0%">
                  <c:v>6.9212575168811699E-2</c:v>
                </c:pt>
                <c:pt idx="790" formatCode="0.0%">
                  <c:v>6.436831357504659E-2</c:v>
                </c:pt>
                <c:pt idx="791" formatCode="0.0%">
                  <c:v>6.6085947019991528E-2</c:v>
                </c:pt>
                <c:pt idx="792" formatCode="0.0%">
                  <c:v>8.4376046496784624E-2</c:v>
                </c:pt>
                <c:pt idx="793" formatCode="0.0%">
                  <c:v>8.4376046496784624E-2</c:v>
                </c:pt>
                <c:pt idx="794" formatCode="0.0%">
                  <c:v>8.4376046496784624E-2</c:v>
                </c:pt>
                <c:pt idx="795" formatCode="0.0%">
                  <c:v>9.2320091021272074E-2</c:v>
                </c:pt>
                <c:pt idx="796" formatCode="0.0%">
                  <c:v>9.0521949011052524E-2</c:v>
                </c:pt>
                <c:pt idx="797" formatCode="0.0%">
                  <c:v>8.5771618591611087E-2</c:v>
                </c:pt>
                <c:pt idx="798" formatCode="0.0%">
                  <c:v>8.9716804665429778E-2</c:v>
                </c:pt>
                <c:pt idx="799" formatCode="0.0%">
                  <c:v>5.4652958713928397E-2</c:v>
                </c:pt>
                <c:pt idx="800" formatCode="0.0%">
                  <c:v>5.4652958713928397E-2</c:v>
                </c:pt>
                <c:pt idx="801" formatCode="0.0%">
                  <c:v>5.4652958713928397E-2</c:v>
                </c:pt>
                <c:pt idx="802" formatCode="0.0%">
                  <c:v>4.53670099566277E-2</c:v>
                </c:pt>
                <c:pt idx="803" formatCode="0.0%">
                  <c:v>4.9835537823424828E-2</c:v>
                </c:pt>
                <c:pt idx="804" formatCode="0.0%">
                  <c:v>5.1231114433087727E-2</c:v>
                </c:pt>
                <c:pt idx="805" formatCode="0.0%">
                  <c:v>5.6290074563925145E-2</c:v>
                </c:pt>
                <c:pt idx="806" formatCode="0.0%">
                  <c:v>6.0637830553136922E-2</c:v>
                </c:pt>
                <c:pt idx="807" formatCode="0.0%">
                  <c:v>6.0637830553136922E-2</c:v>
                </c:pt>
                <c:pt idx="808" formatCode="0.0%">
                  <c:v>6.0637830553136922E-2</c:v>
                </c:pt>
                <c:pt idx="809" formatCode="0.0%">
                  <c:v>5.7712491876849722E-2</c:v>
                </c:pt>
                <c:pt idx="810" formatCode="0.0%">
                  <c:v>5.8316346749939213E-2</c:v>
                </c:pt>
                <c:pt idx="811" formatCode="0.0%">
                  <c:v>6.9387019423246696E-2</c:v>
                </c:pt>
                <c:pt idx="812" formatCode="0.0%">
                  <c:v>6.6958181836676262E-2</c:v>
                </c:pt>
                <c:pt idx="813" formatCode="0.0%">
                  <c:v>6.7159466794372943E-2</c:v>
                </c:pt>
                <c:pt idx="814" formatCode="0.0%">
                  <c:v>6.7159466794372943E-2</c:v>
                </c:pt>
                <c:pt idx="815" formatCode="0.0%">
                  <c:v>6.7159466794372943E-2</c:v>
                </c:pt>
                <c:pt idx="816" formatCode="0.0%">
                  <c:v>7.2017146482350261E-2</c:v>
                </c:pt>
                <c:pt idx="817" formatCode="0.0%">
                  <c:v>6.2570167049990744E-2</c:v>
                </c:pt>
                <c:pt idx="818" formatCode="0.0%">
                  <c:v>7.4378889083021982E-2</c:v>
                </c:pt>
                <c:pt idx="819" formatCode="0.0%">
                  <c:v>7.6727213589480953E-2</c:v>
                </c:pt>
                <c:pt idx="820" formatCode="0.0%">
                  <c:v>9.4856282391215102E-2</c:v>
                </c:pt>
                <c:pt idx="821" formatCode="0.0%">
                  <c:v>9.4856282391215102E-2</c:v>
                </c:pt>
                <c:pt idx="822" formatCode="0.0%">
                  <c:v>9.4856282391215102E-2</c:v>
                </c:pt>
                <c:pt idx="823" formatCode="0.0%">
                  <c:v>9.0642716373801016E-2</c:v>
                </c:pt>
                <c:pt idx="824" formatCode="0.0%">
                  <c:v>9.2695824748239911E-2</c:v>
                </c:pt>
                <c:pt idx="825" formatCode="0.0%">
                  <c:v>8.6979332852626781E-2</c:v>
                </c:pt>
                <c:pt idx="826" formatCode="0.0%">
                  <c:v>8.6979332852626781E-2</c:v>
                </c:pt>
                <c:pt idx="827" formatCode="0.0%">
                  <c:v>8.6979332852626781E-2</c:v>
                </c:pt>
                <c:pt idx="828" formatCode="0.0%">
                  <c:v>8.6979332852626781E-2</c:v>
                </c:pt>
                <c:pt idx="829" formatCode="0.0%">
                  <c:v>8.6979332852626781E-2</c:v>
                </c:pt>
                <c:pt idx="830" formatCode="0.0%">
                  <c:v>8.6979332852626781E-2</c:v>
                </c:pt>
                <c:pt idx="831" formatCode="0.0%">
                  <c:v>8.7140359012849167E-2</c:v>
                </c:pt>
                <c:pt idx="832" formatCode="0.0%">
                  <c:v>8.8951923632117916E-2</c:v>
                </c:pt>
                <c:pt idx="833" formatCode="0.0%">
                  <c:v>8.8294391867342059E-2</c:v>
                </c:pt>
                <c:pt idx="834" formatCode="0.0%">
                  <c:v>9.806342362014675E-2</c:v>
                </c:pt>
                <c:pt idx="835" formatCode="0.0%">
                  <c:v>9.806342362014675E-2</c:v>
                </c:pt>
                <c:pt idx="836" formatCode="0.0%">
                  <c:v>9.806342362014675E-2</c:v>
                </c:pt>
                <c:pt idx="837" formatCode="0.0%">
                  <c:v>0.10410197686587822</c:v>
                </c:pt>
                <c:pt idx="838" formatCode="0.0%">
                  <c:v>9.9660285187506192E-2</c:v>
                </c:pt>
                <c:pt idx="839" formatCode="0.0%">
                  <c:v>9.3984047574530216E-2</c:v>
                </c:pt>
                <c:pt idx="840" formatCode="0.0%">
                  <c:v>9.5701681019475016E-2</c:v>
                </c:pt>
                <c:pt idx="841" formatCode="0.0%">
                  <c:v>0.10113637487728071</c:v>
                </c:pt>
                <c:pt idx="842" formatCode="0.0%">
                  <c:v>0.10113637487728071</c:v>
                </c:pt>
                <c:pt idx="843" formatCode="0.0%">
                  <c:v>0.10113637487728071</c:v>
                </c:pt>
                <c:pt idx="844" formatCode="0.0%">
                  <c:v>9.4990472363012793E-2</c:v>
                </c:pt>
                <c:pt idx="845" formatCode="0.0%">
                  <c:v>9.4547648164982553E-2</c:v>
                </c:pt>
                <c:pt idx="846" formatCode="0.0%">
                  <c:v>7.812279019914399E-2</c:v>
                </c:pt>
                <c:pt idx="847" formatCode="0.0%">
                  <c:v>9.5164921132284516E-2</c:v>
                </c:pt>
                <c:pt idx="848" formatCode="0.0%">
                  <c:v>9.9606612810656261E-2</c:v>
                </c:pt>
                <c:pt idx="849" formatCode="0.0%">
                  <c:v>9.9606612810656261E-2</c:v>
                </c:pt>
                <c:pt idx="850" formatCode="0.0%">
                  <c:v>0.10108270250043078</c:v>
                </c:pt>
                <c:pt idx="851" formatCode="0.0%">
                  <c:v>0.10424958493188825</c:v>
                </c:pt>
                <c:pt idx="852" formatCode="0.0%">
                  <c:v>9.7795043676551355E-2</c:v>
                </c:pt>
                <c:pt idx="853" formatCode="0.0%">
                  <c:v>9.4883123094476648E-2</c:v>
                </c:pt>
                <c:pt idx="854" formatCode="0.0%">
                  <c:v>9.3313097715542026E-2</c:v>
                </c:pt>
                <c:pt idx="855" formatCode="0.0%">
                  <c:v>9.3313097715542026E-2</c:v>
                </c:pt>
                <c:pt idx="856" formatCode="0.0%">
                  <c:v>9.3313097715542026E-2</c:v>
                </c:pt>
                <c:pt idx="857" formatCode="0.0%">
                  <c:v>9.3313097715542026E-2</c:v>
                </c:pt>
                <c:pt idx="858" formatCode="0.0%">
                  <c:v>0.10000918272604935</c:v>
                </c:pt>
                <c:pt idx="859" formatCode="0.0%">
                  <c:v>9.9848152050990388E-2</c:v>
                </c:pt>
                <c:pt idx="860" formatCode="0.0%">
                  <c:v>0.10255879219020514</c:v>
                </c:pt>
                <c:pt idx="861" formatCode="0.0%">
                  <c:v>0.10645030137233719</c:v>
                </c:pt>
                <c:pt idx="862" formatCode="0.0%">
                  <c:v>0.11546787018604249</c:v>
                </c:pt>
                <c:pt idx="863" formatCode="0.0%">
                  <c:v>0.11546787018604249</c:v>
                </c:pt>
                <c:pt idx="864" formatCode="0.0%">
                  <c:v>0.11546787018604249</c:v>
                </c:pt>
                <c:pt idx="865" formatCode="0.0%">
                  <c:v>0.11443460469429879</c:v>
                </c:pt>
                <c:pt idx="866" formatCode="0.0%">
                  <c:v>0.1123815008346962</c:v>
                </c:pt>
                <c:pt idx="867" formatCode="0.0%">
                  <c:v>0.12005716993042469</c:v>
                </c:pt>
                <c:pt idx="868" formatCode="0.0%">
                  <c:v>0.12005716993042469</c:v>
                </c:pt>
                <c:pt idx="869" formatCode="0.0%">
                  <c:v>0.12005716993042469</c:v>
                </c:pt>
                <c:pt idx="870" formatCode="0.0%">
                  <c:v>0.12005716993042469</c:v>
                </c:pt>
                <c:pt idx="871" formatCode="0.0%">
                  <c:v>0.12005716993042469</c:v>
                </c:pt>
                <c:pt idx="872" formatCode="0.0%">
                  <c:v>0.14082977937063831</c:v>
                </c:pt>
                <c:pt idx="873" formatCode="0.0%">
                  <c:v>0.13228187997306137</c:v>
                </c:pt>
                <c:pt idx="874" formatCode="0.0%">
                  <c:v>0.11269013506092904</c:v>
                </c:pt>
                <c:pt idx="875" formatCode="0.0%">
                  <c:v>0.12463304706575798</c:v>
                </c:pt>
                <c:pt idx="876" formatCode="0.0%">
                  <c:v>0.14685491452215743</c:v>
                </c:pt>
                <c:pt idx="877" formatCode="0.0%">
                  <c:v>0.14685491452215743</c:v>
                </c:pt>
                <c:pt idx="878" formatCode="0.0%">
                  <c:v>0.14685491452215743</c:v>
                </c:pt>
                <c:pt idx="879" formatCode="0.0%">
                  <c:v>0.14685491452215743</c:v>
                </c:pt>
                <c:pt idx="880" formatCode="0.0%">
                  <c:v>0.14265476659895568</c:v>
                </c:pt>
                <c:pt idx="881" formatCode="0.0%">
                  <c:v>0.13344933092176661</c:v>
                </c:pt>
                <c:pt idx="882" formatCode="0.0%">
                  <c:v>0.13275154487435331</c:v>
                </c:pt>
                <c:pt idx="883" formatCode="0.0%">
                  <c:v>0.14800894737664991</c:v>
                </c:pt>
                <c:pt idx="884" formatCode="0.0%">
                  <c:v>0.14800894737664991</c:v>
                </c:pt>
                <c:pt idx="885" formatCode="0.0%">
                  <c:v>0.14800894737664991</c:v>
                </c:pt>
                <c:pt idx="886" formatCode="0.0%">
                  <c:v>0.14800894737664991</c:v>
                </c:pt>
                <c:pt idx="887" formatCode="0.0%">
                  <c:v>0.15836841590833189</c:v>
                </c:pt>
                <c:pt idx="888" formatCode="0.0%">
                  <c:v>0.14788817549906483</c:v>
                </c:pt>
                <c:pt idx="889" formatCode="0.0%">
                  <c:v>0.14031986018670906</c:v>
                </c:pt>
                <c:pt idx="890" formatCode="0.0%">
                  <c:v>0.15000837885940244</c:v>
                </c:pt>
                <c:pt idx="891" formatCode="0.0%">
                  <c:v>0.15000837885940244</c:v>
                </c:pt>
                <c:pt idx="892" formatCode="0.0%">
                  <c:v>0.15000837885940244</c:v>
                </c:pt>
                <c:pt idx="893" formatCode="0.0%">
                  <c:v>0.15376569806973733</c:v>
                </c:pt>
                <c:pt idx="894" formatCode="0.0%">
                  <c:v>0.16042152428277062</c:v>
                </c:pt>
                <c:pt idx="895" formatCode="0.0%">
                  <c:v>0.15949561257439954</c:v>
                </c:pt>
                <c:pt idx="896" formatCode="0.0%">
                  <c:v>0.15361809000372717</c:v>
                </c:pt>
                <c:pt idx="897" formatCode="0.0%">
                  <c:v>0.16048861926866961</c:v>
                </c:pt>
                <c:pt idx="898" formatCode="0.0%">
                  <c:v>0.16048861926866961</c:v>
                </c:pt>
                <c:pt idx="899" formatCode="0.0%">
                  <c:v>0.16048861926866961</c:v>
                </c:pt>
                <c:pt idx="900" formatCode="0.0%">
                  <c:v>0.15102822174209748</c:v>
                </c:pt>
                <c:pt idx="901" formatCode="0.0%">
                  <c:v>0.14337939334963054</c:v>
                </c:pt>
                <c:pt idx="902" formatCode="0.0%">
                  <c:v>0.13713955514620252</c:v>
                </c:pt>
                <c:pt idx="903" formatCode="0.0%">
                  <c:v>0.13550243929620534</c:v>
                </c:pt>
                <c:pt idx="904" formatCode="0.0%">
                  <c:v>0.13879009360524819</c:v>
                </c:pt>
                <c:pt idx="905" formatCode="0.0%">
                  <c:v>0.13879009360524819</c:v>
                </c:pt>
                <c:pt idx="906" formatCode="0.0%">
                  <c:v>0.13879009360524819</c:v>
                </c:pt>
                <c:pt idx="907" formatCode="0.0%">
                  <c:v>0.13436182453592521</c:v>
                </c:pt>
                <c:pt idx="908" formatCode="0.0%">
                  <c:v>0.12702163036969097</c:v>
                </c:pt>
                <c:pt idx="909" formatCode="0.0%">
                  <c:v>0.13889744738862106</c:v>
                </c:pt>
                <c:pt idx="910" formatCode="0.0%">
                  <c:v>0.13849487295839139</c:v>
                </c:pt>
                <c:pt idx="911" formatCode="0.0%">
                  <c:v>0.15143079165749057</c:v>
                </c:pt>
                <c:pt idx="912" formatCode="0.0%">
                  <c:v>0.15143079165749057</c:v>
                </c:pt>
                <c:pt idx="913" formatCode="0.0%">
                  <c:v>0.15143079165749057</c:v>
                </c:pt>
                <c:pt idx="914" formatCode="0.0%">
                  <c:v>0.15330945126265788</c:v>
                </c:pt>
                <c:pt idx="915" formatCode="0.0%">
                  <c:v>0.1525311521351331</c:v>
                </c:pt>
                <c:pt idx="916" formatCode="0.0%">
                  <c:v>0.14849203037215417</c:v>
                </c:pt>
                <c:pt idx="917" formatCode="0.0%">
                  <c:v>0.13312727408648484</c:v>
                </c:pt>
                <c:pt idx="918" formatCode="0.0%">
                  <c:v>0.12665931473693517</c:v>
                </c:pt>
                <c:pt idx="919" formatCode="0.0%">
                  <c:v>0.12665931473693517</c:v>
                </c:pt>
                <c:pt idx="920" formatCode="0.0%">
                  <c:v>0.12665931473693517</c:v>
                </c:pt>
                <c:pt idx="921" formatCode="0.0%">
                  <c:v>0.1229288362298621</c:v>
                </c:pt>
                <c:pt idx="922" formatCode="0.0%">
                  <c:v>0.12182847575221928</c:v>
                </c:pt>
                <c:pt idx="923" formatCode="0.0%">
                  <c:v>0.1307655314858131</c:v>
                </c:pt>
                <c:pt idx="924" formatCode="0.0%">
                  <c:v>0.13740793508979762</c:v>
                </c:pt>
                <c:pt idx="925" formatCode="0.0%">
                  <c:v>0.14002463953985228</c:v>
                </c:pt>
                <c:pt idx="926" formatCode="0.0%">
                  <c:v>0.14002463953985228</c:v>
                </c:pt>
                <c:pt idx="927" formatCode="0.0%">
                  <c:v>0.14002463953985228</c:v>
                </c:pt>
                <c:pt idx="928" formatCode="0.0%">
                  <c:v>0.13675040332502178</c:v>
                </c:pt>
                <c:pt idx="929" formatCode="0.0%">
                  <c:v>0.13524747744682258</c:v>
                </c:pt>
                <c:pt idx="930" formatCode="0.0%">
                  <c:v>0.14300365962266226</c:v>
                </c:pt>
                <c:pt idx="931" formatCode="0.0%">
                  <c:v>0.13746161198148429</c:v>
                </c:pt>
                <c:pt idx="932" formatCode="0.0%">
                  <c:v>0.13860222674176442</c:v>
                </c:pt>
                <c:pt idx="933" formatCode="0.0%">
                  <c:v>0.13860222674176442</c:v>
                </c:pt>
                <c:pt idx="934" formatCode="0.0%">
                  <c:v>0.13860222674176442</c:v>
                </c:pt>
                <c:pt idx="935" formatCode="0.0%">
                  <c:v>0.1447212930676072</c:v>
                </c:pt>
                <c:pt idx="936" formatCode="0.0%">
                  <c:v>0.15400724182490763</c:v>
                </c:pt>
                <c:pt idx="937" formatCode="0.0%">
                  <c:v>0.14235954595209904</c:v>
                </c:pt>
                <c:pt idx="938" formatCode="0.0%">
                  <c:v>0.15734857302563682</c:v>
                </c:pt>
                <c:pt idx="939" formatCode="0.0%">
                  <c:v>0.14788817549906483</c:v>
                </c:pt>
                <c:pt idx="940" formatCode="0.0%">
                  <c:v>0.14788817549906483</c:v>
                </c:pt>
                <c:pt idx="941" formatCode="0.0%">
                  <c:v>0.14788817549906483</c:v>
                </c:pt>
                <c:pt idx="942" formatCode="0.0%">
                  <c:v>0.1532021019941216</c:v>
                </c:pt>
                <c:pt idx="943" formatCode="0.0%">
                  <c:v>0.15526862846277281</c:v>
                </c:pt>
                <c:pt idx="944" formatCode="0.0%">
                  <c:v>0.14215826099440249</c:v>
                </c:pt>
                <c:pt idx="945" formatCode="0.0%">
                  <c:v>0.13220136237811375</c:v>
                </c:pt>
                <c:pt idx="946" formatCode="0.0%">
                  <c:v>0.13171827938260947</c:v>
                </c:pt>
                <c:pt idx="947" formatCode="0.0%">
                  <c:v>0.13171827938260947</c:v>
                </c:pt>
                <c:pt idx="948" formatCode="0.0%">
                  <c:v>0.13171827938260947</c:v>
                </c:pt>
                <c:pt idx="949" formatCode="0.0%">
                  <c:v>0.13614654845193244</c:v>
                </c:pt>
                <c:pt idx="950" formatCode="0.0%">
                  <c:v>0.14250715853294565</c:v>
                </c:pt>
                <c:pt idx="951" formatCode="0.0%">
                  <c:v>0.14362093258996425</c:v>
                </c:pt>
                <c:pt idx="952" formatCode="0.0%">
                  <c:v>0.14374170446754975</c:v>
                </c:pt>
                <c:pt idx="953" formatCode="0.0%">
                  <c:v>0.13028244849030884</c:v>
                </c:pt>
                <c:pt idx="954" formatCode="0.0%">
                  <c:v>0.13028244849030884</c:v>
                </c:pt>
                <c:pt idx="955" formatCode="0.0%">
                  <c:v>0.13028244849030884</c:v>
                </c:pt>
                <c:pt idx="956" formatCode="0.0%">
                  <c:v>0.13538166741862029</c:v>
                </c:pt>
                <c:pt idx="957" formatCode="0.0%">
                  <c:v>0.12392183840929548</c:v>
                </c:pt>
                <c:pt idx="958" formatCode="0.0%">
                  <c:v>0.12789386518637572</c:v>
                </c:pt>
                <c:pt idx="959" formatCode="0.0%">
                  <c:v>0.12058050720856642</c:v>
                </c:pt>
                <c:pt idx="960" formatCode="0.0%">
                  <c:v>0.11285116573598813</c:v>
                </c:pt>
                <c:pt idx="961" formatCode="0.0%">
                  <c:v>0.11285116573598813</c:v>
                </c:pt>
                <c:pt idx="962" formatCode="0.0%">
                  <c:v>0.11285116573598813</c:v>
                </c:pt>
                <c:pt idx="963" formatCode="0.0%">
                  <c:v>0.11408571167059194</c:v>
                </c:pt>
                <c:pt idx="964" formatCode="0.0%">
                  <c:v>0.12651170667092515</c:v>
                </c:pt>
                <c:pt idx="965" formatCode="0.0%">
                  <c:v>0.13760922004749432</c:v>
                </c:pt>
                <c:pt idx="966" formatCode="0.0%">
                  <c:v>0.13504619248912619</c:v>
                </c:pt>
                <c:pt idx="967" formatCode="0.0%">
                  <c:v>0.13068501840570207</c:v>
                </c:pt>
                <c:pt idx="968" formatCode="0.0%">
                  <c:v>0.13068501840570207</c:v>
                </c:pt>
                <c:pt idx="969" formatCode="0.0%">
                  <c:v>0.13068501840570207</c:v>
                </c:pt>
                <c:pt idx="970" formatCode="0.0%">
                  <c:v>0.14150072922962664</c:v>
                </c:pt>
                <c:pt idx="971" formatCode="0.0%">
                  <c:v>0.14649259888940164</c:v>
                </c:pt>
                <c:pt idx="972" formatCode="0.0%">
                  <c:v>0.14237296856114795</c:v>
                </c:pt>
                <c:pt idx="973" formatCode="0.0%">
                  <c:v>0.14756611866378308</c:v>
                </c:pt>
                <c:pt idx="974" formatCode="0.0%">
                  <c:v>0.15949561257439954</c:v>
                </c:pt>
                <c:pt idx="975" formatCode="0.0%">
                  <c:v>0.15949561257439954</c:v>
                </c:pt>
                <c:pt idx="976" formatCode="0.0%">
                  <c:v>0.15949561257439954</c:v>
                </c:pt>
                <c:pt idx="977" formatCode="0.0%">
                  <c:v>0.16258198192574597</c:v>
                </c:pt>
                <c:pt idx="978" formatCode="0.0%">
                  <c:v>0.16299796993535126</c:v>
                </c:pt>
                <c:pt idx="979" formatCode="0.0%">
                  <c:v>0.16005920865001527</c:v>
                </c:pt>
                <c:pt idx="980" formatCode="0.0%">
                  <c:v>0.15690574431276999</c:v>
                </c:pt>
                <c:pt idx="981" formatCode="0.0%">
                  <c:v>0.15793900528967739</c:v>
                </c:pt>
                <c:pt idx="982" formatCode="0.0%">
                  <c:v>0.15793900528967739</c:v>
                </c:pt>
                <c:pt idx="983" formatCode="0.0%">
                  <c:v>0.15793900528967739</c:v>
                </c:pt>
                <c:pt idx="984" formatCode="0.0%">
                  <c:v>0.158086617870524</c:v>
                </c:pt>
                <c:pt idx="985" formatCode="0.0%">
                  <c:v>0.15983108750389377</c:v>
                </c:pt>
                <c:pt idx="986" formatCode="0.0%">
                  <c:v>0.15306791202232389</c:v>
                </c:pt>
                <c:pt idx="987" formatCode="0.0%">
                  <c:v>0.16290403876102771</c:v>
                </c:pt>
                <c:pt idx="988" formatCode="0.0%">
                  <c:v>0.16305164682703777</c:v>
                </c:pt>
                <c:pt idx="989" formatCode="0.0%">
                  <c:v>0.16305164682703777</c:v>
                </c:pt>
                <c:pt idx="990" formatCode="0.0%">
                  <c:v>0.16305164682703777</c:v>
                </c:pt>
                <c:pt idx="991" formatCode="0.0%">
                  <c:v>0.15157839972350076</c:v>
                </c:pt>
                <c:pt idx="992" formatCode="0.0%">
                  <c:v>0.14395640751945835</c:v>
                </c:pt>
                <c:pt idx="993" formatCode="0.0%">
                  <c:v>0.14480180614771854</c:v>
                </c:pt>
                <c:pt idx="994" formatCode="0.0%">
                  <c:v>0.1251429707645238</c:v>
                </c:pt>
                <c:pt idx="995" formatCode="0.0%">
                  <c:v>0.12398893339519447</c:v>
                </c:pt>
                <c:pt idx="996" formatCode="0.0%">
                  <c:v>0.12398893339519447</c:v>
                </c:pt>
                <c:pt idx="997" formatCode="0.0%">
                  <c:v>0.12398893339519447</c:v>
                </c:pt>
                <c:pt idx="998" formatCode="0.0%">
                  <c:v>0.12173454457789575</c:v>
                </c:pt>
                <c:pt idx="999" formatCode="0.0%">
                  <c:v>0.1130792868821095</c:v>
                </c:pt>
                <c:pt idx="1000" formatCode="0.0%">
                  <c:v>0.11654138996042392</c:v>
                </c:pt>
                <c:pt idx="1001" formatCode="0.0%">
                  <c:v>0.11271697576419043</c:v>
                </c:pt>
                <c:pt idx="1002" formatCode="0.0%">
                  <c:v>0.12086230976121072</c:v>
                </c:pt>
                <c:pt idx="1003" formatCode="0.0%">
                  <c:v>0.11481033842126663</c:v>
                </c:pt>
                <c:pt idx="1004" formatCode="0.0%">
                  <c:v>0.11481033842126663</c:v>
                </c:pt>
                <c:pt idx="1005" formatCode="0.0%">
                  <c:v>0.11941305625986118</c:v>
                </c:pt>
                <c:pt idx="1006" formatCode="0.0%">
                  <c:v>0.11313296377379586</c:v>
                </c:pt>
                <c:pt idx="1007" formatCode="0.0%">
                  <c:v>0.11354895178340144</c:v>
                </c:pt>
                <c:pt idx="1008" formatCode="0.0%">
                  <c:v>0.11459563536935762</c:v>
                </c:pt>
                <c:pt idx="1009" formatCode="0.0%">
                  <c:v>0.10945615764357257</c:v>
                </c:pt>
                <c:pt idx="1010" formatCode="0.0%">
                  <c:v>0.10945615764357257</c:v>
                </c:pt>
                <c:pt idx="1011" formatCode="0.0%">
                  <c:v>0.10945615764357257</c:v>
                </c:pt>
                <c:pt idx="1012" formatCode="0.0%">
                  <c:v>0.11384417243025809</c:v>
                </c:pt>
                <c:pt idx="1013" formatCode="0.0%">
                  <c:v>0.12492826319777819</c:v>
                </c:pt>
                <c:pt idx="1014" formatCode="0.0%">
                  <c:v>0.13379822394547319</c:v>
                </c:pt>
                <c:pt idx="1015" formatCode="0.0%">
                  <c:v>0.15122950669979388</c:v>
                </c:pt>
                <c:pt idx="1016" formatCode="0.0%">
                  <c:v>0.14909588524524381</c:v>
                </c:pt>
                <c:pt idx="1017" formatCode="0.0%">
                  <c:v>0.14909588524524381</c:v>
                </c:pt>
                <c:pt idx="1018" formatCode="0.0%">
                  <c:v>0.14909588524524381</c:v>
                </c:pt>
                <c:pt idx="1019" formatCode="0.0%">
                  <c:v>0.14489573732204206</c:v>
                </c:pt>
                <c:pt idx="1020" formatCode="0.0%">
                  <c:v>0.14285605155665237</c:v>
                </c:pt>
                <c:pt idx="1021" formatCode="0.0%">
                  <c:v>0.13590500921159829</c:v>
                </c:pt>
                <c:pt idx="1022" formatCode="0.0%">
                  <c:v>0.12397551530098212</c:v>
                </c:pt>
                <c:pt idx="1023" formatCode="0.0%">
                  <c:v>0.10807399912812186</c:v>
                </c:pt>
                <c:pt idx="1024" formatCode="0.0%">
                  <c:v>0.10807399912812186</c:v>
                </c:pt>
                <c:pt idx="1025" formatCode="0.0%">
                  <c:v>0.10807399912812186</c:v>
                </c:pt>
                <c:pt idx="1026" formatCode="0.0%">
                  <c:v>9.771453059644003E-2</c:v>
                </c:pt>
                <c:pt idx="1027" formatCode="0.0%">
                  <c:v>0.10673209941014533</c:v>
                </c:pt>
                <c:pt idx="1028" formatCode="0.0%">
                  <c:v>0.10151210860424854</c:v>
                </c:pt>
                <c:pt idx="1029" formatCode="0.0%">
                  <c:v>9.2870273517511495E-2</c:v>
                </c:pt>
                <c:pt idx="1030" formatCode="0.0%">
                  <c:v>8.6590181031446042E-2</c:v>
                </c:pt>
                <c:pt idx="1031" formatCode="0.0%">
                  <c:v>8.6590181031446042E-2</c:v>
                </c:pt>
                <c:pt idx="1032" formatCode="0.0%">
                  <c:v>8.6590181031446042E-2</c:v>
                </c:pt>
                <c:pt idx="1033" formatCode="0.0%">
                  <c:v>9.0387759039254834E-2</c:v>
                </c:pt>
                <c:pt idx="1034" formatCode="0.0%">
                  <c:v>0.1024648565010446</c:v>
                </c:pt>
                <c:pt idx="1035" formatCode="0.0%">
                  <c:v>0.11376365483531031</c:v>
                </c:pt>
                <c:pt idx="1036" formatCode="0.0%">
                  <c:v>0.13233555234991129</c:v>
                </c:pt>
                <c:pt idx="1037" formatCode="0.0%">
                  <c:v>0.12938337297036256</c:v>
                </c:pt>
                <c:pt idx="1038" formatCode="0.0%">
                  <c:v>0.12938337297036256</c:v>
                </c:pt>
                <c:pt idx="1039" formatCode="0.0%">
                  <c:v>0.12938337297036256</c:v>
                </c:pt>
                <c:pt idx="1040" formatCode="0.0%">
                  <c:v>0.13571714234811452</c:v>
                </c:pt>
                <c:pt idx="1041" formatCode="0.0%">
                  <c:v>0.14345990642974171</c:v>
                </c:pt>
                <c:pt idx="1042" formatCode="0.0%">
                  <c:v>0.14621080085159391</c:v>
                </c:pt>
                <c:pt idx="1043" formatCode="0.0%">
                  <c:v>0.14218510169766391</c:v>
                </c:pt>
                <c:pt idx="1044" formatCode="0.0%">
                  <c:v>0.1373945169955853</c:v>
                </c:pt>
                <c:pt idx="1045" formatCode="0.0%">
                  <c:v>0.1373945169955853</c:v>
                </c:pt>
                <c:pt idx="1046" formatCode="0.0%">
                  <c:v>0.1373945169955853</c:v>
                </c:pt>
                <c:pt idx="1047" formatCode="0.0%">
                  <c:v>0.14323178076878379</c:v>
                </c:pt>
                <c:pt idx="1048" formatCode="0.0%">
                  <c:v>0.15326919698002045</c:v>
                </c:pt>
                <c:pt idx="1049" formatCode="0.0%">
                  <c:v>0.15820738974810936</c:v>
                </c:pt>
                <c:pt idx="1050" formatCode="0.0%">
                  <c:v>0.15920039192754259</c:v>
                </c:pt>
                <c:pt idx="1051" formatCode="0.0%">
                  <c:v>0.16180367828338477</c:v>
                </c:pt>
                <c:pt idx="1052" formatCode="0.0%">
                  <c:v>0.16180367828338477</c:v>
                </c:pt>
                <c:pt idx="1053" formatCode="0.0%">
                  <c:v>0.16180367828338477</c:v>
                </c:pt>
                <c:pt idx="1054" formatCode="0.0%">
                  <c:v>0.16034100668782286</c:v>
                </c:pt>
                <c:pt idx="1055" formatCode="0.0%">
                  <c:v>0.16126691839619411</c:v>
                </c:pt>
                <c:pt idx="1056" formatCode="0.0%">
                  <c:v>0.1744712170388884</c:v>
                </c:pt>
                <c:pt idx="1057" formatCode="0.0%">
                  <c:v>0.17516900308630157</c:v>
                </c:pt>
                <c:pt idx="1058" formatCode="0.0%">
                  <c:v>0.16989533538871868</c:v>
                </c:pt>
                <c:pt idx="1059" formatCode="0.0%">
                  <c:v>0.16989533538871868</c:v>
                </c:pt>
                <c:pt idx="1060" formatCode="0.0%">
                  <c:v>0.16989533538871868</c:v>
                </c:pt>
                <c:pt idx="1061" formatCode="0.0%">
                  <c:v>0.16880839752012491</c:v>
                </c:pt>
                <c:pt idx="1062" formatCode="0.0%">
                  <c:v>0.16329319058220818</c:v>
                </c:pt>
                <c:pt idx="1063" formatCode="0.0%">
                  <c:v>0.1678824858117538</c:v>
                </c:pt>
                <c:pt idx="1064" formatCode="0.0%">
                  <c:v>0.17351846914209218</c:v>
                </c:pt>
                <c:pt idx="1065" formatCode="0.0%">
                  <c:v>0.17720869336652798</c:v>
                </c:pt>
                <c:pt idx="1066" formatCode="0.0%">
                  <c:v>0.17720869336652798</c:v>
                </c:pt>
                <c:pt idx="1067" formatCode="0.0%">
                  <c:v>0.17720869336652798</c:v>
                </c:pt>
                <c:pt idx="1068" formatCode="0.0%">
                  <c:v>0.17634987664405585</c:v>
                </c:pt>
                <c:pt idx="1069" formatCode="0.0%">
                  <c:v>0.17645723042742859</c:v>
                </c:pt>
                <c:pt idx="1070" formatCode="0.0%">
                  <c:v>0.18446837445265118</c:v>
                </c:pt>
                <c:pt idx="1071" formatCode="0.0%">
                  <c:v>0.18378400198461378</c:v>
                </c:pt>
                <c:pt idx="1072" formatCode="0.0%">
                  <c:v>0.18767551568158283</c:v>
                </c:pt>
                <c:pt idx="1073" formatCode="0.0%">
                  <c:v>0.18767551568158283</c:v>
                </c:pt>
                <c:pt idx="1074" formatCode="0.0%">
                  <c:v>0.18767551568158283</c:v>
                </c:pt>
                <c:pt idx="1075" formatCode="0.0%">
                  <c:v>0.19642470003685616</c:v>
                </c:pt>
                <c:pt idx="1076" formatCode="0.0%">
                  <c:v>0.19657231261770264</c:v>
                </c:pt>
                <c:pt idx="1077" formatCode="0.0%">
                  <c:v>0.20024911874792609</c:v>
                </c:pt>
                <c:pt idx="1078" formatCode="0.0%">
                  <c:v>0.19022512514573833</c:v>
                </c:pt>
                <c:pt idx="1079" formatCode="0.0%">
                  <c:v>0.20336232428769718</c:v>
                </c:pt>
                <c:pt idx="1080" formatCode="0.0%">
                  <c:v>0.20336232428769718</c:v>
                </c:pt>
                <c:pt idx="1081" formatCode="0.0%">
                  <c:v>0.20336232428769718</c:v>
                </c:pt>
                <c:pt idx="1082" formatCode="0.0%">
                  <c:v>0.2026511201460714</c:v>
                </c:pt>
                <c:pt idx="1083" formatCode="0.0%">
                  <c:v>0.20406011484994721</c:v>
                </c:pt>
                <c:pt idx="1084" formatCode="0.0%">
                  <c:v>0.20984370173145933</c:v>
                </c:pt>
                <c:pt idx="1085" formatCode="0.0%">
                  <c:v>0.20436874907617991</c:v>
                </c:pt>
                <c:pt idx="1086" formatCode="0.0%">
                  <c:v>0.20760273100837282</c:v>
                </c:pt>
                <c:pt idx="1087" formatCode="0.0%">
                  <c:v>0.20760273100837282</c:v>
                </c:pt>
                <c:pt idx="1088" formatCode="0.0%">
                  <c:v>0.20760273100837282</c:v>
                </c:pt>
                <c:pt idx="1089" formatCode="0.0%">
                  <c:v>0.20760273100837282</c:v>
                </c:pt>
                <c:pt idx="1090" formatCode="0.0%">
                  <c:v>0.20760273100837282</c:v>
                </c:pt>
                <c:pt idx="1091" formatCode="0.0%">
                  <c:v>0.20271821513197039</c:v>
                </c:pt>
                <c:pt idx="1092" formatCode="0.0%">
                  <c:v>0.20902514380646095</c:v>
                </c:pt>
                <c:pt idx="1093" formatCode="0.0%">
                  <c:v>0.21134663212449495</c:v>
                </c:pt>
                <c:pt idx="1094" formatCode="0.0%">
                  <c:v>0.21134663212449495</c:v>
                </c:pt>
                <c:pt idx="1095" formatCode="0.0%">
                  <c:v>0.21196390509179694</c:v>
                </c:pt>
                <c:pt idx="1096" formatCode="0.0%">
                  <c:v>0.21196390509179694</c:v>
                </c:pt>
                <c:pt idx="1097" formatCode="0.0%">
                  <c:v>0.20801871901797825</c:v>
                </c:pt>
                <c:pt idx="1098" formatCode="0.0%">
                  <c:v>0.20079929672932934</c:v>
                </c:pt>
                <c:pt idx="1099" formatCode="0.0%">
                  <c:v>0.19794104852410427</c:v>
                </c:pt>
                <c:pt idx="1100" formatCode="0.0%">
                  <c:v>0.19447894544578986</c:v>
                </c:pt>
                <c:pt idx="1101" formatCode="0.0%">
                  <c:v>0.19447894544578986</c:v>
                </c:pt>
                <c:pt idx="1102" formatCode="0.0%">
                  <c:v>0.19447894544578986</c:v>
                </c:pt>
                <c:pt idx="1103" formatCode="0.0%">
                  <c:v>0.19555246522017128</c:v>
                </c:pt>
                <c:pt idx="1104" formatCode="0.0%">
                  <c:v>0.20346967807107005</c:v>
                </c:pt>
                <c:pt idx="1105" formatCode="0.0%">
                  <c:v>0.20714648420129336</c:v>
                </c:pt>
                <c:pt idx="1106" formatCode="0.0%">
                  <c:v>0.21113192907258593</c:v>
                </c:pt>
                <c:pt idx="1107" formatCode="0.0%">
                  <c:v>0.21645926914701888</c:v>
                </c:pt>
                <c:pt idx="1108" formatCode="0.0%">
                  <c:v>0.21645926914701888</c:v>
                </c:pt>
                <c:pt idx="1109" formatCode="0.0%">
                  <c:v>0.21645926914701888</c:v>
                </c:pt>
                <c:pt idx="1110" formatCode="0.0%">
                  <c:v>0.21817690259196382</c:v>
                </c:pt>
                <c:pt idx="1111" formatCode="0.0%">
                  <c:v>0.22071309396190686</c:v>
                </c:pt>
                <c:pt idx="1112" formatCode="0.0%">
                  <c:v>0.2067573323801129</c:v>
                </c:pt>
                <c:pt idx="1113" formatCode="0.0%">
                  <c:v>0.21177603822831315</c:v>
                </c:pt>
                <c:pt idx="1114" formatCode="0.0%">
                  <c:v>0.21636533797269508</c:v>
                </c:pt>
                <c:pt idx="1115" formatCode="0.0%">
                  <c:v>0.21636533797269508</c:v>
                </c:pt>
                <c:pt idx="1116" formatCode="0.0%">
                  <c:v>0.21636533797269508</c:v>
                </c:pt>
                <c:pt idx="1117" formatCode="0.0%">
                  <c:v>0.22936834714285653</c:v>
                </c:pt>
                <c:pt idx="1118" formatCode="0.0%">
                  <c:v>0.22646984465499415</c:v>
                </c:pt>
                <c:pt idx="1119" formatCode="0.0%">
                  <c:v>0.2340173059373474</c:v>
                </c:pt>
                <c:pt idx="1120" formatCode="0.0%">
                  <c:v>0.24046562574792518</c:v>
                </c:pt>
                <c:pt idx="1121" formatCode="0.0%">
                  <c:v>0.2402897593199782</c:v>
                </c:pt>
                <c:pt idx="1122" formatCode="0.0%">
                  <c:v>0.2402897593199782</c:v>
                </c:pt>
                <c:pt idx="1123" formatCode="0.0%">
                  <c:v>0.2402897593199782</c:v>
                </c:pt>
                <c:pt idx="1124" formatCode="0.0%">
                  <c:v>0.25460795392027791</c:v>
                </c:pt>
                <c:pt idx="1125" formatCode="0.0%">
                  <c:v>0.25676228041522448</c:v>
                </c:pt>
                <c:pt idx="1126" formatCode="0.0%">
                  <c:v>0.24446651136020223</c:v>
                </c:pt>
                <c:pt idx="1127" formatCode="0.0%">
                  <c:v>0.25567778958803844</c:v>
                </c:pt>
                <c:pt idx="1128" formatCode="0.0%">
                  <c:v>0.26175972589813329</c:v>
                </c:pt>
                <c:pt idx="1129" formatCode="0.0%">
                  <c:v>0.26175972589813329</c:v>
                </c:pt>
                <c:pt idx="1130" formatCode="0.0%">
                  <c:v>0.26175972589813329</c:v>
                </c:pt>
                <c:pt idx="1131" formatCode="0.0%">
                  <c:v>0.27096322922528104</c:v>
                </c:pt>
                <c:pt idx="1132" formatCode="0.0%">
                  <c:v>0.26967356616613286</c:v>
                </c:pt>
                <c:pt idx="1133" formatCode="0.0%">
                  <c:v>0.27877448789213616</c:v>
                </c:pt>
                <c:pt idx="1134" formatCode="0.0%">
                  <c:v>0.27697188973824666</c:v>
                </c:pt>
                <c:pt idx="1135" formatCode="0.0%">
                  <c:v>0.27899431528352392</c:v>
                </c:pt>
                <c:pt idx="1136" formatCode="0.0%">
                  <c:v>0.27899431528352392</c:v>
                </c:pt>
                <c:pt idx="1137" formatCode="0.0%">
                  <c:v>0.27899431528352392</c:v>
                </c:pt>
                <c:pt idx="1138" formatCode="0.0%">
                  <c:v>0.28342020503398774</c:v>
                </c:pt>
                <c:pt idx="1139" formatCode="0.0%">
                  <c:v>0.27700120005709833</c:v>
                </c:pt>
                <c:pt idx="1140" formatCode="0.0%">
                  <c:v>0.27722102744848615</c:v>
                </c:pt>
                <c:pt idx="1141" formatCode="0.0%">
                  <c:v>0.27896500496467241</c:v>
                </c:pt>
                <c:pt idx="1142" formatCode="0.0%">
                  <c:v>0.27975638808850506</c:v>
                </c:pt>
                <c:pt idx="1143" formatCode="0.0%">
                  <c:v>0.27975638808850506</c:v>
                </c:pt>
                <c:pt idx="1144" formatCode="0.0%">
                  <c:v>0.27975638808850506</c:v>
                </c:pt>
                <c:pt idx="1145" formatCode="0.0%">
                  <c:v>0.2801960473861172</c:v>
                </c:pt>
                <c:pt idx="1146" formatCode="0.0%">
                  <c:v>0.26929253202106068</c:v>
                </c:pt>
                <c:pt idx="1147" formatCode="0.0%">
                  <c:v>0.26715286068553978</c:v>
                </c:pt>
                <c:pt idx="1148" formatCode="0.0%">
                  <c:v>0.28768488803076708</c:v>
                </c:pt>
                <c:pt idx="1149" formatCode="0.0%">
                  <c:v>0.29263836803539817</c:v>
                </c:pt>
                <c:pt idx="1150" formatCode="0.0%">
                  <c:v>0.29263836803539817</c:v>
                </c:pt>
                <c:pt idx="1151" formatCode="0.0%">
                  <c:v>0.29263836803539817</c:v>
                </c:pt>
                <c:pt idx="1152" formatCode="0.0%">
                  <c:v>0.28695212554463778</c:v>
                </c:pt>
                <c:pt idx="1153" formatCode="0.0%">
                  <c:v>0.28273140802613594</c:v>
                </c:pt>
                <c:pt idx="1154" formatCode="0.0%">
                  <c:v>0.28152967592354289</c:v>
                </c:pt>
                <c:pt idx="1155" formatCode="0.0%">
                  <c:v>0.28619005273965681</c:v>
                </c:pt>
                <c:pt idx="1156" formatCode="0.0%">
                  <c:v>0.29319526860841705</c:v>
                </c:pt>
                <c:pt idx="1157" formatCode="0.0%">
                  <c:v>0.29319526860841705</c:v>
                </c:pt>
                <c:pt idx="1158" formatCode="0.0%">
                  <c:v>0.29319526860841705</c:v>
                </c:pt>
                <c:pt idx="1159" formatCode="0.0%">
                  <c:v>0.29789960638797169</c:v>
                </c:pt>
                <c:pt idx="1160" formatCode="0.0%">
                  <c:v>0.28825644376321208</c:v>
                </c:pt>
                <c:pt idx="1161" formatCode="0.0%">
                  <c:v>0.29033748994619285</c:v>
                </c:pt>
                <c:pt idx="1162" formatCode="0.0%">
                  <c:v>0.3073522564550325</c:v>
                </c:pt>
                <c:pt idx="1163" formatCode="0.0%">
                  <c:v>0.3120859045534391</c:v>
                </c:pt>
                <c:pt idx="1164" formatCode="0.0%">
                  <c:v>0.3120859045534391</c:v>
                </c:pt>
                <c:pt idx="1165" formatCode="0.0%">
                  <c:v>0.3120859045534391</c:v>
                </c:pt>
                <c:pt idx="1166" formatCode="0.0%">
                  <c:v>0.29432372491388092</c:v>
                </c:pt>
                <c:pt idx="1167" formatCode="0.0%">
                  <c:v>0.31270142576416132</c:v>
                </c:pt>
                <c:pt idx="1168" formatCode="0.0%">
                  <c:v>0.31210055971286466</c:v>
                </c:pt>
                <c:pt idx="1169" formatCode="0.0%">
                  <c:v>0.31802128926927509</c:v>
                </c:pt>
                <c:pt idx="1170" formatCode="0.0%">
                  <c:v>0.30264791416064102</c:v>
                </c:pt>
                <c:pt idx="1171" formatCode="0.0%">
                  <c:v>0.30264791416064102</c:v>
                </c:pt>
                <c:pt idx="1172" formatCode="0.0%">
                  <c:v>0.30264791416064102</c:v>
                </c:pt>
                <c:pt idx="1173" formatCode="0.0%">
                  <c:v>0.30634104142497537</c:v>
                </c:pt>
                <c:pt idx="1174" formatCode="0.0%">
                  <c:v>0.30280912091432527</c:v>
                </c:pt>
                <c:pt idx="1175" formatCode="0.0%">
                  <c:v>0.30609190371473571</c:v>
                </c:pt>
                <c:pt idx="1176" formatCode="0.0%">
                  <c:v>0.32062992570642335</c:v>
                </c:pt>
                <c:pt idx="1177" formatCode="0.0%">
                  <c:v>0.31800663410984925</c:v>
                </c:pt>
                <c:pt idx="1178" formatCode="0.0%">
                  <c:v>0.31800663410984925</c:v>
                </c:pt>
                <c:pt idx="1179" formatCode="0.0%">
                  <c:v>0.31800663410984925</c:v>
                </c:pt>
                <c:pt idx="1180" formatCode="0.0%">
                  <c:v>0.30771863544067857</c:v>
                </c:pt>
                <c:pt idx="1181" formatCode="0.0%">
                  <c:v>0.3083048463325494</c:v>
                </c:pt>
                <c:pt idx="1182" formatCode="0.0%">
                  <c:v>0.30467033970591845</c:v>
                </c:pt>
                <c:pt idx="1183" formatCode="0.0%">
                  <c:v>0.30467033970591845</c:v>
                </c:pt>
                <c:pt idx="1184" formatCode="0.0%">
                  <c:v>0.30467033970591845</c:v>
                </c:pt>
                <c:pt idx="1185" formatCode="0.0%">
                  <c:v>0.30467033970591845</c:v>
                </c:pt>
                <c:pt idx="1186" formatCode="0.0%">
                  <c:v>0.30924278556547674</c:v>
                </c:pt>
                <c:pt idx="1187" formatCode="0.0%">
                  <c:v>0.30924278556547674</c:v>
                </c:pt>
                <c:pt idx="1188" formatCode="0.0%">
                  <c:v>0.3078798421943631</c:v>
                </c:pt>
                <c:pt idx="1189" formatCode="0.0%">
                  <c:v>0.30338067664677026</c:v>
                </c:pt>
                <c:pt idx="1190" formatCode="0.0%">
                  <c:v>0.30862726435475479</c:v>
                </c:pt>
                <c:pt idx="1191" formatCode="0.0%">
                  <c:v>0.29743064128634444</c:v>
                </c:pt>
                <c:pt idx="1192" formatCode="0.0%">
                  <c:v>0.29743064128634444</c:v>
                </c:pt>
                <c:pt idx="1193" formatCode="0.0%">
                  <c:v>0.29743064128634444</c:v>
                </c:pt>
                <c:pt idx="1194" formatCode="0.0%">
                  <c:v>0.30490482677156849</c:v>
                </c:pt>
                <c:pt idx="1195" formatCode="0.0%">
                  <c:v>0.29803150733764111</c:v>
                </c:pt>
                <c:pt idx="1196" formatCode="0.0%">
                  <c:v>0.30918416492777367</c:v>
                </c:pt>
                <c:pt idx="1197" formatCode="0.0%">
                  <c:v>0.30316084925538206</c:v>
                </c:pt>
                <c:pt idx="1198" formatCode="0.0%">
                  <c:v>0.31179280136492193</c:v>
                </c:pt>
                <c:pt idx="1199" formatCode="0.0%">
                  <c:v>0.31179280136492193</c:v>
                </c:pt>
                <c:pt idx="1200" formatCode="0.0%">
                  <c:v>0.31179280136492193</c:v>
                </c:pt>
                <c:pt idx="1201" formatCode="0.0%">
                  <c:v>0.31091348276969738</c:v>
                </c:pt>
                <c:pt idx="1202" formatCode="0.0%">
                  <c:v>0.28916506816245147</c:v>
                </c:pt>
                <c:pt idx="1203" formatCode="0.0%">
                  <c:v>0.28963403777891528</c:v>
                </c:pt>
                <c:pt idx="1204" formatCode="0.0%">
                  <c:v>0.28399176076643273</c:v>
                </c:pt>
                <c:pt idx="1205" formatCode="0.0%">
                  <c:v>0.27074340183389323</c:v>
                </c:pt>
                <c:pt idx="1206" formatCode="0.0%">
                  <c:v>0.27074340183389323</c:v>
                </c:pt>
                <c:pt idx="1207" formatCode="0.0%">
                  <c:v>0.27074340183389323</c:v>
                </c:pt>
                <c:pt idx="1208" formatCode="0.0%">
                  <c:v>0.27291237897342913</c:v>
                </c:pt>
                <c:pt idx="1209" formatCode="0.0%">
                  <c:v>0.28607281146424979</c:v>
                </c:pt>
                <c:pt idx="1210" formatCode="0.0%">
                  <c:v>0.29480734517493373</c:v>
                </c:pt>
                <c:pt idx="1211" formatCode="0.0%">
                  <c:v>0.27572619215737587</c:v>
                </c:pt>
                <c:pt idx="1212" formatCode="0.0%">
                  <c:v>0.30261860384178901</c:v>
                </c:pt>
                <c:pt idx="1213" formatCode="0.0%">
                  <c:v>0.30261860384178901</c:v>
                </c:pt>
                <c:pt idx="1214" formatCode="0.0%">
                  <c:v>0.30261860384178901</c:v>
                </c:pt>
                <c:pt idx="1215" formatCode="0.0%">
                  <c:v>0.30311688377710483</c:v>
                </c:pt>
                <c:pt idx="1216" formatCode="0.0%">
                  <c:v>0.29405992752937893</c:v>
                </c:pt>
                <c:pt idx="1217" formatCode="0.0%">
                  <c:v>0.29514441835656496</c:v>
                </c:pt>
                <c:pt idx="1218" formatCode="0.0%">
                  <c:v>0.29417716880478595</c:v>
                </c:pt>
                <c:pt idx="1219" formatCode="0.0%">
                  <c:v>0.29905737301228752</c:v>
                </c:pt>
                <c:pt idx="1220" formatCode="0.0%">
                  <c:v>0.29905737301228752</c:v>
                </c:pt>
                <c:pt idx="1221" formatCode="0.0%">
                  <c:v>0.29905737301228752</c:v>
                </c:pt>
                <c:pt idx="1222" formatCode="0.0%">
                  <c:v>0.30642897238153038</c:v>
                </c:pt>
                <c:pt idx="1223" formatCode="0.0%">
                  <c:v>0.31756697481223684</c:v>
                </c:pt>
                <c:pt idx="1224" formatCode="0.0%">
                  <c:v>0.31958940035751454</c:v>
                </c:pt>
                <c:pt idx="1225" formatCode="0.0%">
                  <c:v>0.31958940035751454</c:v>
                </c:pt>
                <c:pt idx="1226" formatCode="0.0%">
                  <c:v>0.31958940035751454</c:v>
                </c:pt>
                <c:pt idx="1227" formatCode="0.0%">
                  <c:v>0.31958940035751454</c:v>
                </c:pt>
                <c:pt idx="1228" formatCode="0.0%">
                  <c:v>0.31958940035751454</c:v>
                </c:pt>
                <c:pt idx="1229" formatCode="0.0%">
                  <c:v>0.32577392278359041</c:v>
                </c:pt>
                <c:pt idx="1230" formatCode="0.0%">
                  <c:v>0.32202217488155271</c:v>
                </c:pt>
                <c:pt idx="1231" formatCode="0.0%">
                  <c:v>0.33157740654975754</c:v>
                </c:pt>
                <c:pt idx="1232" formatCode="0.0%">
                  <c:v>0.33543174508261275</c:v>
                </c:pt>
                <c:pt idx="1233" formatCode="0.0%">
                  <c:v>0.33188516941253682</c:v>
                </c:pt>
                <c:pt idx="1234" formatCode="0.0%">
                  <c:v>0.33188516941253682</c:v>
                </c:pt>
                <c:pt idx="1235" formatCode="0.0%">
                  <c:v>0.33188516941253682</c:v>
                </c:pt>
                <c:pt idx="1236" formatCode="0.0%">
                  <c:v>0.33188516941253682</c:v>
                </c:pt>
                <c:pt idx="1237" formatCode="0.0%">
                  <c:v>0.33137223431779544</c:v>
                </c:pt>
                <c:pt idx="1238" formatCode="0.0%">
                  <c:v>0.33245672514498181</c:v>
                </c:pt>
                <c:pt idx="1239" formatCode="0.0%">
                  <c:v>0.33727830419994348</c:v>
                </c:pt>
                <c:pt idx="1240" formatCode="0.0%">
                  <c:v>0.33017050221520239</c:v>
                </c:pt>
                <c:pt idx="1241" formatCode="0.0%">
                  <c:v>0.33017050221520239</c:v>
                </c:pt>
                <c:pt idx="1242" formatCode="0.0%">
                  <c:v>0.33017050221520239</c:v>
                </c:pt>
                <c:pt idx="1243" formatCode="0.0%">
                  <c:v>0.33128430336124043</c:v>
                </c:pt>
                <c:pt idx="1244" formatCode="0.0%">
                  <c:v>0.32479201807238522</c:v>
                </c:pt>
                <c:pt idx="1245" formatCode="0.0%">
                  <c:v>0.32010233545225586</c:v>
                </c:pt>
                <c:pt idx="1246" formatCode="0.0%">
                  <c:v>0.31277470156129084</c:v>
                </c:pt>
                <c:pt idx="1247" formatCode="0.0%">
                  <c:v>0.31737645773970113</c:v>
                </c:pt>
                <c:pt idx="1248" formatCode="0.0%">
                  <c:v>0.31737645773970113</c:v>
                </c:pt>
                <c:pt idx="1249" formatCode="0.0%">
                  <c:v>0.31737645773970113</c:v>
                </c:pt>
                <c:pt idx="1250" formatCode="0.0%">
                  <c:v>0.3220075197221266</c:v>
                </c:pt>
                <c:pt idx="1251" formatCode="0.0%">
                  <c:v>0.31576437665834761</c:v>
                </c:pt>
                <c:pt idx="1252" formatCode="0.0%">
                  <c:v>0.31576437665834761</c:v>
                </c:pt>
                <c:pt idx="1253" formatCode="0.0%">
                  <c:v>0.34448869681550209</c:v>
                </c:pt>
                <c:pt idx="1254" formatCode="0.0%">
                  <c:v>0.35402927332428108</c:v>
                </c:pt>
                <c:pt idx="1255" formatCode="0.0%">
                  <c:v>0.35402927332428108</c:v>
                </c:pt>
                <c:pt idx="1256" formatCode="0.0%">
                  <c:v>0.35402927332428108</c:v>
                </c:pt>
                <c:pt idx="1257" formatCode="0.0%">
                  <c:v>0.35611032402209841</c:v>
                </c:pt>
                <c:pt idx="1258" formatCode="0.0%">
                  <c:v>0.35376548045461559</c:v>
                </c:pt>
                <c:pt idx="1259" formatCode="0.0%">
                  <c:v>0.36129828657754304</c:v>
                </c:pt>
                <c:pt idx="1260" formatCode="0.0%">
                  <c:v>0.35413185944026199</c:v>
                </c:pt>
                <c:pt idx="1261" formatCode="0.0%">
                  <c:v>0.36094655823648625</c:v>
                </c:pt>
                <c:pt idx="1262" formatCode="0.0%">
                  <c:v>0.36094655823648625</c:v>
                </c:pt>
                <c:pt idx="1263" formatCode="0.0%">
                  <c:v>0.36094655823648625</c:v>
                </c:pt>
                <c:pt idx="1264" formatCode="0.0%">
                  <c:v>0.35460082905672607</c:v>
                </c:pt>
                <c:pt idx="1265" formatCode="0.0%">
                  <c:v>0.3598034512864331</c:v>
                </c:pt>
                <c:pt idx="1266" formatCode="0.0%">
                  <c:v>0.36266122543382068</c:v>
                </c:pt>
                <c:pt idx="1267" formatCode="0.0%">
                  <c:v>0.3693440277952118</c:v>
                </c:pt>
                <c:pt idx="1268" formatCode="0.0%">
                  <c:v>0.37123455690565665</c:v>
                </c:pt>
                <c:pt idx="1269" formatCode="0.0%">
                  <c:v>0.37123455690565665</c:v>
                </c:pt>
                <c:pt idx="1270" formatCode="0.0%">
                  <c:v>0.37123455690565665</c:v>
                </c:pt>
                <c:pt idx="1271" formatCode="0.0%">
                  <c:v>0.37450268003180498</c:v>
                </c:pt>
                <c:pt idx="1272" formatCode="0.0%">
                  <c:v>0.37715528194723047</c:v>
                </c:pt>
                <c:pt idx="1273" formatCode="0.0%">
                  <c:v>0.37390181398050826</c:v>
                </c:pt>
                <c:pt idx="1274" formatCode="0.0%">
                  <c:v>0.37749235512886176</c:v>
                </c:pt>
                <c:pt idx="1275" formatCode="0.0%">
                  <c:v>0.38248980061177063</c:v>
                </c:pt>
                <c:pt idx="1276" formatCode="0.0%">
                  <c:v>0.38248980061177063</c:v>
                </c:pt>
                <c:pt idx="1277" formatCode="0.0%">
                  <c:v>0.36869919626563785</c:v>
                </c:pt>
                <c:pt idx="1278" formatCode="0.0%">
                  <c:v>0.36611987014734126</c:v>
                </c:pt>
                <c:pt idx="1279" formatCode="0.0%">
                  <c:v>0.36833281276515495</c:v>
                </c:pt>
                <c:pt idx="1280" formatCode="0.0%">
                  <c:v>0.37500095996712046</c:v>
                </c:pt>
                <c:pt idx="1281" formatCode="0.0%">
                  <c:v>0.37554320538071351</c:v>
                </c:pt>
                <c:pt idx="1282" formatCode="0.0%">
                  <c:v>0.37133714302163784</c:v>
                </c:pt>
                <c:pt idx="1283" formatCode="0.0%">
                  <c:v>0.37133714302163784</c:v>
                </c:pt>
                <c:pt idx="1284" formatCode="0.0%">
                  <c:v>0.37133714302163784</c:v>
                </c:pt>
                <c:pt idx="1285" formatCode="0.0%">
                  <c:v>0.3767889029615844</c:v>
                </c:pt>
                <c:pt idx="1286" formatCode="0.0%">
                  <c:v>0.37426819748099122</c:v>
                </c:pt>
                <c:pt idx="1287" formatCode="0.0%">
                  <c:v>0.37579234309095311</c:v>
                </c:pt>
                <c:pt idx="1288" formatCode="0.0%">
                  <c:v>0.38122944787147389</c:v>
                </c:pt>
                <c:pt idx="1289" formatCode="0.0%">
                  <c:v>0.38580188921619596</c:v>
                </c:pt>
                <c:pt idx="1290" formatCode="0.0%">
                  <c:v>0.38580188921619596</c:v>
                </c:pt>
                <c:pt idx="1291" formatCode="0.0%">
                  <c:v>0.38580188921619596</c:v>
                </c:pt>
                <c:pt idx="1292" formatCode="0.0%">
                  <c:v>0.38011564672543585</c:v>
                </c:pt>
                <c:pt idx="1293" formatCode="0.0%">
                  <c:v>0.37976391838437851</c:v>
                </c:pt>
                <c:pt idx="1294" formatCode="0.0%">
                  <c:v>0.35864568466211721</c:v>
                </c:pt>
                <c:pt idx="1295" formatCode="0.0%">
                  <c:v>0.34835768599294681</c:v>
                </c:pt>
                <c:pt idx="1296" formatCode="0.0%">
                  <c:v>0.33837745018655541</c:v>
                </c:pt>
                <c:pt idx="1297" formatCode="0.0%">
                  <c:v>0.33837745018655541</c:v>
                </c:pt>
                <c:pt idx="1298" formatCode="0.0%">
                  <c:v>0.33837745018655541</c:v>
                </c:pt>
                <c:pt idx="1299" formatCode="0.0%">
                  <c:v>0.34336024051003816</c:v>
                </c:pt>
                <c:pt idx="1300" formatCode="0.0%">
                  <c:v>0.35115684401746761</c:v>
                </c:pt>
                <c:pt idx="1301" formatCode="0.0%">
                  <c:v>0.33115240692640779</c:v>
                </c:pt>
                <c:pt idx="1302" formatCode="0.0%">
                  <c:v>0.31308246442407012</c:v>
                </c:pt>
                <c:pt idx="1303" formatCode="0.0%">
                  <c:v>0.32446960456501617</c:v>
                </c:pt>
                <c:pt idx="1304" formatCode="0.0%">
                  <c:v>0.32446960456501617</c:v>
                </c:pt>
                <c:pt idx="1305" formatCode="0.0%">
                  <c:v>0.32446960456501617</c:v>
                </c:pt>
                <c:pt idx="1306" formatCode="0.0%">
                  <c:v>0.32980412322955599</c:v>
                </c:pt>
                <c:pt idx="1307" formatCode="0.0%">
                  <c:v>0.3347722538787764</c:v>
                </c:pt>
                <c:pt idx="1308" formatCode="0.0%">
                  <c:v>0.34891458656596569</c:v>
                </c:pt>
                <c:pt idx="1309" formatCode="0.0%">
                  <c:v>0.34574904955579855</c:v>
                </c:pt>
                <c:pt idx="1310" formatCode="0.0%">
                  <c:v>0.28929696911212061</c:v>
                </c:pt>
                <c:pt idx="1311" formatCode="0.0%">
                  <c:v>0.28929696911212061</c:v>
                </c:pt>
                <c:pt idx="1312" formatCode="0.0%">
                  <c:v>0.28929696911212061</c:v>
                </c:pt>
                <c:pt idx="1313" formatCode="0.0%">
                  <c:v>0.25602951341425878</c:v>
                </c:pt>
                <c:pt idx="1314" formatCode="0.0%">
                  <c:v>0.28796334057469464</c:v>
                </c:pt>
                <c:pt idx="1315" formatCode="0.0%">
                  <c:v>0.29611166790834459</c:v>
                </c:pt>
                <c:pt idx="1316" formatCode="0.0%">
                  <c:v>0.30258929352293734</c:v>
                </c:pt>
                <c:pt idx="1317" formatCode="0.0%">
                  <c:v>0.30755742868699426</c:v>
                </c:pt>
                <c:pt idx="1318" formatCode="0.0%">
                  <c:v>0.30755742868699426</c:v>
                </c:pt>
                <c:pt idx="1319" formatCode="0.0%">
                  <c:v>0.30755742868699426</c:v>
                </c:pt>
                <c:pt idx="1320" formatCode="0.0%">
                  <c:v>0.3103565821966785</c:v>
                </c:pt>
                <c:pt idx="1321" formatCode="0.0%">
                  <c:v>0.31180745652434749</c:v>
                </c:pt>
                <c:pt idx="1322" formatCode="0.0%">
                  <c:v>0.30884709174614244</c:v>
                </c:pt>
                <c:pt idx="1323" formatCode="0.0%">
                  <c:v>0.32984808870783355</c:v>
                </c:pt>
                <c:pt idx="1324" formatCode="0.0%">
                  <c:v>0.33657485203266591</c:v>
                </c:pt>
                <c:pt idx="1325" formatCode="0.0%">
                  <c:v>0.33657485203266591</c:v>
                </c:pt>
                <c:pt idx="1326" formatCode="0.0%">
                  <c:v>0.33657485203266591</c:v>
                </c:pt>
                <c:pt idx="1327" formatCode="0.0%">
                  <c:v>0.33396621559551787</c:v>
                </c:pt>
                <c:pt idx="1328" formatCode="0.0%">
                  <c:v>0.33527053381409189</c:v>
                </c:pt>
                <c:pt idx="1329" formatCode="0.0%">
                  <c:v>0.34146971139959365</c:v>
                </c:pt>
                <c:pt idx="1330" formatCode="0.0%">
                  <c:v>0.34204126713203836</c:v>
                </c:pt>
                <c:pt idx="1331" formatCode="0.0%">
                  <c:v>0.33727830419994348</c:v>
                </c:pt>
                <c:pt idx="1332" formatCode="0.0%">
                  <c:v>0.33727830419994348</c:v>
                </c:pt>
                <c:pt idx="1333" formatCode="0.0%">
                  <c:v>0.33727830419994348</c:v>
                </c:pt>
                <c:pt idx="1334" formatCode="0.0%">
                  <c:v>0.33617916272816784</c:v>
                </c:pt>
                <c:pt idx="1335" formatCode="0.0%">
                  <c:v>0.33692658037372325</c:v>
                </c:pt>
                <c:pt idx="1336" formatCode="0.0%">
                  <c:v>0.34491370095368834</c:v>
                </c:pt>
                <c:pt idx="1337" formatCode="0.0%">
                  <c:v>0.35674050039224681</c:v>
                </c:pt>
                <c:pt idx="1338" formatCode="0.0%">
                  <c:v>0.35986207192413644</c:v>
                </c:pt>
                <c:pt idx="1339" formatCode="0.0%">
                  <c:v>0.36409744008722728</c:v>
                </c:pt>
                <c:pt idx="1340" formatCode="0.0%">
                  <c:v>0.36409744008722728</c:v>
                </c:pt>
                <c:pt idx="1341" formatCode="0.0%">
                  <c:v>0.36099052371476348</c:v>
                </c:pt>
                <c:pt idx="1342" formatCode="0.0%">
                  <c:v>0.35313530408446725</c:v>
                </c:pt>
                <c:pt idx="1343" formatCode="0.0%">
                  <c:v>0.33623778336587151</c:v>
                </c:pt>
                <c:pt idx="1344" formatCode="0.0%">
                  <c:v>0.33043429959970411</c:v>
                </c:pt>
                <c:pt idx="1345" formatCode="0.0%">
                  <c:v>0.31652644946332825</c:v>
                </c:pt>
                <c:pt idx="1346" formatCode="0.0%">
                  <c:v>0.31652644946332825</c:v>
                </c:pt>
                <c:pt idx="1347" formatCode="0.0%">
                  <c:v>0.31652644946332825</c:v>
                </c:pt>
                <c:pt idx="1348" formatCode="0.0%">
                  <c:v>0.32611099596522164</c:v>
                </c:pt>
                <c:pt idx="1349" formatCode="0.0%">
                  <c:v>0.32879290819949886</c:v>
                </c:pt>
                <c:pt idx="1350" formatCode="0.0%">
                  <c:v>0.32272562704883001</c:v>
                </c:pt>
                <c:pt idx="1351" formatCode="0.0%">
                  <c:v>0.3486801040151522</c:v>
                </c:pt>
                <c:pt idx="1352" formatCode="0.0%">
                  <c:v>0.35228529580809492</c:v>
                </c:pt>
                <c:pt idx="1353" formatCode="0.0%">
                  <c:v>0.35228529580809492</c:v>
                </c:pt>
                <c:pt idx="1354" formatCode="0.0%">
                  <c:v>0.35228529580809492</c:v>
                </c:pt>
                <c:pt idx="1355" formatCode="0.0%">
                  <c:v>0.34513352834507627</c:v>
                </c:pt>
                <c:pt idx="1356" formatCode="0.0%">
                  <c:v>0.3525930586708742</c:v>
                </c:pt>
                <c:pt idx="1357" formatCode="0.0%">
                  <c:v>0.34443007617779869</c:v>
                </c:pt>
                <c:pt idx="1358" formatCode="0.0%">
                  <c:v>0.36181122167228463</c:v>
                </c:pt>
                <c:pt idx="1359" formatCode="0.0%">
                  <c:v>0.3522266751703913</c:v>
                </c:pt>
                <c:pt idx="1360" formatCode="0.0%">
                  <c:v>0.3522266751703913</c:v>
                </c:pt>
                <c:pt idx="1361" formatCode="0.0%">
                  <c:v>0.3522266751703913</c:v>
                </c:pt>
                <c:pt idx="1362" formatCode="0.0%">
                  <c:v>0.35779567638574489</c:v>
                </c:pt>
                <c:pt idx="1363" formatCode="0.0%">
                  <c:v>0.35603704822496923</c:v>
                </c:pt>
                <c:pt idx="1364" formatCode="0.0%">
                  <c:v>0.35849912855302224</c:v>
                </c:pt>
                <c:pt idx="1365" formatCode="0.0%">
                  <c:v>0.37538199411219236</c:v>
                </c:pt>
                <c:pt idx="1366" formatCode="0.0%">
                  <c:v>0.37769752736082379</c:v>
                </c:pt>
                <c:pt idx="1367" formatCode="0.0%">
                  <c:v>0.37769752736082379</c:v>
                </c:pt>
                <c:pt idx="1368" formatCode="0.0%">
                  <c:v>0.37769752736082379</c:v>
                </c:pt>
                <c:pt idx="1369" formatCode="0.0%">
                  <c:v>0.36575348664685864</c:v>
                </c:pt>
                <c:pt idx="1370" formatCode="0.0%">
                  <c:v>0.36869919626563785</c:v>
                </c:pt>
                <c:pt idx="1371" formatCode="0.0%">
                  <c:v>0.37211387098604459</c:v>
                </c:pt>
                <c:pt idx="1372" formatCode="0.0%">
                  <c:v>0.36554831441489655</c:v>
                </c:pt>
                <c:pt idx="1373" formatCode="0.0%">
                  <c:v>0.36975437225913593</c:v>
                </c:pt>
                <c:pt idx="1374" formatCode="0.0%">
                  <c:v>0.36975437225913593</c:v>
                </c:pt>
                <c:pt idx="1375" formatCode="0.0%">
                  <c:v>0.36975437225913593</c:v>
                </c:pt>
                <c:pt idx="1376" formatCode="0.0%">
                  <c:v>0.36865523078736034</c:v>
                </c:pt>
                <c:pt idx="1377" formatCode="0.0%">
                  <c:v>0.36302760893430358</c:v>
                </c:pt>
                <c:pt idx="1378" formatCode="0.0%">
                  <c:v>0.36827419212745155</c:v>
                </c:pt>
                <c:pt idx="1379" formatCode="0.0%">
                  <c:v>0.37497164964826879</c:v>
                </c:pt>
                <c:pt idx="1380" formatCode="0.0%">
                  <c:v>0.38196221035760286</c:v>
                </c:pt>
                <c:pt idx="1381" formatCode="0.0%">
                  <c:v>0.38196221035760286</c:v>
                </c:pt>
                <c:pt idx="1382" formatCode="0.0%">
                  <c:v>0.38196221035760286</c:v>
                </c:pt>
                <c:pt idx="1383" formatCode="0.0%">
                  <c:v>0.39266055349069773</c:v>
                </c:pt>
                <c:pt idx="1384" formatCode="0.0%">
                  <c:v>0.38737000481927197</c:v>
                </c:pt>
                <c:pt idx="1385" formatCode="0.0%">
                  <c:v>0.37423888716213954</c:v>
                </c:pt>
                <c:pt idx="1386" formatCode="0.0%">
                  <c:v>0.39033036508264074</c:v>
                </c:pt>
                <c:pt idx="1387" formatCode="0.0%">
                  <c:v>0.38574326857849284</c:v>
                </c:pt>
                <c:pt idx="1388" formatCode="0.0%">
                  <c:v>0.38574326857849284</c:v>
                </c:pt>
                <c:pt idx="1389" formatCode="0.0%">
                  <c:v>0.38574326857849284</c:v>
                </c:pt>
                <c:pt idx="1390" formatCode="0.0%">
                  <c:v>0.38776569412377027</c:v>
                </c:pt>
                <c:pt idx="1391" formatCode="0.0%">
                  <c:v>0.3816984174879377</c:v>
                </c:pt>
                <c:pt idx="1392" formatCode="0.0%">
                  <c:v>0.38251911093062207</c:v>
                </c:pt>
                <c:pt idx="1393" formatCode="0.0%">
                  <c:v>0.37220180194259966</c:v>
                </c:pt>
                <c:pt idx="1394" formatCode="0.0%">
                  <c:v>0.37498630480769435</c:v>
                </c:pt>
                <c:pt idx="1395" formatCode="0.0%">
                  <c:v>0.37498630480769435</c:v>
                </c:pt>
                <c:pt idx="1396" formatCode="0.0%">
                  <c:v>0.37498630480769435</c:v>
                </c:pt>
                <c:pt idx="1397" formatCode="0.0%">
                  <c:v>0.37111731563025019</c:v>
                </c:pt>
                <c:pt idx="1398" formatCode="0.0%">
                  <c:v>0.37158628073187716</c:v>
                </c:pt>
                <c:pt idx="1399" formatCode="0.0%">
                  <c:v>0.36856729983080527</c:v>
                </c:pt>
                <c:pt idx="1400" formatCode="0.0%">
                  <c:v>0.34620336401283652</c:v>
                </c:pt>
                <c:pt idx="1401" formatCode="0.0%">
                  <c:v>0.35933448166996895</c:v>
                </c:pt>
                <c:pt idx="1402" formatCode="0.0%">
                  <c:v>0.35933448166996895</c:v>
                </c:pt>
                <c:pt idx="1403" formatCode="0.0%">
                  <c:v>0.35933448166996895</c:v>
                </c:pt>
                <c:pt idx="1404" formatCode="0.0%">
                  <c:v>0.34838699631179848</c:v>
                </c:pt>
                <c:pt idx="1405" formatCode="0.0%">
                  <c:v>0.35495255739778286</c:v>
                </c:pt>
                <c:pt idx="1406" formatCode="0.0%">
                  <c:v>0.38251911093062207</c:v>
                </c:pt>
                <c:pt idx="1407" formatCode="0.0%">
                  <c:v>0.38608034176012379</c:v>
                </c:pt>
                <c:pt idx="1408" formatCode="0.0%">
                  <c:v>0.39447780680401306</c:v>
                </c:pt>
                <c:pt idx="1409" formatCode="0.0%">
                  <c:v>0.39447780680401306</c:v>
                </c:pt>
                <c:pt idx="1410" formatCode="0.0%">
                  <c:v>0.39447780680401306</c:v>
                </c:pt>
                <c:pt idx="1411" formatCode="0.0%">
                  <c:v>0.41203481421160915</c:v>
                </c:pt>
                <c:pt idx="1412" formatCode="0.0%">
                  <c:v>0.39817093406834769</c:v>
                </c:pt>
                <c:pt idx="1413" formatCode="0.0%">
                  <c:v>0.39493212126105137</c:v>
                </c:pt>
                <c:pt idx="1414" formatCode="0.0%">
                  <c:v>0.40322700018895946</c:v>
                </c:pt>
                <c:pt idx="1415" formatCode="0.0%">
                  <c:v>0.38660792749945444</c:v>
                </c:pt>
                <c:pt idx="1416" formatCode="0.0%">
                  <c:v>0.38660792749945444</c:v>
                </c:pt>
                <c:pt idx="1417" formatCode="0.0%">
                  <c:v>0.38660792749945444</c:v>
                </c:pt>
                <c:pt idx="1418" formatCode="0.0%">
                  <c:v>0.3799251296528996</c:v>
                </c:pt>
                <c:pt idx="1419" formatCode="0.0%">
                  <c:v>0.37695010971526843</c:v>
                </c:pt>
                <c:pt idx="1420" formatCode="0.0%">
                  <c:v>0.38092168500869461</c:v>
                </c:pt>
                <c:pt idx="1421" formatCode="0.0%">
                  <c:v>0.38112686175549271</c:v>
                </c:pt>
                <c:pt idx="1422" formatCode="0.0%">
                  <c:v>0.40541063700275798</c:v>
                </c:pt>
                <c:pt idx="1423" formatCode="0.0%">
                  <c:v>0.40541063700275798</c:v>
                </c:pt>
                <c:pt idx="1424" formatCode="0.0%">
                  <c:v>0.40541063700275798</c:v>
                </c:pt>
                <c:pt idx="1425" formatCode="0.0%">
                  <c:v>0.40535201185021807</c:v>
                </c:pt>
                <c:pt idx="1426" formatCode="0.0%">
                  <c:v>0.40642184751797827</c:v>
                </c:pt>
                <c:pt idx="1427" formatCode="0.0%">
                  <c:v>0.4059675330609403</c:v>
                </c:pt>
                <c:pt idx="1428" formatCode="0.0%">
                  <c:v>0.41024687121714548</c:v>
                </c:pt>
                <c:pt idx="1429" formatCode="0.0%">
                  <c:v>0.41096497854384895</c:v>
                </c:pt>
                <c:pt idx="1430" formatCode="0.0%">
                  <c:v>0.413925343322054</c:v>
                </c:pt>
                <c:pt idx="1431" formatCode="0.0%">
                  <c:v>0.413925343322054</c:v>
                </c:pt>
                <c:pt idx="1432" formatCode="0.0%">
                  <c:v>0.43107200626572623</c:v>
                </c:pt>
                <c:pt idx="1433" formatCode="0.0%">
                  <c:v>0.43492634028374511</c:v>
                </c:pt>
                <c:pt idx="1434" formatCode="0.0%">
                  <c:v>0.44226862933413658</c:v>
                </c:pt>
                <c:pt idx="1435" formatCode="0.0%">
                  <c:v>0.43136510945424333</c:v>
                </c:pt>
                <c:pt idx="1436" formatCode="0.0%">
                  <c:v>0.4415798278114485</c:v>
                </c:pt>
                <c:pt idx="1437" formatCode="0.0%">
                  <c:v>0.4415798278114485</c:v>
                </c:pt>
                <c:pt idx="1438" formatCode="0.0%">
                  <c:v>0.4415798278114485</c:v>
                </c:pt>
                <c:pt idx="1439" formatCode="0.0%">
                  <c:v>0.43851688143209883</c:v>
                </c:pt>
                <c:pt idx="1440" formatCode="0.0%">
                  <c:v>0.44393932653835688</c:v>
                </c:pt>
                <c:pt idx="1441" formatCode="0.0%">
                  <c:v>0.45245403737248979</c:v>
                </c:pt>
                <c:pt idx="1442" formatCode="0.0%">
                  <c:v>0.45192644711832231</c:v>
                </c:pt>
                <c:pt idx="1443" formatCode="0.0%">
                  <c:v>0.43568841308872608</c:v>
                </c:pt>
                <c:pt idx="1444" formatCode="0.0%">
                  <c:v>0.43568841308872608</c:v>
                </c:pt>
                <c:pt idx="1445" formatCode="0.0%">
                  <c:v>0.43568841308872608</c:v>
                </c:pt>
                <c:pt idx="1446" formatCode="0.0%">
                  <c:v>0.43684617971304163</c:v>
                </c:pt>
                <c:pt idx="1447" formatCode="0.0%">
                  <c:v>0.4299142396414109</c:v>
                </c:pt>
                <c:pt idx="1448" formatCode="0.0%">
                  <c:v>0.43365133238402281</c:v>
                </c:pt>
                <c:pt idx="1449" formatCode="0.0%">
                  <c:v>0.40883996688259033</c:v>
                </c:pt>
                <c:pt idx="1450" formatCode="0.0%">
                  <c:v>0.39005191705354947</c:v>
                </c:pt>
                <c:pt idx="1451" formatCode="0.0%">
                  <c:v>0.39005191705354947</c:v>
                </c:pt>
                <c:pt idx="1452" formatCode="0.0%">
                  <c:v>0.39005191705354947</c:v>
                </c:pt>
                <c:pt idx="1453" formatCode="0.0%">
                  <c:v>0.40063301891123726</c:v>
                </c:pt>
                <c:pt idx="1454" formatCode="0.0%">
                  <c:v>0.40063301891123726</c:v>
                </c:pt>
                <c:pt idx="1455" formatCode="0.0%">
                  <c:v>0.40063301891123726</c:v>
                </c:pt>
                <c:pt idx="1456" formatCode="0.0%">
                  <c:v>0.40063301891123726</c:v>
                </c:pt>
                <c:pt idx="1457" formatCode="0.0%">
                  <c:v>0.40167354426014584</c:v>
                </c:pt>
                <c:pt idx="1458" formatCode="0.0%">
                  <c:v>0.40167354426014584</c:v>
                </c:pt>
                <c:pt idx="1459" formatCode="0.0%">
                  <c:v>0.40167354426014584</c:v>
                </c:pt>
                <c:pt idx="1460" formatCode="0.0%">
                  <c:v>0.38848380145047345</c:v>
                </c:pt>
                <c:pt idx="1461" formatCode="0.0%">
                  <c:v>0.39601660757340085</c:v>
                </c:pt>
                <c:pt idx="1462" formatCode="0.0%">
                  <c:v>0.39601660757340085</c:v>
                </c:pt>
                <c:pt idx="1463" formatCode="0.0%">
                  <c:v>0.41084773726844193</c:v>
                </c:pt>
                <c:pt idx="1464" formatCode="0.0%">
                  <c:v>0.40661236459051453</c:v>
                </c:pt>
                <c:pt idx="1465" formatCode="0.0%">
                  <c:v>0.40661236459051453</c:v>
                </c:pt>
                <c:pt idx="1466" formatCode="0.0%">
                  <c:v>0.40661236459051453</c:v>
                </c:pt>
                <c:pt idx="1467" formatCode="0.0%">
                  <c:v>0.40441407713212668</c:v>
                </c:pt>
                <c:pt idx="1468" formatCode="0.0%">
                  <c:v>0.40006146317879226</c:v>
                </c:pt>
                <c:pt idx="1469" formatCode="0.0%">
                  <c:v>0.40160026394818005</c:v>
                </c:pt>
                <c:pt idx="1470" formatCode="0.0%">
                  <c:v>0.40099939789688366</c:v>
                </c:pt>
                <c:pt idx="1471" formatCode="0.0%">
                  <c:v>0.39491746610162548</c:v>
                </c:pt>
                <c:pt idx="1472" formatCode="0.0%">
                  <c:v>0.39491746610162548</c:v>
                </c:pt>
                <c:pt idx="1473" formatCode="0.0%">
                  <c:v>0.39491746610162548</c:v>
                </c:pt>
                <c:pt idx="1474" formatCode="0.0%">
                  <c:v>0.3900665722129753</c:v>
                </c:pt>
                <c:pt idx="1475" formatCode="0.0%">
                  <c:v>0.38650534138347353</c:v>
                </c:pt>
                <c:pt idx="1476" formatCode="0.0%">
                  <c:v>0.40225975063718011</c:v>
                </c:pt>
                <c:pt idx="1477" formatCode="0.0%">
                  <c:v>0.41474603676473831</c:v>
                </c:pt>
                <c:pt idx="1478" formatCode="0.0%">
                  <c:v>0.42141418396670416</c:v>
                </c:pt>
                <c:pt idx="1479" formatCode="0.0%">
                  <c:v>0.42141418396670416</c:v>
                </c:pt>
                <c:pt idx="1480" formatCode="0.0%">
                  <c:v>0.42141418396670416</c:v>
                </c:pt>
                <c:pt idx="1481" formatCode="0.0%">
                  <c:v>0.41712019065107286</c:v>
                </c:pt>
                <c:pt idx="1482" formatCode="0.0%">
                  <c:v>0.4254590395720953</c:v>
                </c:pt>
                <c:pt idx="1483" formatCode="0.0%">
                  <c:v>0.4342521984353192</c:v>
                </c:pt>
                <c:pt idx="1484" formatCode="0.0%">
                  <c:v>0.43128195970958982</c:v>
                </c:pt>
                <c:pt idx="1485" formatCode="0.0%">
                  <c:v>0.42982118434537681</c:v>
                </c:pt>
                <c:pt idx="1486" formatCode="0.0%">
                  <c:v>0.42982118434537681</c:v>
                </c:pt>
                <c:pt idx="1487" formatCode="0.0%">
                  <c:v>0.42982118434537681</c:v>
                </c:pt>
                <c:pt idx="1488" formatCode="0.0%">
                  <c:v>0.41654437742776595</c:v>
                </c:pt>
                <c:pt idx="1489" formatCode="0.0%">
                  <c:v>0.43024318611726076</c:v>
                </c:pt>
                <c:pt idx="1490" formatCode="0.0%">
                  <c:v>0.43728736051056954</c:v>
                </c:pt>
                <c:pt idx="1491" formatCode="0.0%">
                  <c:v>0.44342260801059041</c:v>
                </c:pt>
                <c:pt idx="1492" formatCode="0.0%">
                  <c:v>0.45030447403009816</c:v>
                </c:pt>
                <c:pt idx="1493" formatCode="0.0%">
                  <c:v>0.45030447403009816</c:v>
                </c:pt>
                <c:pt idx="1494" formatCode="0.0%">
                  <c:v>0.45030447403009816</c:v>
                </c:pt>
                <c:pt idx="1495" formatCode="0.0%">
                  <c:v>0.4441043031805566</c:v>
                </c:pt>
                <c:pt idx="1496" formatCode="0.0%">
                  <c:v>0.44191314013423721</c:v>
                </c:pt>
                <c:pt idx="1497" formatCode="0.0%">
                  <c:v>0.43741720720961069</c:v>
                </c:pt>
                <c:pt idx="1498" formatCode="0.0%">
                  <c:v>0.45236578586253956</c:v>
                </c:pt>
                <c:pt idx="1499" formatCode="0.0%">
                  <c:v>0.44429907322911844</c:v>
                </c:pt>
                <c:pt idx="1500" formatCode="0.0%">
                  <c:v>0.44429907322911844</c:v>
                </c:pt>
                <c:pt idx="1501" formatCode="0.0%">
                  <c:v>0.44429907322911844</c:v>
                </c:pt>
                <c:pt idx="1502" formatCode="0.0%">
                  <c:v>0.44757769786507084</c:v>
                </c:pt>
                <c:pt idx="1503" formatCode="0.0%">
                  <c:v>0.44465615165148137</c:v>
                </c:pt>
                <c:pt idx="1504" formatCode="0.0%">
                  <c:v>0.43486897025576499</c:v>
                </c:pt>
                <c:pt idx="1505" formatCode="0.0%">
                  <c:v>0.44124768031648787</c:v>
                </c:pt>
                <c:pt idx="1506" formatCode="0.0%">
                  <c:v>0.43720620632366886</c:v>
                </c:pt>
                <c:pt idx="1507" formatCode="0.0%">
                  <c:v>0.43720620632366886</c:v>
                </c:pt>
                <c:pt idx="1508" formatCode="0.0%">
                  <c:v>0.43720620632366886</c:v>
                </c:pt>
                <c:pt idx="1509" formatCode="0.0%">
                  <c:v>0.44639284673632035</c:v>
                </c:pt>
                <c:pt idx="1510" formatCode="0.0%">
                  <c:v>0.44676615599606351</c:v>
                </c:pt>
                <c:pt idx="1511" formatCode="0.0%">
                  <c:v>0.44478599383568596</c:v>
                </c:pt>
                <c:pt idx="1512" formatCode="0.0%">
                  <c:v>0.43913767145706939</c:v>
                </c:pt>
                <c:pt idx="1513" formatCode="0.0%">
                  <c:v>0.44342260801059041</c:v>
                </c:pt>
                <c:pt idx="1514" formatCode="0.0%">
                  <c:v>0.44342260801059041</c:v>
                </c:pt>
                <c:pt idx="1515" formatCode="0.0%">
                  <c:v>0.44342260801059041</c:v>
                </c:pt>
                <c:pt idx="1516" formatCode="0.0%">
                  <c:v>0.43212595873852083</c:v>
                </c:pt>
                <c:pt idx="1517" formatCode="0.0%">
                  <c:v>0.424497478714363</c:v>
                </c:pt>
                <c:pt idx="1518" formatCode="0.0%">
                  <c:v>0.43821251372640091</c:v>
                </c:pt>
                <c:pt idx="1519" formatCode="0.0%">
                  <c:v>0.43905651727016848</c:v>
                </c:pt>
                <c:pt idx="1520" formatCode="0.0%">
                  <c:v>0.4337490424765349</c:v>
                </c:pt>
                <c:pt idx="1521" formatCode="0.0%">
                  <c:v>0.4337490424765349</c:v>
                </c:pt>
                <c:pt idx="1522" formatCode="0.0%">
                  <c:v>0.4337490424765349</c:v>
                </c:pt>
                <c:pt idx="1523" formatCode="0.0%">
                  <c:v>0.4290096424763698</c:v>
                </c:pt>
                <c:pt idx="1524" formatCode="0.0%">
                  <c:v>0.3971323230101339</c:v>
                </c:pt>
                <c:pt idx="1525" formatCode="0.0%">
                  <c:v>0.3891305292113964</c:v>
                </c:pt>
                <c:pt idx="1526" formatCode="0.0%">
                  <c:v>0.38835145353198641</c:v>
                </c:pt>
                <c:pt idx="1527" formatCode="0.0%">
                  <c:v>0.36213868728174731</c:v>
                </c:pt>
                <c:pt idx="1528" formatCode="0.0%">
                  <c:v>0.36213868728174731</c:v>
                </c:pt>
                <c:pt idx="1529" formatCode="0.0%">
                  <c:v>0.36213868728174731</c:v>
                </c:pt>
                <c:pt idx="1530" formatCode="0.0%">
                  <c:v>0.35170227239082491</c:v>
                </c:pt>
                <c:pt idx="1531" formatCode="0.0%">
                  <c:v>0.32638220219649411</c:v>
                </c:pt>
                <c:pt idx="1532" formatCode="0.0%">
                  <c:v>0.3232171934222029</c:v>
                </c:pt>
                <c:pt idx="1533" formatCode="0.0%">
                  <c:v>0.32005218464791169</c:v>
                </c:pt>
                <c:pt idx="1534" formatCode="0.0%">
                  <c:v>0.3277131263468297</c:v>
                </c:pt>
                <c:pt idx="1535" formatCode="0.0%">
                  <c:v>0.3277131263468297</c:v>
                </c:pt>
                <c:pt idx="1536" formatCode="0.0%">
                  <c:v>0.3277131263468297</c:v>
                </c:pt>
                <c:pt idx="1537" formatCode="0.0%">
                  <c:v>0.32576543037604894</c:v>
                </c:pt>
                <c:pt idx="1538" formatCode="0.0%">
                  <c:v>0.32357427184456611</c:v>
                </c:pt>
                <c:pt idx="1539" formatCode="0.0%">
                  <c:v>0.33211167876201186</c:v>
                </c:pt>
                <c:pt idx="1540" formatCode="0.0%">
                  <c:v>0.34115224163824165</c:v>
                </c:pt>
                <c:pt idx="1541" formatCode="0.0%">
                  <c:v>0.32889797747557992</c:v>
                </c:pt>
                <c:pt idx="1542" formatCode="0.0%">
                  <c:v>0.32889797747557992</c:v>
                </c:pt>
                <c:pt idx="1543" formatCode="0.0%">
                  <c:v>0.32889797747557992</c:v>
                </c:pt>
                <c:pt idx="1544" formatCode="0.0%">
                  <c:v>0.34577802577674588</c:v>
                </c:pt>
                <c:pt idx="1545" formatCode="0.0%">
                  <c:v>0.34701156490280027</c:v>
                </c:pt>
                <c:pt idx="1546" formatCode="0.0%">
                  <c:v>0.34383032529112884</c:v>
                </c:pt>
                <c:pt idx="1547" formatCode="0.0%">
                  <c:v>0.33500076330084055</c:v>
                </c:pt>
                <c:pt idx="1548" formatCode="0.0%">
                  <c:v>0.31552378553368809</c:v>
                </c:pt>
                <c:pt idx="1549" formatCode="0.0%">
                  <c:v>0.31552378553368809</c:v>
                </c:pt>
                <c:pt idx="1550" formatCode="0.0%">
                  <c:v>0.31552378553368809</c:v>
                </c:pt>
                <c:pt idx="1551" formatCode="0.0%">
                  <c:v>0.31070323134662203</c:v>
                </c:pt>
                <c:pt idx="1552" formatCode="0.0%">
                  <c:v>0.31328393449006486</c:v>
                </c:pt>
                <c:pt idx="1553" formatCode="0.0%">
                  <c:v>0.30757068424709105</c:v>
                </c:pt>
                <c:pt idx="1554" formatCode="0.0%">
                  <c:v>0.25486923202598777</c:v>
                </c:pt>
                <c:pt idx="1555" formatCode="0.0%">
                  <c:v>0.21972951424634332</c:v>
                </c:pt>
                <c:pt idx="1556" formatCode="0.0%">
                  <c:v>0.21972951424634332</c:v>
                </c:pt>
                <c:pt idx="1557" formatCode="0.0%">
                  <c:v>0.21972951424634332</c:v>
                </c:pt>
                <c:pt idx="1558" formatCode="0.0%">
                  <c:v>0.16931660558100362</c:v>
                </c:pt>
                <c:pt idx="1559" formatCode="0.0%">
                  <c:v>0.2140487301929663</c:v>
                </c:pt>
                <c:pt idx="1560" formatCode="0.0%">
                  <c:v>0.15491987088416281</c:v>
                </c:pt>
                <c:pt idx="1561" formatCode="0.0%">
                  <c:v>0.20695586328751689</c:v>
                </c:pt>
                <c:pt idx="1562" formatCode="0.0%">
                  <c:v>0.17866555436745629</c:v>
                </c:pt>
                <c:pt idx="1563" formatCode="0.0%">
                  <c:v>0.17866555436745629</c:v>
                </c:pt>
                <c:pt idx="1564" formatCode="0.0%">
                  <c:v>0.17866555436745629</c:v>
                </c:pt>
                <c:pt idx="1565" formatCode="0.0%">
                  <c:v>0.20947163856660239</c:v>
                </c:pt>
                <c:pt idx="1566" formatCode="0.0%">
                  <c:v>0.21369165177060309</c:v>
                </c:pt>
                <c:pt idx="1567" formatCode="0.0%">
                  <c:v>0.19500998503507774</c:v>
                </c:pt>
                <c:pt idx="1568" formatCode="0.0%">
                  <c:v>0.19500998503507774</c:v>
                </c:pt>
                <c:pt idx="1569" formatCode="0.0%">
                  <c:v>0.19500998503507774</c:v>
                </c:pt>
                <c:pt idx="1570" formatCode="0.0%">
                  <c:v>0.19500998503507774</c:v>
                </c:pt>
                <c:pt idx="1571" formatCode="0.0%">
                  <c:v>0.19500998503507774</c:v>
                </c:pt>
                <c:pt idx="1572" formatCode="0.0%">
                  <c:v>0.19500998503507774</c:v>
                </c:pt>
                <c:pt idx="1573" formatCode="0.0%">
                  <c:v>0.17540316056888414</c:v>
                </c:pt>
                <c:pt idx="1574" formatCode="0.0%">
                  <c:v>0.22394952745034402</c:v>
                </c:pt>
                <c:pt idx="1575" formatCode="0.0%">
                  <c:v>0.20778363599390431</c:v>
                </c:pt>
                <c:pt idx="1576" formatCode="0.0%">
                  <c:v>0.20916325265637981</c:v>
                </c:pt>
                <c:pt idx="1577" formatCode="0.0%">
                  <c:v>0.20916325265637981</c:v>
                </c:pt>
                <c:pt idx="1578" formatCode="0.0%">
                  <c:v>0.20916325265637981</c:v>
                </c:pt>
                <c:pt idx="1579" formatCode="0.0%">
                  <c:v>0.21783051078770299</c:v>
                </c:pt>
                <c:pt idx="1580" formatCode="0.0%">
                  <c:v>0.21422726940414777</c:v>
                </c:pt>
                <c:pt idx="1581" formatCode="0.0%">
                  <c:v>0.23316862953775569</c:v>
                </c:pt>
                <c:pt idx="1582" formatCode="0.0%">
                  <c:v>0.2517691420863804</c:v>
                </c:pt>
                <c:pt idx="1583" formatCode="0.0%">
                  <c:v>0.26257886623704607</c:v>
                </c:pt>
                <c:pt idx="1584" formatCode="0.0%">
                  <c:v>0.26257886623704607</c:v>
                </c:pt>
                <c:pt idx="1585" formatCode="0.0%">
                  <c:v>0.26257886623704607</c:v>
                </c:pt>
                <c:pt idx="1586" formatCode="0.0%">
                  <c:v>0.26696118781484812</c:v>
                </c:pt>
                <c:pt idx="1587" formatCode="0.0%">
                  <c:v>0.25913793322729206</c:v>
                </c:pt>
                <c:pt idx="1588" formatCode="0.0%">
                  <c:v>0.26042016938032364</c:v>
                </c:pt>
                <c:pt idx="1589" formatCode="0.0%">
                  <c:v>0.2658412600356182</c:v>
                </c:pt>
                <c:pt idx="1590" formatCode="0.0%">
                  <c:v>0.27019111993865991</c:v>
                </c:pt>
                <c:pt idx="1591" formatCode="0.0%">
                  <c:v>0.27019111993865991</c:v>
                </c:pt>
                <c:pt idx="1592" formatCode="0.0%">
                  <c:v>0.27019111993865991</c:v>
                </c:pt>
                <c:pt idx="1593" formatCode="0.0%">
                  <c:v>0.30490883143158415</c:v>
                </c:pt>
                <c:pt idx="1594" formatCode="0.0%">
                  <c:v>0.31198546749965345</c:v>
                </c:pt>
                <c:pt idx="1595" formatCode="0.0%">
                  <c:v>0.3083335336039576</c:v>
                </c:pt>
                <c:pt idx="1596" formatCode="0.0%">
                  <c:v>0.30820368690491651</c:v>
                </c:pt>
                <c:pt idx="1597" formatCode="0.0%">
                  <c:v>0.3145174736161192</c:v>
                </c:pt>
                <c:pt idx="1598" formatCode="0.0%">
                  <c:v>0.3145174736161192</c:v>
                </c:pt>
                <c:pt idx="1599" formatCode="0.0%">
                  <c:v>0.3145174736161192</c:v>
                </c:pt>
                <c:pt idx="1600" formatCode="0.0%">
                  <c:v>0.31420908770589651</c:v>
                </c:pt>
                <c:pt idx="1601" formatCode="0.0%">
                  <c:v>0.31610809567937309</c:v>
                </c:pt>
                <c:pt idx="1602" formatCode="0.0%">
                  <c:v>0.30495752394372461</c:v>
                </c:pt>
                <c:pt idx="1603" formatCode="0.0%">
                  <c:v>0.29129117692899031</c:v>
                </c:pt>
                <c:pt idx="1604" formatCode="0.0%">
                  <c:v>0.28311084843390771</c:v>
                </c:pt>
                <c:pt idx="1605" formatCode="0.0%">
                  <c:v>0.28311084843390771</c:v>
                </c:pt>
                <c:pt idx="1606" formatCode="0.0%">
                  <c:v>0.28311084843390771</c:v>
                </c:pt>
                <c:pt idx="1607" formatCode="0.0%">
                  <c:v>0.29429387732948042</c:v>
                </c:pt>
                <c:pt idx="1608" formatCode="0.0%">
                  <c:v>0.29880604560632323</c:v>
                </c:pt>
                <c:pt idx="1609" formatCode="0.0%">
                  <c:v>0.29799450373731645</c:v>
                </c:pt>
                <c:pt idx="1610" formatCode="0.0%">
                  <c:v>0.29799450373731645</c:v>
                </c:pt>
                <c:pt idx="1611" formatCode="0.0%">
                  <c:v>0.29799450373731645</c:v>
                </c:pt>
                <c:pt idx="1612" formatCode="0.0%">
                  <c:v>0.29843273634658035</c:v>
                </c:pt>
                <c:pt idx="1613" formatCode="0.0%">
                  <c:v>0.29843273634658035</c:v>
                </c:pt>
                <c:pt idx="1614" formatCode="0.0%">
                  <c:v>0.28074115069124334</c:v>
                </c:pt>
                <c:pt idx="1615" formatCode="0.0%">
                  <c:v>0.28786647475661653</c:v>
                </c:pt>
                <c:pt idx="1616" formatCode="0.0%">
                  <c:v>0.29708558135886476</c:v>
                </c:pt>
                <c:pt idx="1617" formatCode="0.0%">
                  <c:v>0.29708558135886476</c:v>
                </c:pt>
                <c:pt idx="1618" formatCode="0.0%">
                  <c:v>0.30632091428365643</c:v>
                </c:pt>
                <c:pt idx="1619" formatCode="0.0%">
                  <c:v>0.30632091428365643</c:v>
                </c:pt>
                <c:pt idx="1620" formatCode="0.0%">
                  <c:v>0.30632091428365643</c:v>
                </c:pt>
                <c:pt idx="1621" formatCode="0.0%">
                  <c:v>0.30632091428365643</c:v>
                </c:pt>
                <c:pt idx="1622" formatCode="0.0%">
                  <c:v>0.31159592740253006</c:v>
                </c:pt>
                <c:pt idx="1623" formatCode="0.0%">
                  <c:v>0.31183938996323207</c:v>
                </c:pt>
                <c:pt idx="1624" formatCode="0.0%">
                  <c:v>0.29841650550919979</c:v>
                </c:pt>
                <c:pt idx="1625" formatCode="0.0%">
                  <c:v>0.28114691711091039</c:v>
                </c:pt>
                <c:pt idx="1626" formatCode="0.0%">
                  <c:v>0.28114691711091039</c:v>
                </c:pt>
                <c:pt idx="1627" formatCode="0.0%">
                  <c:v>0.28114691711091039</c:v>
                </c:pt>
                <c:pt idx="1628" formatCode="0.0%">
                  <c:v>0.28466900430756481</c:v>
                </c:pt>
                <c:pt idx="1629" formatCode="0.0%">
                  <c:v>0.28012437887079783</c:v>
                </c:pt>
                <c:pt idx="1630" formatCode="0.0%">
                  <c:v>0.27786829247495803</c:v>
                </c:pt>
                <c:pt idx="1631" formatCode="0.0%">
                  <c:v>0.26335794643129273</c:v>
                </c:pt>
                <c:pt idx="1632" formatCode="0.0%">
                  <c:v>0.26590618338513877</c:v>
                </c:pt>
                <c:pt idx="1633" formatCode="0.0%">
                  <c:v>0.26590618338513877</c:v>
                </c:pt>
                <c:pt idx="1634" formatCode="0.0%">
                  <c:v>0.26590618338513877</c:v>
                </c:pt>
                <c:pt idx="1635" formatCode="0.0%">
                  <c:v>0.25850493056946661</c:v>
                </c:pt>
                <c:pt idx="1636" formatCode="0.0%">
                  <c:v>0.26775649884647507</c:v>
                </c:pt>
                <c:pt idx="1637" formatCode="0.0%">
                  <c:v>0.26824341945304297</c:v>
                </c:pt>
                <c:pt idx="1638" formatCode="0.0%">
                  <c:v>0.26014424514486095</c:v>
                </c:pt>
                <c:pt idx="1639" formatCode="0.0%">
                  <c:v>0.27359959127365358</c:v>
                </c:pt>
                <c:pt idx="1640" formatCode="0.0%">
                  <c:v>0.27359959127365358</c:v>
                </c:pt>
                <c:pt idx="1641" formatCode="0.0%">
                  <c:v>0.27359959127365358</c:v>
                </c:pt>
                <c:pt idx="1642" formatCode="0.0%">
                  <c:v>0.27098643097028713</c:v>
                </c:pt>
                <c:pt idx="1643" formatCode="0.0%">
                  <c:v>0.26689626446532744</c:v>
                </c:pt>
                <c:pt idx="1644" formatCode="0.0%">
                  <c:v>0.27350220624937277</c:v>
                </c:pt>
                <c:pt idx="1645" formatCode="0.0%">
                  <c:v>0.28174745809397594</c:v>
                </c:pt>
                <c:pt idx="1646" formatCode="0.0%">
                  <c:v>0.27382682299697564</c:v>
                </c:pt>
                <c:pt idx="1647" formatCode="0.0%">
                  <c:v>0.27382682299697564</c:v>
                </c:pt>
                <c:pt idx="1648" formatCode="0.0%">
                  <c:v>0.27382682299697564</c:v>
                </c:pt>
                <c:pt idx="1649" formatCode="0.0%">
                  <c:v>0.27557974891919446</c:v>
                </c:pt>
                <c:pt idx="1650" formatCode="0.0%">
                  <c:v>0.27799813917399918</c:v>
                </c:pt>
                <c:pt idx="1651" formatCode="0.0%">
                  <c:v>0.2820883056789586</c:v>
                </c:pt>
                <c:pt idx="1652" formatCode="0.0%">
                  <c:v>0.2872983999631481</c:v>
                </c:pt>
                <c:pt idx="1653" formatCode="0.0%">
                  <c:v>0.28281869336106524</c:v>
                </c:pt>
                <c:pt idx="1654" formatCode="0.0%">
                  <c:v>0.28281869336106524</c:v>
                </c:pt>
                <c:pt idx="1655" formatCode="0.0%">
                  <c:v>0.28281869336106524</c:v>
                </c:pt>
                <c:pt idx="1656" formatCode="0.0%">
                  <c:v>0.28166630390707498</c:v>
                </c:pt>
                <c:pt idx="1657" formatCode="0.0%">
                  <c:v>0.28750940084908988</c:v>
                </c:pt>
                <c:pt idx="1658" formatCode="0.0%">
                  <c:v>0.28223438321537997</c:v>
                </c:pt>
                <c:pt idx="1659" formatCode="0.0%">
                  <c:v>0.28961940519367202</c:v>
                </c:pt>
                <c:pt idx="1660" formatCode="0.0%">
                  <c:v>0.28338677266937057</c:v>
                </c:pt>
                <c:pt idx="1661" formatCode="0.0%">
                  <c:v>0.28338677266937057</c:v>
                </c:pt>
                <c:pt idx="1662" formatCode="0.0%">
                  <c:v>0.28338677266937057</c:v>
                </c:pt>
                <c:pt idx="1663" formatCode="0.0%">
                  <c:v>0.28557793120085306</c:v>
                </c:pt>
                <c:pt idx="1664" formatCode="0.0%">
                  <c:v>0.28030291808197971</c:v>
                </c:pt>
                <c:pt idx="1665" formatCode="0.0%">
                  <c:v>0.29617665446557678</c:v>
                </c:pt>
                <c:pt idx="1666" formatCode="0.0%">
                  <c:v>0.29950397161366965</c:v>
                </c:pt>
                <c:pt idx="1667" formatCode="0.0%">
                  <c:v>0.30237682531511839</c:v>
                </c:pt>
                <c:pt idx="1668" formatCode="0.0%">
                  <c:v>0.30237682531511839</c:v>
                </c:pt>
                <c:pt idx="1669" formatCode="0.0%">
                  <c:v>0.30237682531511839</c:v>
                </c:pt>
                <c:pt idx="1670" formatCode="0.0%">
                  <c:v>0.31407924100685536</c:v>
                </c:pt>
                <c:pt idx="1671" formatCode="0.0%">
                  <c:v>0.31218023754821528</c:v>
                </c:pt>
                <c:pt idx="1672" formatCode="0.0%">
                  <c:v>0.30930738384676632</c:v>
                </c:pt>
                <c:pt idx="1673" formatCode="0.0%">
                  <c:v>0.30221451694131701</c:v>
                </c:pt>
                <c:pt idx="1674" formatCode="0.0%">
                  <c:v>0.28345169601889098</c:v>
                </c:pt>
                <c:pt idx="1675" formatCode="0.0%">
                  <c:v>0.28345169601889098</c:v>
                </c:pt>
                <c:pt idx="1676" formatCode="0.0%">
                  <c:v>0.28345169601889098</c:v>
                </c:pt>
                <c:pt idx="1677" formatCode="0.0%">
                  <c:v>0.27436244063052029</c:v>
                </c:pt>
                <c:pt idx="1678" formatCode="0.0%">
                  <c:v>0.27658606083676346</c:v>
                </c:pt>
                <c:pt idx="1679" formatCode="0.0%">
                  <c:v>0.26085840198958721</c:v>
                </c:pt>
                <c:pt idx="1680" formatCode="0.0%">
                  <c:v>0.28374385109173345</c:v>
                </c:pt>
                <c:pt idx="1681" formatCode="0.0%">
                  <c:v>0.28387369779077432</c:v>
                </c:pt>
                <c:pt idx="1682" formatCode="0.0%">
                  <c:v>0.28387369779077432</c:v>
                </c:pt>
                <c:pt idx="1683" formatCode="0.0%">
                  <c:v>0.28387369779077432</c:v>
                </c:pt>
                <c:pt idx="1684" formatCode="0.0%">
                  <c:v>0.28750940084908988</c:v>
                </c:pt>
                <c:pt idx="1685" formatCode="0.0%">
                  <c:v>0.28731463080052833</c:v>
                </c:pt>
                <c:pt idx="1686" formatCode="0.0%">
                  <c:v>0.29335249327626856</c:v>
                </c:pt>
                <c:pt idx="1687" formatCode="0.0%">
                  <c:v>0.2990495081670258</c:v>
                </c:pt>
                <c:pt idx="1688" formatCode="0.0%">
                  <c:v>0.29835158215967938</c:v>
                </c:pt>
                <c:pt idx="1689" formatCode="0.0%">
                  <c:v>0.29835158215967938</c:v>
                </c:pt>
                <c:pt idx="1690" formatCode="0.0%">
                  <c:v>0.29835158215967938</c:v>
                </c:pt>
                <c:pt idx="1691" formatCode="0.0%">
                  <c:v>0.30180874600681334</c:v>
                </c:pt>
                <c:pt idx="1692" formatCode="0.0%">
                  <c:v>0.30179251516943312</c:v>
                </c:pt>
                <c:pt idx="1693" formatCode="0.0%">
                  <c:v>0.30257159536367995</c:v>
                </c:pt>
                <c:pt idx="1694" formatCode="0.0%">
                  <c:v>0.30253913368891971</c:v>
                </c:pt>
                <c:pt idx="1695" formatCode="0.0%">
                  <c:v>0.30761937675923151</c:v>
                </c:pt>
                <c:pt idx="1696" formatCode="0.0%">
                  <c:v>0.30761937675923151</c:v>
                </c:pt>
                <c:pt idx="1697" formatCode="0.0%">
                  <c:v>0.30761937675923151</c:v>
                </c:pt>
                <c:pt idx="1698" formatCode="0.0%">
                  <c:v>0.30638583763317712</c:v>
                </c:pt>
                <c:pt idx="1699" formatCode="0.0%">
                  <c:v>0.30265274955058091</c:v>
                </c:pt>
                <c:pt idx="1700" formatCode="0.0%">
                  <c:v>0.31159592740253006</c:v>
                </c:pt>
                <c:pt idx="1701" formatCode="0.0%">
                  <c:v>0.30489260059420414</c:v>
                </c:pt>
                <c:pt idx="1702" formatCode="0.0%">
                  <c:v>0.29896835398012483</c:v>
                </c:pt>
                <c:pt idx="1703" formatCode="0.0%">
                  <c:v>0.29896835398012483</c:v>
                </c:pt>
                <c:pt idx="1704" formatCode="0.0%">
                  <c:v>0.29705311968410458</c:v>
                </c:pt>
                <c:pt idx="1705" formatCode="0.0%">
                  <c:v>0.30015320510887533</c:v>
                </c:pt>
                <c:pt idx="1706" formatCode="0.0%">
                  <c:v>0.29041471622529913</c:v>
                </c:pt>
                <c:pt idx="1707" formatCode="0.0%">
                  <c:v>0.30128935921064881</c:v>
                </c:pt>
                <c:pt idx="1708" formatCode="0.0%">
                  <c:v>0.3068889935919617</c:v>
                </c:pt>
                <c:pt idx="1709" formatCode="0.0%">
                  <c:v>0.30143543674706991</c:v>
                </c:pt>
                <c:pt idx="1710" formatCode="0.0%">
                  <c:v>0.30143543674706991</c:v>
                </c:pt>
                <c:pt idx="1711" formatCode="0.0%">
                  <c:v>0.30143543674706991</c:v>
                </c:pt>
                <c:pt idx="1712" formatCode="0.0%">
                  <c:v>0.30455175300922094</c:v>
                </c:pt>
                <c:pt idx="1713" formatCode="0.0%">
                  <c:v>0.30632091428365643</c:v>
                </c:pt>
                <c:pt idx="1714" formatCode="0.0%">
                  <c:v>0.3126347009948594</c:v>
                </c:pt>
                <c:pt idx="1715" formatCode="0.0%">
                  <c:v>0.31401431765733462</c:v>
                </c:pt>
                <c:pt idx="1716" formatCode="0.0%">
                  <c:v>0.31950033617698664</c:v>
                </c:pt>
                <c:pt idx="1717" formatCode="0.0%">
                  <c:v>0.31950033617698664</c:v>
                </c:pt>
                <c:pt idx="1718" formatCode="0.0%">
                  <c:v>0.31950033617698664</c:v>
                </c:pt>
                <c:pt idx="1719" formatCode="0.0%">
                  <c:v>0.3232171934222029</c:v>
                </c:pt>
                <c:pt idx="1720" formatCode="0.0%">
                  <c:v>0.30908015212344453</c:v>
                </c:pt>
                <c:pt idx="1721" formatCode="0.0%">
                  <c:v>0.30588268167439281</c:v>
                </c:pt>
                <c:pt idx="1722" formatCode="0.0%">
                  <c:v>0.31959772120126756</c:v>
                </c:pt>
                <c:pt idx="1723" formatCode="0.0%">
                  <c:v>0.31703325341004157</c:v>
                </c:pt>
                <c:pt idx="1724" formatCode="0.0%">
                  <c:v>0.31703325341004157</c:v>
                </c:pt>
                <c:pt idx="1725" formatCode="0.0%">
                  <c:v>0.31703325341004157</c:v>
                </c:pt>
                <c:pt idx="1726" formatCode="0.0%">
                  <c:v>0.31612432651675332</c:v>
                </c:pt>
                <c:pt idx="1727" formatCode="0.0%">
                  <c:v>0.31310539527888326</c:v>
                </c:pt>
                <c:pt idx="1728" formatCode="0.0%">
                  <c:v>0.30883668956274218</c:v>
                </c:pt>
                <c:pt idx="1729" formatCode="0.0%">
                  <c:v>0.30287998127390298</c:v>
                </c:pt>
                <c:pt idx="1730" formatCode="0.0%">
                  <c:v>0.3051036014801457</c:v>
                </c:pt>
                <c:pt idx="1731" formatCode="0.0%">
                  <c:v>0.3051036014801457</c:v>
                </c:pt>
                <c:pt idx="1732" formatCode="0.0%">
                  <c:v>0.3051036014801457</c:v>
                </c:pt>
                <c:pt idx="1733" formatCode="0.0%">
                  <c:v>0.31078438553352272</c:v>
                </c:pt>
                <c:pt idx="1734" formatCode="0.0%">
                  <c:v>0.31476093617682127</c:v>
                </c:pt>
                <c:pt idx="1735" formatCode="0.0%">
                  <c:v>0.32686912731789847</c:v>
                </c:pt>
                <c:pt idx="1736" formatCode="0.0%">
                  <c:v>0.34241824695389311</c:v>
                </c:pt>
                <c:pt idx="1737" formatCode="0.0%">
                  <c:v>0.34808280016988991</c:v>
                </c:pt>
                <c:pt idx="1738" formatCode="0.0%">
                  <c:v>0.34808280016988991</c:v>
                </c:pt>
                <c:pt idx="1739" formatCode="0.0%">
                  <c:v>0.34808280016988991</c:v>
                </c:pt>
                <c:pt idx="1740" formatCode="0.0%">
                  <c:v>0.36327484138352106</c:v>
                </c:pt>
                <c:pt idx="1741" formatCode="0.0%">
                  <c:v>0.36945878139568239</c:v>
                </c:pt>
                <c:pt idx="1742" formatCode="0.0%">
                  <c:v>0.36830639645652868</c:v>
                </c:pt>
                <c:pt idx="1743" formatCode="0.0%">
                  <c:v>0.36777077882298415</c:v>
                </c:pt>
                <c:pt idx="1744" formatCode="0.0%">
                  <c:v>0.36622884927187044</c:v>
                </c:pt>
                <c:pt idx="1745" formatCode="0.0%">
                  <c:v>0.36622884927187044</c:v>
                </c:pt>
                <c:pt idx="1746" formatCode="0.0%">
                  <c:v>0.36622884927187044</c:v>
                </c:pt>
                <c:pt idx="1747" formatCode="0.0%">
                  <c:v>0.35223789002436973</c:v>
                </c:pt>
                <c:pt idx="1748" formatCode="0.0%">
                  <c:v>0.34034069976923464</c:v>
                </c:pt>
                <c:pt idx="1749" formatCode="0.0%">
                  <c:v>0.35468874195393485</c:v>
                </c:pt>
                <c:pt idx="1750" formatCode="0.0%">
                  <c:v>0.3553055137743803</c:v>
                </c:pt>
                <c:pt idx="1751" formatCode="0.0%">
                  <c:v>0.3470277957401805</c:v>
                </c:pt>
                <c:pt idx="1752" formatCode="0.0%">
                  <c:v>0.3470277957401805</c:v>
                </c:pt>
                <c:pt idx="1753" formatCode="0.0%">
                  <c:v>0.3470277957401805</c:v>
                </c:pt>
                <c:pt idx="1754" formatCode="0.0%">
                  <c:v>0.36124599122583961</c:v>
                </c:pt>
                <c:pt idx="1755" formatCode="0.0%">
                  <c:v>0.37117925015797765</c:v>
                </c:pt>
                <c:pt idx="1756" formatCode="0.0%">
                  <c:v>0.37100071094679576</c:v>
                </c:pt>
                <c:pt idx="1757" formatCode="0.0%">
                  <c:v>0.36679692858017515</c:v>
                </c:pt>
                <c:pt idx="1758" formatCode="0.0%">
                  <c:v>0.37460395233035115</c:v>
                </c:pt>
                <c:pt idx="1759" formatCode="0.0%">
                  <c:v>0.37460395233035115</c:v>
                </c:pt>
                <c:pt idx="1760" formatCode="0.0%">
                  <c:v>0.37460395233035115</c:v>
                </c:pt>
                <c:pt idx="1761" formatCode="0.0%">
                  <c:v>0.38606290546138611</c:v>
                </c:pt>
                <c:pt idx="1762" formatCode="0.0%">
                  <c:v>0.38359582269444104</c:v>
                </c:pt>
                <c:pt idx="1763" formatCode="0.0%">
                  <c:v>0.38382305441776282</c:v>
                </c:pt>
                <c:pt idx="1764" formatCode="0.0%">
                  <c:v>0.38854622358054797</c:v>
                </c:pt>
                <c:pt idx="1765" formatCode="0.0%">
                  <c:v>0.38406651697846483</c:v>
                </c:pt>
                <c:pt idx="1766" formatCode="0.0%">
                  <c:v>0.38406651697846483</c:v>
                </c:pt>
                <c:pt idx="1767" formatCode="0.0%">
                  <c:v>0.38406651697846483</c:v>
                </c:pt>
                <c:pt idx="1768" formatCode="0.0%">
                  <c:v>0.38935776093471874</c:v>
                </c:pt>
                <c:pt idx="1769" formatCode="0.0%">
                  <c:v>0.39270130892019156</c:v>
                </c:pt>
                <c:pt idx="1770" formatCode="0.0%">
                  <c:v>0.38833522269460619</c:v>
                </c:pt>
                <c:pt idx="1771" formatCode="0.0%">
                  <c:v>0.38315759008517714</c:v>
                </c:pt>
                <c:pt idx="1772" formatCode="0.0%">
                  <c:v>0.36957239725734353</c:v>
                </c:pt>
                <c:pt idx="1773" formatCode="0.0%">
                  <c:v>0.36957239725734353</c:v>
                </c:pt>
                <c:pt idx="1774" formatCode="0.0%">
                  <c:v>0.36957239725734353</c:v>
                </c:pt>
                <c:pt idx="1775" formatCode="0.0%">
                  <c:v>0.391078229697014</c:v>
                </c:pt>
                <c:pt idx="1776" formatCode="0.0%">
                  <c:v>0.3966616287261101</c:v>
                </c:pt>
                <c:pt idx="1777" formatCode="0.0%">
                  <c:v>0.40555611406591879</c:v>
                </c:pt>
                <c:pt idx="1778" formatCode="0.0%">
                  <c:v>0.39085099797369166</c:v>
                </c:pt>
                <c:pt idx="1779" formatCode="0.0%">
                  <c:v>0.37608095401710784</c:v>
                </c:pt>
                <c:pt idx="1780" formatCode="0.0%">
                  <c:v>0.37608095401710784</c:v>
                </c:pt>
                <c:pt idx="1781" formatCode="0.0%">
                  <c:v>0.37608095401710784</c:v>
                </c:pt>
                <c:pt idx="1782" formatCode="0.0%">
                  <c:v>0.3768924958861149</c:v>
                </c:pt>
                <c:pt idx="1783" formatCode="0.0%">
                  <c:v>0.34787179928394779</c:v>
                </c:pt>
                <c:pt idx="1784" formatCode="0.0%">
                  <c:v>0.36665085104375406</c:v>
                </c:pt>
                <c:pt idx="1785" formatCode="0.0%">
                  <c:v>0.37884019637173194</c:v>
                </c:pt>
                <c:pt idx="1786" formatCode="0.0%">
                  <c:v>0.35395835427182848</c:v>
                </c:pt>
                <c:pt idx="1787" formatCode="0.0%">
                  <c:v>0.35395835427182848</c:v>
                </c:pt>
                <c:pt idx="1788" formatCode="0.0%">
                  <c:v>0.35395835427182848</c:v>
                </c:pt>
                <c:pt idx="1789" formatCode="0.0%">
                  <c:v>0.37254264049790947</c:v>
                </c:pt>
                <c:pt idx="1790" formatCode="0.0%">
                  <c:v>0.37119548099535765</c:v>
                </c:pt>
                <c:pt idx="1791" formatCode="0.0%">
                  <c:v>0.38416390200274575</c:v>
                </c:pt>
                <c:pt idx="1792" formatCode="0.0%">
                  <c:v>0.38607913629876606</c:v>
                </c:pt>
                <c:pt idx="1793" formatCode="0.0%">
                  <c:v>0.38783206673582188</c:v>
                </c:pt>
                <c:pt idx="1794" formatCode="0.0%">
                  <c:v>0.38783206673582188</c:v>
                </c:pt>
                <c:pt idx="1795" formatCode="0.0%">
                  <c:v>0.38872476279172929</c:v>
                </c:pt>
                <c:pt idx="1796" formatCode="0.0%">
                  <c:v>0.37797996199058448</c:v>
                </c:pt>
                <c:pt idx="1797" formatCode="0.0%">
                  <c:v>0.37570764927220096</c:v>
                </c:pt>
                <c:pt idx="1798" formatCode="0.0%">
                  <c:v>0.37372748711182341</c:v>
                </c:pt>
                <c:pt idx="1799" formatCode="0.0%">
                  <c:v>0.37518826247603643</c:v>
                </c:pt>
                <c:pt idx="1800" formatCode="0.0%">
                  <c:v>0.38336859097111897</c:v>
                </c:pt>
                <c:pt idx="1801" formatCode="0.0%">
                  <c:v>0.38336859097111897</c:v>
                </c:pt>
                <c:pt idx="1802" formatCode="0.0%">
                  <c:v>0.38336859097111897</c:v>
                </c:pt>
                <c:pt idx="1803" formatCode="0.0%">
                  <c:v>0.37677888002445398</c:v>
                </c:pt>
                <c:pt idx="1804" formatCode="0.0%">
                  <c:v>0.36817654975748754</c:v>
                </c:pt>
                <c:pt idx="1805" formatCode="0.0%">
                  <c:v>0.3668943136044564</c:v>
                </c:pt>
                <c:pt idx="1806" formatCode="0.0%">
                  <c:v>0.37189340700270379</c:v>
                </c:pt>
                <c:pt idx="1807" formatCode="0.0%">
                  <c:v>0.37177979114104287</c:v>
                </c:pt>
                <c:pt idx="1808" formatCode="0.0%">
                  <c:v>0.37177979114104287</c:v>
                </c:pt>
                <c:pt idx="1809" formatCode="0.0%">
                  <c:v>0.37177979114104287</c:v>
                </c:pt>
                <c:pt idx="1810" formatCode="0.0%">
                  <c:v>0.36614769959980636</c:v>
                </c:pt>
                <c:pt idx="1811" formatCode="0.0%">
                  <c:v>0.35681497713589694</c:v>
                </c:pt>
                <c:pt idx="1812" formatCode="0.0%">
                  <c:v>0.3513127322937018</c:v>
                </c:pt>
                <c:pt idx="1813" formatCode="0.0%">
                  <c:v>0.35722074807040061</c:v>
                </c:pt>
                <c:pt idx="1814" formatCode="0.0%">
                  <c:v>0.36564454364102178</c:v>
                </c:pt>
                <c:pt idx="1815" formatCode="0.0%">
                  <c:v>0.36564454364102178</c:v>
                </c:pt>
                <c:pt idx="1816" formatCode="0.0%">
                  <c:v>0.36564454364102178</c:v>
                </c:pt>
                <c:pt idx="1817" formatCode="0.0%">
                  <c:v>0.36515761851961742</c:v>
                </c:pt>
                <c:pt idx="1818" formatCode="0.0%">
                  <c:v>0.37251017882314924</c:v>
                </c:pt>
                <c:pt idx="1819" formatCode="0.0%">
                  <c:v>0.37251017882314924</c:v>
                </c:pt>
                <c:pt idx="1820" formatCode="0.0%">
                  <c:v>0.37251017882314924</c:v>
                </c:pt>
                <c:pt idx="1821" formatCode="0.0%">
                  <c:v>0.37251017882314924</c:v>
                </c:pt>
                <c:pt idx="1822" formatCode="0.0%">
                  <c:v>0.37251017882314924</c:v>
                </c:pt>
                <c:pt idx="1823" formatCode="0.0%">
                  <c:v>0.37251017882314924</c:v>
                </c:pt>
                <c:pt idx="1824" formatCode="0.0%">
                  <c:v>0.37413325804632708</c:v>
                </c:pt>
                <c:pt idx="1825" formatCode="0.0%">
                  <c:v>0.37823965538866672</c:v>
                </c:pt>
                <c:pt idx="1826" formatCode="0.0%">
                  <c:v>0.37445787479393006</c:v>
                </c:pt>
              </c:numCache>
            </c:numRef>
          </c:val>
          <c:smooth val="0"/>
          <c:extLst>
            <c:ext xmlns:c16="http://schemas.microsoft.com/office/drawing/2014/chart" uri="{C3380CC4-5D6E-409C-BE32-E72D297353CC}">
              <c16:uniqueId val="{00000001-C592-43EE-8D08-8400729D0F8F}"/>
            </c:ext>
          </c:extLst>
        </c:ser>
        <c:ser>
          <c:idx val="2"/>
          <c:order val="1"/>
          <c:tx>
            <c:strRef>
              <c:f>Sheet1!$D$1</c:f>
              <c:strCache>
                <c:ptCount val="1"/>
                <c:pt idx="0">
                  <c:v>Peer #2</c:v>
                </c:pt>
              </c:strCache>
            </c:strRef>
          </c:tx>
          <c:spPr>
            <a:ln w="12700" cap="rnd">
              <a:solidFill>
                <a:srgbClr val="91A0B2"/>
              </a:solidFill>
              <a:round/>
            </a:ln>
            <a:effectLst/>
          </c:spPr>
          <c:marker>
            <c:symbol val="none"/>
          </c:marker>
          <c:cat>
            <c:numRef>
              <c:f>Sheet1!$A$2:$A$2069</c:f>
              <c:numCache>
                <c:formatCode>d\-mmm\-yy</c:formatCode>
                <c:ptCount val="2068"/>
                <c:pt idx="0">
                  <c:v>44196</c:v>
                </c:pt>
                <c:pt idx="1">
                  <c:v>44197</c:v>
                </c:pt>
                <c:pt idx="2">
                  <c:v>44198</c:v>
                </c:pt>
                <c:pt idx="3">
                  <c:v>44199</c:v>
                </c:pt>
                <c:pt idx="4">
                  <c:v>44200</c:v>
                </c:pt>
                <c:pt idx="5">
                  <c:v>44201</c:v>
                </c:pt>
                <c:pt idx="6">
                  <c:v>44202</c:v>
                </c:pt>
                <c:pt idx="7">
                  <c:v>44203</c:v>
                </c:pt>
                <c:pt idx="8">
                  <c:v>44204</c:v>
                </c:pt>
                <c:pt idx="9">
                  <c:v>44205</c:v>
                </c:pt>
                <c:pt idx="10">
                  <c:v>44206</c:v>
                </c:pt>
                <c:pt idx="11">
                  <c:v>44207</c:v>
                </c:pt>
                <c:pt idx="12">
                  <c:v>44208</c:v>
                </c:pt>
                <c:pt idx="13">
                  <c:v>44209</c:v>
                </c:pt>
                <c:pt idx="14">
                  <c:v>44210</c:v>
                </c:pt>
                <c:pt idx="15">
                  <c:v>44211</c:v>
                </c:pt>
                <c:pt idx="16">
                  <c:v>44212</c:v>
                </c:pt>
                <c:pt idx="17">
                  <c:v>44213</c:v>
                </c:pt>
                <c:pt idx="18">
                  <c:v>44214</c:v>
                </c:pt>
                <c:pt idx="19">
                  <c:v>44215</c:v>
                </c:pt>
                <c:pt idx="20">
                  <c:v>44216</c:v>
                </c:pt>
                <c:pt idx="21">
                  <c:v>44217</c:v>
                </c:pt>
                <c:pt idx="22">
                  <c:v>44218</c:v>
                </c:pt>
                <c:pt idx="23">
                  <c:v>44219</c:v>
                </c:pt>
                <c:pt idx="24">
                  <c:v>44220</c:v>
                </c:pt>
                <c:pt idx="25">
                  <c:v>44221</c:v>
                </c:pt>
                <c:pt idx="26">
                  <c:v>44222</c:v>
                </c:pt>
                <c:pt idx="27">
                  <c:v>44223</c:v>
                </c:pt>
                <c:pt idx="28">
                  <c:v>44224</c:v>
                </c:pt>
                <c:pt idx="29">
                  <c:v>44225</c:v>
                </c:pt>
                <c:pt idx="30">
                  <c:v>44226</c:v>
                </c:pt>
                <c:pt idx="31">
                  <c:v>44227</c:v>
                </c:pt>
                <c:pt idx="32">
                  <c:v>44228</c:v>
                </c:pt>
                <c:pt idx="33">
                  <c:v>44229</c:v>
                </c:pt>
                <c:pt idx="34">
                  <c:v>44230</c:v>
                </c:pt>
                <c:pt idx="35">
                  <c:v>44231</c:v>
                </c:pt>
                <c:pt idx="36">
                  <c:v>44232</c:v>
                </c:pt>
                <c:pt idx="37">
                  <c:v>44233</c:v>
                </c:pt>
                <c:pt idx="38">
                  <c:v>44234</c:v>
                </c:pt>
                <c:pt idx="39">
                  <c:v>44235</c:v>
                </c:pt>
                <c:pt idx="40">
                  <c:v>44236</c:v>
                </c:pt>
                <c:pt idx="41">
                  <c:v>44237</c:v>
                </c:pt>
                <c:pt idx="42">
                  <c:v>44238</c:v>
                </c:pt>
                <c:pt idx="43">
                  <c:v>44239</c:v>
                </c:pt>
                <c:pt idx="44">
                  <c:v>44240</c:v>
                </c:pt>
                <c:pt idx="45">
                  <c:v>44241</c:v>
                </c:pt>
                <c:pt idx="46">
                  <c:v>44242</c:v>
                </c:pt>
                <c:pt idx="47">
                  <c:v>44243</c:v>
                </c:pt>
                <c:pt idx="48">
                  <c:v>44244</c:v>
                </c:pt>
                <c:pt idx="49">
                  <c:v>44245</c:v>
                </c:pt>
                <c:pt idx="50">
                  <c:v>44246</c:v>
                </c:pt>
                <c:pt idx="51">
                  <c:v>44247</c:v>
                </c:pt>
                <c:pt idx="52">
                  <c:v>44248</c:v>
                </c:pt>
                <c:pt idx="53">
                  <c:v>44249</c:v>
                </c:pt>
                <c:pt idx="54">
                  <c:v>44250</c:v>
                </c:pt>
                <c:pt idx="55">
                  <c:v>44251</c:v>
                </c:pt>
                <c:pt idx="56">
                  <c:v>44252</c:v>
                </c:pt>
                <c:pt idx="57">
                  <c:v>44253</c:v>
                </c:pt>
                <c:pt idx="58">
                  <c:v>44254</c:v>
                </c:pt>
                <c:pt idx="59">
                  <c:v>44255</c:v>
                </c:pt>
                <c:pt idx="60">
                  <c:v>44256</c:v>
                </c:pt>
                <c:pt idx="61">
                  <c:v>44257</c:v>
                </c:pt>
                <c:pt idx="62">
                  <c:v>44258</c:v>
                </c:pt>
                <c:pt idx="63">
                  <c:v>44259</c:v>
                </c:pt>
                <c:pt idx="64">
                  <c:v>44260</c:v>
                </c:pt>
                <c:pt idx="65">
                  <c:v>44261</c:v>
                </c:pt>
                <c:pt idx="66">
                  <c:v>44262</c:v>
                </c:pt>
                <c:pt idx="67">
                  <c:v>44263</c:v>
                </c:pt>
                <c:pt idx="68">
                  <c:v>44264</c:v>
                </c:pt>
                <c:pt idx="69">
                  <c:v>44265</c:v>
                </c:pt>
                <c:pt idx="70">
                  <c:v>44266</c:v>
                </c:pt>
                <c:pt idx="71">
                  <c:v>44267</c:v>
                </c:pt>
                <c:pt idx="72">
                  <c:v>44268</c:v>
                </c:pt>
                <c:pt idx="73">
                  <c:v>44269</c:v>
                </c:pt>
                <c:pt idx="74">
                  <c:v>44270</c:v>
                </c:pt>
                <c:pt idx="75">
                  <c:v>44271</c:v>
                </c:pt>
                <c:pt idx="76">
                  <c:v>44272</c:v>
                </c:pt>
                <c:pt idx="77">
                  <c:v>44273</c:v>
                </c:pt>
                <c:pt idx="78">
                  <c:v>44274</c:v>
                </c:pt>
                <c:pt idx="79">
                  <c:v>44275</c:v>
                </c:pt>
                <c:pt idx="80">
                  <c:v>44276</c:v>
                </c:pt>
                <c:pt idx="81">
                  <c:v>44277</c:v>
                </c:pt>
                <c:pt idx="82">
                  <c:v>44278</c:v>
                </c:pt>
                <c:pt idx="83">
                  <c:v>44279</c:v>
                </c:pt>
                <c:pt idx="84">
                  <c:v>44280</c:v>
                </c:pt>
                <c:pt idx="85">
                  <c:v>44281</c:v>
                </c:pt>
                <c:pt idx="86">
                  <c:v>44282</c:v>
                </c:pt>
                <c:pt idx="87">
                  <c:v>44283</c:v>
                </c:pt>
                <c:pt idx="88">
                  <c:v>44284</c:v>
                </c:pt>
                <c:pt idx="89">
                  <c:v>44285</c:v>
                </c:pt>
                <c:pt idx="90">
                  <c:v>44286</c:v>
                </c:pt>
                <c:pt idx="91">
                  <c:v>44287</c:v>
                </c:pt>
                <c:pt idx="92">
                  <c:v>44288</c:v>
                </c:pt>
                <c:pt idx="93">
                  <c:v>44289</c:v>
                </c:pt>
                <c:pt idx="94">
                  <c:v>44290</c:v>
                </c:pt>
                <c:pt idx="95">
                  <c:v>44291</c:v>
                </c:pt>
                <c:pt idx="96">
                  <c:v>44292</c:v>
                </c:pt>
                <c:pt idx="97">
                  <c:v>44293</c:v>
                </c:pt>
                <c:pt idx="98">
                  <c:v>44294</c:v>
                </c:pt>
                <c:pt idx="99">
                  <c:v>44295</c:v>
                </c:pt>
                <c:pt idx="100">
                  <c:v>44296</c:v>
                </c:pt>
                <c:pt idx="101">
                  <c:v>44297</c:v>
                </c:pt>
                <c:pt idx="102">
                  <c:v>44298</c:v>
                </c:pt>
                <c:pt idx="103">
                  <c:v>44299</c:v>
                </c:pt>
                <c:pt idx="104">
                  <c:v>44300</c:v>
                </c:pt>
                <c:pt idx="105">
                  <c:v>44301</c:v>
                </c:pt>
                <c:pt idx="106">
                  <c:v>44302</c:v>
                </c:pt>
                <c:pt idx="107">
                  <c:v>44303</c:v>
                </c:pt>
                <c:pt idx="108">
                  <c:v>44304</c:v>
                </c:pt>
                <c:pt idx="109">
                  <c:v>44305</c:v>
                </c:pt>
                <c:pt idx="110">
                  <c:v>44306</c:v>
                </c:pt>
                <c:pt idx="111">
                  <c:v>44307</c:v>
                </c:pt>
                <c:pt idx="112">
                  <c:v>44308</c:v>
                </c:pt>
                <c:pt idx="113">
                  <c:v>44309</c:v>
                </c:pt>
                <c:pt idx="114">
                  <c:v>44310</c:v>
                </c:pt>
                <c:pt idx="115">
                  <c:v>44311</c:v>
                </c:pt>
                <c:pt idx="116">
                  <c:v>44312</c:v>
                </c:pt>
                <c:pt idx="117">
                  <c:v>44313</c:v>
                </c:pt>
                <c:pt idx="118">
                  <c:v>44314</c:v>
                </c:pt>
                <c:pt idx="119">
                  <c:v>44315</c:v>
                </c:pt>
                <c:pt idx="120">
                  <c:v>44316</c:v>
                </c:pt>
                <c:pt idx="121">
                  <c:v>44317</c:v>
                </c:pt>
                <c:pt idx="122">
                  <c:v>44318</c:v>
                </c:pt>
                <c:pt idx="123">
                  <c:v>44319</c:v>
                </c:pt>
                <c:pt idx="124">
                  <c:v>44320</c:v>
                </c:pt>
                <c:pt idx="125">
                  <c:v>44321</c:v>
                </c:pt>
                <c:pt idx="126">
                  <c:v>44322</c:v>
                </c:pt>
                <c:pt idx="127">
                  <c:v>44323</c:v>
                </c:pt>
                <c:pt idx="128">
                  <c:v>44324</c:v>
                </c:pt>
                <c:pt idx="129">
                  <c:v>44325</c:v>
                </c:pt>
                <c:pt idx="130">
                  <c:v>44326</c:v>
                </c:pt>
                <c:pt idx="131">
                  <c:v>44327</c:v>
                </c:pt>
                <c:pt idx="132">
                  <c:v>44328</c:v>
                </c:pt>
                <c:pt idx="133">
                  <c:v>44329</c:v>
                </c:pt>
                <c:pt idx="134">
                  <c:v>44330</c:v>
                </c:pt>
                <c:pt idx="135">
                  <c:v>44331</c:v>
                </c:pt>
                <c:pt idx="136">
                  <c:v>44332</c:v>
                </c:pt>
                <c:pt idx="137">
                  <c:v>44333</c:v>
                </c:pt>
                <c:pt idx="138">
                  <c:v>44334</c:v>
                </c:pt>
                <c:pt idx="139">
                  <c:v>44335</c:v>
                </c:pt>
                <c:pt idx="140">
                  <c:v>44336</c:v>
                </c:pt>
                <c:pt idx="141">
                  <c:v>44337</c:v>
                </c:pt>
                <c:pt idx="142">
                  <c:v>44338</c:v>
                </c:pt>
                <c:pt idx="143">
                  <c:v>44339</c:v>
                </c:pt>
                <c:pt idx="144">
                  <c:v>44340</c:v>
                </c:pt>
                <c:pt idx="145">
                  <c:v>44341</c:v>
                </c:pt>
                <c:pt idx="146">
                  <c:v>44342</c:v>
                </c:pt>
                <c:pt idx="147">
                  <c:v>44343</c:v>
                </c:pt>
                <c:pt idx="148">
                  <c:v>44344</c:v>
                </c:pt>
                <c:pt idx="149">
                  <c:v>44345</c:v>
                </c:pt>
                <c:pt idx="150">
                  <c:v>44346</c:v>
                </c:pt>
                <c:pt idx="151">
                  <c:v>44347</c:v>
                </c:pt>
                <c:pt idx="152">
                  <c:v>44348</c:v>
                </c:pt>
                <c:pt idx="153">
                  <c:v>44349</c:v>
                </c:pt>
                <c:pt idx="154">
                  <c:v>44350</c:v>
                </c:pt>
                <c:pt idx="155">
                  <c:v>44351</c:v>
                </c:pt>
                <c:pt idx="156">
                  <c:v>44352</c:v>
                </c:pt>
                <c:pt idx="157">
                  <c:v>44353</c:v>
                </c:pt>
                <c:pt idx="158">
                  <c:v>44354</c:v>
                </c:pt>
                <c:pt idx="159">
                  <c:v>44355</c:v>
                </c:pt>
                <c:pt idx="160">
                  <c:v>44356</c:v>
                </c:pt>
                <c:pt idx="161">
                  <c:v>44357</c:v>
                </c:pt>
                <c:pt idx="162">
                  <c:v>44358</c:v>
                </c:pt>
                <c:pt idx="163">
                  <c:v>44359</c:v>
                </c:pt>
                <c:pt idx="164">
                  <c:v>44360</c:v>
                </c:pt>
                <c:pt idx="165">
                  <c:v>44361</c:v>
                </c:pt>
                <c:pt idx="166">
                  <c:v>44362</c:v>
                </c:pt>
                <c:pt idx="167">
                  <c:v>44363</c:v>
                </c:pt>
                <c:pt idx="168">
                  <c:v>44364</c:v>
                </c:pt>
                <c:pt idx="169">
                  <c:v>44365</c:v>
                </c:pt>
                <c:pt idx="170">
                  <c:v>44366</c:v>
                </c:pt>
                <c:pt idx="171">
                  <c:v>44367</c:v>
                </c:pt>
                <c:pt idx="172">
                  <c:v>44368</c:v>
                </c:pt>
                <c:pt idx="173">
                  <c:v>44369</c:v>
                </c:pt>
                <c:pt idx="174">
                  <c:v>44370</c:v>
                </c:pt>
                <c:pt idx="175">
                  <c:v>44371</c:v>
                </c:pt>
                <c:pt idx="176">
                  <c:v>44372</c:v>
                </c:pt>
                <c:pt idx="177">
                  <c:v>44373</c:v>
                </c:pt>
                <c:pt idx="178">
                  <c:v>44374</c:v>
                </c:pt>
                <c:pt idx="179">
                  <c:v>44375</c:v>
                </c:pt>
                <c:pt idx="180">
                  <c:v>44376</c:v>
                </c:pt>
                <c:pt idx="181">
                  <c:v>44377</c:v>
                </c:pt>
                <c:pt idx="182">
                  <c:v>44378</c:v>
                </c:pt>
                <c:pt idx="183">
                  <c:v>44379</c:v>
                </c:pt>
                <c:pt idx="184">
                  <c:v>44380</c:v>
                </c:pt>
                <c:pt idx="185">
                  <c:v>44381</c:v>
                </c:pt>
                <c:pt idx="186">
                  <c:v>44382</c:v>
                </c:pt>
                <c:pt idx="187">
                  <c:v>44383</c:v>
                </c:pt>
                <c:pt idx="188">
                  <c:v>44384</c:v>
                </c:pt>
                <c:pt idx="189">
                  <c:v>44385</c:v>
                </c:pt>
                <c:pt idx="190">
                  <c:v>44386</c:v>
                </c:pt>
                <c:pt idx="191">
                  <c:v>44387</c:v>
                </c:pt>
                <c:pt idx="192">
                  <c:v>44388</c:v>
                </c:pt>
                <c:pt idx="193">
                  <c:v>44389</c:v>
                </c:pt>
                <c:pt idx="194">
                  <c:v>44390</c:v>
                </c:pt>
                <c:pt idx="195">
                  <c:v>44391</c:v>
                </c:pt>
                <c:pt idx="196">
                  <c:v>44392</c:v>
                </c:pt>
                <c:pt idx="197">
                  <c:v>44393</c:v>
                </c:pt>
                <c:pt idx="198">
                  <c:v>44394</c:v>
                </c:pt>
                <c:pt idx="199">
                  <c:v>44395</c:v>
                </c:pt>
                <c:pt idx="200">
                  <c:v>44396</c:v>
                </c:pt>
                <c:pt idx="201">
                  <c:v>44397</c:v>
                </c:pt>
                <c:pt idx="202">
                  <c:v>44398</c:v>
                </c:pt>
                <c:pt idx="203">
                  <c:v>44399</c:v>
                </c:pt>
                <c:pt idx="204">
                  <c:v>44400</c:v>
                </c:pt>
                <c:pt idx="205">
                  <c:v>44401</c:v>
                </c:pt>
                <c:pt idx="206">
                  <c:v>44402</c:v>
                </c:pt>
                <c:pt idx="207">
                  <c:v>44403</c:v>
                </c:pt>
                <c:pt idx="208">
                  <c:v>44404</c:v>
                </c:pt>
                <c:pt idx="209">
                  <c:v>44405</c:v>
                </c:pt>
                <c:pt idx="210">
                  <c:v>44406</c:v>
                </c:pt>
                <c:pt idx="211">
                  <c:v>44407</c:v>
                </c:pt>
                <c:pt idx="212">
                  <c:v>44408</c:v>
                </c:pt>
                <c:pt idx="213">
                  <c:v>44409</c:v>
                </c:pt>
                <c:pt idx="214">
                  <c:v>44410</c:v>
                </c:pt>
                <c:pt idx="215">
                  <c:v>44411</c:v>
                </c:pt>
                <c:pt idx="216">
                  <c:v>44412</c:v>
                </c:pt>
                <c:pt idx="217">
                  <c:v>44413</c:v>
                </c:pt>
                <c:pt idx="218">
                  <c:v>44414</c:v>
                </c:pt>
                <c:pt idx="219">
                  <c:v>44415</c:v>
                </c:pt>
                <c:pt idx="220">
                  <c:v>44416</c:v>
                </c:pt>
                <c:pt idx="221">
                  <c:v>44417</c:v>
                </c:pt>
                <c:pt idx="222">
                  <c:v>44418</c:v>
                </c:pt>
                <c:pt idx="223">
                  <c:v>44419</c:v>
                </c:pt>
                <c:pt idx="224">
                  <c:v>44420</c:v>
                </c:pt>
                <c:pt idx="225">
                  <c:v>44421</c:v>
                </c:pt>
                <c:pt idx="226">
                  <c:v>44422</c:v>
                </c:pt>
                <c:pt idx="227">
                  <c:v>44423</c:v>
                </c:pt>
                <c:pt idx="228">
                  <c:v>44424</c:v>
                </c:pt>
                <c:pt idx="229">
                  <c:v>44425</c:v>
                </c:pt>
                <c:pt idx="230">
                  <c:v>44426</c:v>
                </c:pt>
                <c:pt idx="231">
                  <c:v>44427</c:v>
                </c:pt>
                <c:pt idx="232">
                  <c:v>44428</c:v>
                </c:pt>
                <c:pt idx="233">
                  <c:v>44429</c:v>
                </c:pt>
                <c:pt idx="234">
                  <c:v>44430</c:v>
                </c:pt>
                <c:pt idx="235">
                  <c:v>44431</c:v>
                </c:pt>
                <c:pt idx="236">
                  <c:v>44432</c:v>
                </c:pt>
                <c:pt idx="237">
                  <c:v>44433</c:v>
                </c:pt>
                <c:pt idx="238">
                  <c:v>44434</c:v>
                </c:pt>
                <c:pt idx="239">
                  <c:v>44435</c:v>
                </c:pt>
                <c:pt idx="240">
                  <c:v>44436</c:v>
                </c:pt>
                <c:pt idx="241">
                  <c:v>44437</c:v>
                </c:pt>
                <c:pt idx="242">
                  <c:v>44438</c:v>
                </c:pt>
                <c:pt idx="243">
                  <c:v>44439</c:v>
                </c:pt>
                <c:pt idx="244">
                  <c:v>44440</c:v>
                </c:pt>
                <c:pt idx="245">
                  <c:v>44441</c:v>
                </c:pt>
                <c:pt idx="246">
                  <c:v>44442</c:v>
                </c:pt>
                <c:pt idx="247">
                  <c:v>44443</c:v>
                </c:pt>
                <c:pt idx="248">
                  <c:v>44444</c:v>
                </c:pt>
                <c:pt idx="249">
                  <c:v>44445</c:v>
                </c:pt>
                <c:pt idx="250">
                  <c:v>44446</c:v>
                </c:pt>
                <c:pt idx="251">
                  <c:v>44447</c:v>
                </c:pt>
                <c:pt idx="252">
                  <c:v>44448</c:v>
                </c:pt>
                <c:pt idx="253">
                  <c:v>44449</c:v>
                </c:pt>
                <c:pt idx="254">
                  <c:v>44450</c:v>
                </c:pt>
                <c:pt idx="255">
                  <c:v>44451</c:v>
                </c:pt>
                <c:pt idx="256">
                  <c:v>44452</c:v>
                </c:pt>
                <c:pt idx="257">
                  <c:v>44453</c:v>
                </c:pt>
                <c:pt idx="258">
                  <c:v>44454</c:v>
                </c:pt>
                <c:pt idx="259">
                  <c:v>44455</c:v>
                </c:pt>
                <c:pt idx="260">
                  <c:v>44456</c:v>
                </c:pt>
                <c:pt idx="261">
                  <c:v>44457</c:v>
                </c:pt>
                <c:pt idx="262">
                  <c:v>44458</c:v>
                </c:pt>
                <c:pt idx="263">
                  <c:v>44459</c:v>
                </c:pt>
                <c:pt idx="264">
                  <c:v>44460</c:v>
                </c:pt>
                <c:pt idx="265">
                  <c:v>44461</c:v>
                </c:pt>
                <c:pt idx="266">
                  <c:v>44462</c:v>
                </c:pt>
                <c:pt idx="267">
                  <c:v>44463</c:v>
                </c:pt>
                <c:pt idx="268">
                  <c:v>44464</c:v>
                </c:pt>
                <c:pt idx="269">
                  <c:v>44465</c:v>
                </c:pt>
                <c:pt idx="270">
                  <c:v>44466</c:v>
                </c:pt>
                <c:pt idx="271">
                  <c:v>44467</c:v>
                </c:pt>
                <c:pt idx="272">
                  <c:v>44468</c:v>
                </c:pt>
                <c:pt idx="273">
                  <c:v>44469</c:v>
                </c:pt>
                <c:pt idx="274">
                  <c:v>44470</c:v>
                </c:pt>
                <c:pt idx="275">
                  <c:v>44471</c:v>
                </c:pt>
                <c:pt idx="276">
                  <c:v>44472</c:v>
                </c:pt>
                <c:pt idx="277">
                  <c:v>44473</c:v>
                </c:pt>
                <c:pt idx="278">
                  <c:v>44474</c:v>
                </c:pt>
                <c:pt idx="279">
                  <c:v>44475</c:v>
                </c:pt>
                <c:pt idx="280">
                  <c:v>44476</c:v>
                </c:pt>
                <c:pt idx="281">
                  <c:v>44477</c:v>
                </c:pt>
                <c:pt idx="282">
                  <c:v>44478</c:v>
                </c:pt>
                <c:pt idx="283">
                  <c:v>44479</c:v>
                </c:pt>
                <c:pt idx="284">
                  <c:v>44480</c:v>
                </c:pt>
                <c:pt idx="285">
                  <c:v>44481</c:v>
                </c:pt>
                <c:pt idx="286">
                  <c:v>44482</c:v>
                </c:pt>
                <c:pt idx="287">
                  <c:v>44483</c:v>
                </c:pt>
                <c:pt idx="288">
                  <c:v>44484</c:v>
                </c:pt>
                <c:pt idx="289">
                  <c:v>44485</c:v>
                </c:pt>
                <c:pt idx="290">
                  <c:v>44486</c:v>
                </c:pt>
                <c:pt idx="291">
                  <c:v>44487</c:v>
                </c:pt>
                <c:pt idx="292">
                  <c:v>44488</c:v>
                </c:pt>
                <c:pt idx="293">
                  <c:v>44489</c:v>
                </c:pt>
                <c:pt idx="294">
                  <c:v>44490</c:v>
                </c:pt>
                <c:pt idx="295">
                  <c:v>44491</c:v>
                </c:pt>
                <c:pt idx="296">
                  <c:v>44492</c:v>
                </c:pt>
                <c:pt idx="297">
                  <c:v>44493</c:v>
                </c:pt>
                <c:pt idx="298">
                  <c:v>44494</c:v>
                </c:pt>
                <c:pt idx="299">
                  <c:v>44495</c:v>
                </c:pt>
                <c:pt idx="300">
                  <c:v>44496</c:v>
                </c:pt>
                <c:pt idx="301">
                  <c:v>44497</c:v>
                </c:pt>
                <c:pt idx="302">
                  <c:v>44498</c:v>
                </c:pt>
                <c:pt idx="303">
                  <c:v>44499</c:v>
                </c:pt>
                <c:pt idx="304">
                  <c:v>44500</c:v>
                </c:pt>
                <c:pt idx="305">
                  <c:v>44501</c:v>
                </c:pt>
                <c:pt idx="306">
                  <c:v>44502</c:v>
                </c:pt>
                <c:pt idx="307">
                  <c:v>44503</c:v>
                </c:pt>
                <c:pt idx="308">
                  <c:v>44504</c:v>
                </c:pt>
                <c:pt idx="309">
                  <c:v>44505</c:v>
                </c:pt>
                <c:pt idx="310">
                  <c:v>44506</c:v>
                </c:pt>
                <c:pt idx="311">
                  <c:v>44507</c:v>
                </c:pt>
                <c:pt idx="312">
                  <c:v>44508</c:v>
                </c:pt>
                <c:pt idx="313">
                  <c:v>44509</c:v>
                </c:pt>
                <c:pt idx="314">
                  <c:v>44510</c:v>
                </c:pt>
                <c:pt idx="315">
                  <c:v>44511</c:v>
                </c:pt>
                <c:pt idx="316">
                  <c:v>44512</c:v>
                </c:pt>
                <c:pt idx="317">
                  <c:v>44513</c:v>
                </c:pt>
                <c:pt idx="318">
                  <c:v>44514</c:v>
                </c:pt>
                <c:pt idx="319">
                  <c:v>44515</c:v>
                </c:pt>
                <c:pt idx="320">
                  <c:v>44516</c:v>
                </c:pt>
                <c:pt idx="321">
                  <c:v>44517</c:v>
                </c:pt>
                <c:pt idx="322">
                  <c:v>44518</c:v>
                </c:pt>
                <c:pt idx="323">
                  <c:v>44519</c:v>
                </c:pt>
                <c:pt idx="324">
                  <c:v>44520</c:v>
                </c:pt>
                <c:pt idx="325">
                  <c:v>44521</c:v>
                </c:pt>
                <c:pt idx="326">
                  <c:v>44522</c:v>
                </c:pt>
                <c:pt idx="327">
                  <c:v>44523</c:v>
                </c:pt>
                <c:pt idx="328">
                  <c:v>44524</c:v>
                </c:pt>
                <c:pt idx="329">
                  <c:v>44525</c:v>
                </c:pt>
                <c:pt idx="330">
                  <c:v>44526</c:v>
                </c:pt>
                <c:pt idx="331">
                  <c:v>44527</c:v>
                </c:pt>
                <c:pt idx="332">
                  <c:v>44528</c:v>
                </c:pt>
                <c:pt idx="333">
                  <c:v>44529</c:v>
                </c:pt>
                <c:pt idx="334">
                  <c:v>44530</c:v>
                </c:pt>
                <c:pt idx="335">
                  <c:v>44531</c:v>
                </c:pt>
                <c:pt idx="336">
                  <c:v>44532</c:v>
                </c:pt>
                <c:pt idx="337">
                  <c:v>44533</c:v>
                </c:pt>
                <c:pt idx="338">
                  <c:v>44534</c:v>
                </c:pt>
                <c:pt idx="339">
                  <c:v>44535</c:v>
                </c:pt>
                <c:pt idx="340">
                  <c:v>44536</c:v>
                </c:pt>
                <c:pt idx="341">
                  <c:v>44537</c:v>
                </c:pt>
                <c:pt idx="342">
                  <c:v>44538</c:v>
                </c:pt>
                <c:pt idx="343">
                  <c:v>44539</c:v>
                </c:pt>
                <c:pt idx="344">
                  <c:v>44540</c:v>
                </c:pt>
                <c:pt idx="345">
                  <c:v>44541</c:v>
                </c:pt>
                <c:pt idx="346">
                  <c:v>44542</c:v>
                </c:pt>
                <c:pt idx="347">
                  <c:v>44543</c:v>
                </c:pt>
                <c:pt idx="348">
                  <c:v>44544</c:v>
                </c:pt>
                <c:pt idx="349">
                  <c:v>44545</c:v>
                </c:pt>
                <c:pt idx="350">
                  <c:v>44546</c:v>
                </c:pt>
                <c:pt idx="351">
                  <c:v>44547</c:v>
                </c:pt>
                <c:pt idx="352">
                  <c:v>44548</c:v>
                </c:pt>
                <c:pt idx="353">
                  <c:v>44549</c:v>
                </c:pt>
                <c:pt idx="354">
                  <c:v>44550</c:v>
                </c:pt>
                <c:pt idx="355">
                  <c:v>44551</c:v>
                </c:pt>
                <c:pt idx="356">
                  <c:v>44552</c:v>
                </c:pt>
                <c:pt idx="357">
                  <c:v>44553</c:v>
                </c:pt>
                <c:pt idx="358">
                  <c:v>44554</c:v>
                </c:pt>
                <c:pt idx="359">
                  <c:v>44555</c:v>
                </c:pt>
                <c:pt idx="360">
                  <c:v>44556</c:v>
                </c:pt>
                <c:pt idx="361">
                  <c:v>44557</c:v>
                </c:pt>
                <c:pt idx="362">
                  <c:v>44558</c:v>
                </c:pt>
                <c:pt idx="363">
                  <c:v>44559</c:v>
                </c:pt>
                <c:pt idx="364">
                  <c:v>44560</c:v>
                </c:pt>
                <c:pt idx="365">
                  <c:v>44561</c:v>
                </c:pt>
                <c:pt idx="366">
                  <c:v>44562</c:v>
                </c:pt>
                <c:pt idx="367">
                  <c:v>44563</c:v>
                </c:pt>
                <c:pt idx="368">
                  <c:v>44564</c:v>
                </c:pt>
                <c:pt idx="369">
                  <c:v>44565</c:v>
                </c:pt>
                <c:pt idx="370">
                  <c:v>44566</c:v>
                </c:pt>
                <c:pt idx="371">
                  <c:v>44567</c:v>
                </c:pt>
                <c:pt idx="372">
                  <c:v>44568</c:v>
                </c:pt>
                <c:pt idx="373">
                  <c:v>44569</c:v>
                </c:pt>
                <c:pt idx="374">
                  <c:v>44570</c:v>
                </c:pt>
                <c:pt idx="375">
                  <c:v>44571</c:v>
                </c:pt>
                <c:pt idx="376">
                  <c:v>44572</c:v>
                </c:pt>
                <c:pt idx="377">
                  <c:v>44573</c:v>
                </c:pt>
                <c:pt idx="378">
                  <c:v>44574</c:v>
                </c:pt>
                <c:pt idx="379">
                  <c:v>44575</c:v>
                </c:pt>
                <c:pt idx="380">
                  <c:v>44576</c:v>
                </c:pt>
                <c:pt idx="381">
                  <c:v>44577</c:v>
                </c:pt>
                <c:pt idx="382">
                  <c:v>44578</c:v>
                </c:pt>
                <c:pt idx="383">
                  <c:v>44579</c:v>
                </c:pt>
                <c:pt idx="384">
                  <c:v>44580</c:v>
                </c:pt>
                <c:pt idx="385">
                  <c:v>44581</c:v>
                </c:pt>
                <c:pt idx="386">
                  <c:v>44582</c:v>
                </c:pt>
                <c:pt idx="387">
                  <c:v>44583</c:v>
                </c:pt>
                <c:pt idx="388">
                  <c:v>44584</c:v>
                </c:pt>
                <c:pt idx="389">
                  <c:v>44585</c:v>
                </c:pt>
                <c:pt idx="390">
                  <c:v>44586</c:v>
                </c:pt>
                <c:pt idx="391">
                  <c:v>44587</c:v>
                </c:pt>
                <c:pt idx="392">
                  <c:v>44588</c:v>
                </c:pt>
                <c:pt idx="393">
                  <c:v>44589</c:v>
                </c:pt>
                <c:pt idx="394">
                  <c:v>44590</c:v>
                </c:pt>
                <c:pt idx="395">
                  <c:v>44591</c:v>
                </c:pt>
                <c:pt idx="396">
                  <c:v>44592</c:v>
                </c:pt>
                <c:pt idx="397">
                  <c:v>44593</c:v>
                </c:pt>
                <c:pt idx="398">
                  <c:v>44594</c:v>
                </c:pt>
                <c:pt idx="399">
                  <c:v>44595</c:v>
                </c:pt>
                <c:pt idx="400">
                  <c:v>44596</c:v>
                </c:pt>
                <c:pt idx="401">
                  <c:v>44597</c:v>
                </c:pt>
                <c:pt idx="402">
                  <c:v>44598</c:v>
                </c:pt>
                <c:pt idx="403">
                  <c:v>44599</c:v>
                </c:pt>
                <c:pt idx="404">
                  <c:v>44600</c:v>
                </c:pt>
                <c:pt idx="405">
                  <c:v>44601</c:v>
                </c:pt>
                <c:pt idx="406">
                  <c:v>44602</c:v>
                </c:pt>
                <c:pt idx="407">
                  <c:v>44603</c:v>
                </c:pt>
                <c:pt idx="408">
                  <c:v>44604</c:v>
                </c:pt>
                <c:pt idx="409">
                  <c:v>44605</c:v>
                </c:pt>
                <c:pt idx="410">
                  <c:v>44606</c:v>
                </c:pt>
                <c:pt idx="411">
                  <c:v>44607</c:v>
                </c:pt>
                <c:pt idx="412">
                  <c:v>44608</c:v>
                </c:pt>
                <c:pt idx="413">
                  <c:v>44609</c:v>
                </c:pt>
                <c:pt idx="414">
                  <c:v>44610</c:v>
                </c:pt>
                <c:pt idx="415">
                  <c:v>44611</c:v>
                </c:pt>
                <c:pt idx="416">
                  <c:v>44612</c:v>
                </c:pt>
                <c:pt idx="417">
                  <c:v>44613</c:v>
                </c:pt>
                <c:pt idx="418">
                  <c:v>44614</c:v>
                </c:pt>
                <c:pt idx="419">
                  <c:v>44615</c:v>
                </c:pt>
                <c:pt idx="420">
                  <c:v>44616</c:v>
                </c:pt>
                <c:pt idx="421">
                  <c:v>44617</c:v>
                </c:pt>
                <c:pt idx="422">
                  <c:v>44618</c:v>
                </c:pt>
                <c:pt idx="423">
                  <c:v>44619</c:v>
                </c:pt>
                <c:pt idx="424">
                  <c:v>44620</c:v>
                </c:pt>
                <c:pt idx="425">
                  <c:v>44621</c:v>
                </c:pt>
                <c:pt idx="426">
                  <c:v>44622</c:v>
                </c:pt>
                <c:pt idx="427">
                  <c:v>44623</c:v>
                </c:pt>
                <c:pt idx="428">
                  <c:v>44624</c:v>
                </c:pt>
                <c:pt idx="429">
                  <c:v>44625</c:v>
                </c:pt>
                <c:pt idx="430">
                  <c:v>44626</c:v>
                </c:pt>
                <c:pt idx="431">
                  <c:v>44627</c:v>
                </c:pt>
                <c:pt idx="432">
                  <c:v>44628</c:v>
                </c:pt>
                <c:pt idx="433">
                  <c:v>44629</c:v>
                </c:pt>
                <c:pt idx="434">
                  <c:v>44630</c:v>
                </c:pt>
                <c:pt idx="435">
                  <c:v>44631</c:v>
                </c:pt>
                <c:pt idx="436">
                  <c:v>44632</c:v>
                </c:pt>
                <c:pt idx="437">
                  <c:v>44633</c:v>
                </c:pt>
                <c:pt idx="438">
                  <c:v>44634</c:v>
                </c:pt>
                <c:pt idx="439">
                  <c:v>44635</c:v>
                </c:pt>
                <c:pt idx="440">
                  <c:v>44636</c:v>
                </c:pt>
                <c:pt idx="441">
                  <c:v>44637</c:v>
                </c:pt>
                <c:pt idx="442">
                  <c:v>44638</c:v>
                </c:pt>
                <c:pt idx="443">
                  <c:v>44639</c:v>
                </c:pt>
                <c:pt idx="444">
                  <c:v>44640</c:v>
                </c:pt>
                <c:pt idx="445">
                  <c:v>44641</c:v>
                </c:pt>
                <c:pt idx="446">
                  <c:v>44642</c:v>
                </c:pt>
                <c:pt idx="447">
                  <c:v>44643</c:v>
                </c:pt>
                <c:pt idx="448">
                  <c:v>44644</c:v>
                </c:pt>
                <c:pt idx="449">
                  <c:v>44645</c:v>
                </c:pt>
                <c:pt idx="450">
                  <c:v>44646</c:v>
                </c:pt>
                <c:pt idx="451">
                  <c:v>44647</c:v>
                </c:pt>
                <c:pt idx="452">
                  <c:v>44648</c:v>
                </c:pt>
                <c:pt idx="453">
                  <c:v>44649</c:v>
                </c:pt>
                <c:pt idx="454">
                  <c:v>44650</c:v>
                </c:pt>
                <c:pt idx="455">
                  <c:v>44651</c:v>
                </c:pt>
                <c:pt idx="456">
                  <c:v>44652</c:v>
                </c:pt>
                <c:pt idx="457">
                  <c:v>44653</c:v>
                </c:pt>
                <c:pt idx="458">
                  <c:v>44654</c:v>
                </c:pt>
                <c:pt idx="459">
                  <c:v>44655</c:v>
                </c:pt>
                <c:pt idx="460">
                  <c:v>44656</c:v>
                </c:pt>
                <c:pt idx="461">
                  <c:v>44657</c:v>
                </c:pt>
                <c:pt idx="462">
                  <c:v>44658</c:v>
                </c:pt>
                <c:pt idx="463">
                  <c:v>44659</c:v>
                </c:pt>
                <c:pt idx="464">
                  <c:v>44660</c:v>
                </c:pt>
                <c:pt idx="465">
                  <c:v>44661</c:v>
                </c:pt>
                <c:pt idx="466">
                  <c:v>44662</c:v>
                </c:pt>
                <c:pt idx="467">
                  <c:v>44663</c:v>
                </c:pt>
                <c:pt idx="468">
                  <c:v>44664</c:v>
                </c:pt>
                <c:pt idx="469">
                  <c:v>44665</c:v>
                </c:pt>
                <c:pt idx="470">
                  <c:v>44666</c:v>
                </c:pt>
                <c:pt idx="471">
                  <c:v>44667</c:v>
                </c:pt>
                <c:pt idx="472">
                  <c:v>44668</c:v>
                </c:pt>
                <c:pt idx="473">
                  <c:v>44669</c:v>
                </c:pt>
                <c:pt idx="474">
                  <c:v>44670</c:v>
                </c:pt>
                <c:pt idx="475">
                  <c:v>44671</c:v>
                </c:pt>
                <c:pt idx="476">
                  <c:v>44672</c:v>
                </c:pt>
                <c:pt idx="477">
                  <c:v>44673</c:v>
                </c:pt>
                <c:pt idx="478">
                  <c:v>44674</c:v>
                </c:pt>
                <c:pt idx="479">
                  <c:v>44675</c:v>
                </c:pt>
                <c:pt idx="480">
                  <c:v>44676</c:v>
                </c:pt>
                <c:pt idx="481">
                  <c:v>44677</c:v>
                </c:pt>
                <c:pt idx="482">
                  <c:v>44678</c:v>
                </c:pt>
                <c:pt idx="483">
                  <c:v>44679</c:v>
                </c:pt>
                <c:pt idx="484">
                  <c:v>44680</c:v>
                </c:pt>
                <c:pt idx="485">
                  <c:v>44681</c:v>
                </c:pt>
                <c:pt idx="486">
                  <c:v>44682</c:v>
                </c:pt>
                <c:pt idx="487">
                  <c:v>44683</c:v>
                </c:pt>
                <c:pt idx="488">
                  <c:v>44684</c:v>
                </c:pt>
                <c:pt idx="489">
                  <c:v>44685</c:v>
                </c:pt>
                <c:pt idx="490">
                  <c:v>44686</c:v>
                </c:pt>
                <c:pt idx="491">
                  <c:v>44687</c:v>
                </c:pt>
                <c:pt idx="492">
                  <c:v>44688</c:v>
                </c:pt>
                <c:pt idx="493">
                  <c:v>44689</c:v>
                </c:pt>
                <c:pt idx="494">
                  <c:v>44690</c:v>
                </c:pt>
                <c:pt idx="495">
                  <c:v>44691</c:v>
                </c:pt>
                <c:pt idx="496">
                  <c:v>44692</c:v>
                </c:pt>
                <c:pt idx="497">
                  <c:v>44693</c:v>
                </c:pt>
                <c:pt idx="498">
                  <c:v>44694</c:v>
                </c:pt>
                <c:pt idx="499">
                  <c:v>44695</c:v>
                </c:pt>
                <c:pt idx="500">
                  <c:v>44696</c:v>
                </c:pt>
                <c:pt idx="501">
                  <c:v>44697</c:v>
                </c:pt>
                <c:pt idx="502">
                  <c:v>44698</c:v>
                </c:pt>
                <c:pt idx="503">
                  <c:v>44699</c:v>
                </c:pt>
                <c:pt idx="504">
                  <c:v>44700</c:v>
                </c:pt>
                <c:pt idx="505">
                  <c:v>44701</c:v>
                </c:pt>
                <c:pt idx="506">
                  <c:v>44702</c:v>
                </c:pt>
                <c:pt idx="507">
                  <c:v>44703</c:v>
                </c:pt>
                <c:pt idx="508">
                  <c:v>44704</c:v>
                </c:pt>
                <c:pt idx="509">
                  <c:v>44705</c:v>
                </c:pt>
                <c:pt idx="510">
                  <c:v>44706</c:v>
                </c:pt>
                <c:pt idx="511">
                  <c:v>44707</c:v>
                </c:pt>
                <c:pt idx="512">
                  <c:v>44708</c:v>
                </c:pt>
                <c:pt idx="513">
                  <c:v>44709</c:v>
                </c:pt>
                <c:pt idx="514">
                  <c:v>44710</c:v>
                </c:pt>
                <c:pt idx="515">
                  <c:v>44711</c:v>
                </c:pt>
                <c:pt idx="516">
                  <c:v>44712</c:v>
                </c:pt>
                <c:pt idx="517">
                  <c:v>44713</c:v>
                </c:pt>
                <c:pt idx="518">
                  <c:v>44714</c:v>
                </c:pt>
                <c:pt idx="519">
                  <c:v>44715</c:v>
                </c:pt>
                <c:pt idx="520">
                  <c:v>44716</c:v>
                </c:pt>
                <c:pt idx="521">
                  <c:v>44717</c:v>
                </c:pt>
                <c:pt idx="522">
                  <c:v>44718</c:v>
                </c:pt>
                <c:pt idx="523">
                  <c:v>44719</c:v>
                </c:pt>
                <c:pt idx="524">
                  <c:v>44720</c:v>
                </c:pt>
                <c:pt idx="525">
                  <c:v>44721</c:v>
                </c:pt>
                <c:pt idx="526">
                  <c:v>44722</c:v>
                </c:pt>
                <c:pt idx="527">
                  <c:v>44723</c:v>
                </c:pt>
                <c:pt idx="528">
                  <c:v>44724</c:v>
                </c:pt>
                <c:pt idx="529">
                  <c:v>44725</c:v>
                </c:pt>
                <c:pt idx="530">
                  <c:v>44726</c:v>
                </c:pt>
                <c:pt idx="531">
                  <c:v>44727</c:v>
                </c:pt>
                <c:pt idx="532">
                  <c:v>44728</c:v>
                </c:pt>
                <c:pt idx="533">
                  <c:v>44729</c:v>
                </c:pt>
                <c:pt idx="534">
                  <c:v>44730</c:v>
                </c:pt>
                <c:pt idx="535">
                  <c:v>44731</c:v>
                </c:pt>
                <c:pt idx="536">
                  <c:v>44732</c:v>
                </c:pt>
                <c:pt idx="537">
                  <c:v>44733</c:v>
                </c:pt>
                <c:pt idx="538">
                  <c:v>44734</c:v>
                </c:pt>
                <c:pt idx="539">
                  <c:v>44735</c:v>
                </c:pt>
                <c:pt idx="540">
                  <c:v>44736</c:v>
                </c:pt>
                <c:pt idx="541">
                  <c:v>44737</c:v>
                </c:pt>
                <c:pt idx="542">
                  <c:v>44738</c:v>
                </c:pt>
                <c:pt idx="543">
                  <c:v>44739</c:v>
                </c:pt>
                <c:pt idx="544">
                  <c:v>44740</c:v>
                </c:pt>
                <c:pt idx="545">
                  <c:v>44741</c:v>
                </c:pt>
                <c:pt idx="546">
                  <c:v>44742</c:v>
                </c:pt>
                <c:pt idx="547">
                  <c:v>44743</c:v>
                </c:pt>
                <c:pt idx="548">
                  <c:v>44744</c:v>
                </c:pt>
                <c:pt idx="549">
                  <c:v>44745</c:v>
                </c:pt>
                <c:pt idx="550">
                  <c:v>44746</c:v>
                </c:pt>
                <c:pt idx="551">
                  <c:v>44747</c:v>
                </c:pt>
                <c:pt idx="552">
                  <c:v>44748</c:v>
                </c:pt>
                <c:pt idx="553">
                  <c:v>44749</c:v>
                </c:pt>
                <c:pt idx="554">
                  <c:v>44750</c:v>
                </c:pt>
                <c:pt idx="555">
                  <c:v>44751</c:v>
                </c:pt>
                <c:pt idx="556">
                  <c:v>44752</c:v>
                </c:pt>
                <c:pt idx="557">
                  <c:v>44753</c:v>
                </c:pt>
                <c:pt idx="558">
                  <c:v>44754</c:v>
                </c:pt>
                <c:pt idx="559">
                  <c:v>44755</c:v>
                </c:pt>
                <c:pt idx="560">
                  <c:v>44756</c:v>
                </c:pt>
                <c:pt idx="561">
                  <c:v>44757</c:v>
                </c:pt>
                <c:pt idx="562">
                  <c:v>44758</c:v>
                </c:pt>
                <c:pt idx="563">
                  <c:v>44759</c:v>
                </c:pt>
                <c:pt idx="564">
                  <c:v>44760</c:v>
                </c:pt>
                <c:pt idx="565">
                  <c:v>44761</c:v>
                </c:pt>
                <c:pt idx="566">
                  <c:v>44762</c:v>
                </c:pt>
                <c:pt idx="567">
                  <c:v>44763</c:v>
                </c:pt>
                <c:pt idx="568">
                  <c:v>44764</c:v>
                </c:pt>
                <c:pt idx="569">
                  <c:v>44765</c:v>
                </c:pt>
                <c:pt idx="570">
                  <c:v>44766</c:v>
                </c:pt>
                <c:pt idx="571">
                  <c:v>44767</c:v>
                </c:pt>
                <c:pt idx="572">
                  <c:v>44768</c:v>
                </c:pt>
                <c:pt idx="573">
                  <c:v>44769</c:v>
                </c:pt>
                <c:pt idx="574">
                  <c:v>44770</c:v>
                </c:pt>
                <c:pt idx="575">
                  <c:v>44771</c:v>
                </c:pt>
                <c:pt idx="576">
                  <c:v>44772</c:v>
                </c:pt>
                <c:pt idx="577">
                  <c:v>44773</c:v>
                </c:pt>
                <c:pt idx="578">
                  <c:v>44774</c:v>
                </c:pt>
                <c:pt idx="579">
                  <c:v>44775</c:v>
                </c:pt>
                <c:pt idx="580">
                  <c:v>44776</c:v>
                </c:pt>
                <c:pt idx="581">
                  <c:v>44777</c:v>
                </c:pt>
                <c:pt idx="582">
                  <c:v>44778</c:v>
                </c:pt>
                <c:pt idx="583">
                  <c:v>44779</c:v>
                </c:pt>
                <c:pt idx="584">
                  <c:v>44780</c:v>
                </c:pt>
                <c:pt idx="585">
                  <c:v>44781</c:v>
                </c:pt>
                <c:pt idx="586">
                  <c:v>44782</c:v>
                </c:pt>
                <c:pt idx="587">
                  <c:v>44783</c:v>
                </c:pt>
                <c:pt idx="588">
                  <c:v>44784</c:v>
                </c:pt>
                <c:pt idx="589">
                  <c:v>44785</c:v>
                </c:pt>
                <c:pt idx="590">
                  <c:v>44786</c:v>
                </c:pt>
                <c:pt idx="591">
                  <c:v>44787</c:v>
                </c:pt>
                <c:pt idx="592">
                  <c:v>44788</c:v>
                </c:pt>
                <c:pt idx="593">
                  <c:v>44789</c:v>
                </c:pt>
                <c:pt idx="594">
                  <c:v>44790</c:v>
                </c:pt>
                <c:pt idx="595">
                  <c:v>44791</c:v>
                </c:pt>
                <c:pt idx="596">
                  <c:v>44792</c:v>
                </c:pt>
                <c:pt idx="597">
                  <c:v>44793</c:v>
                </c:pt>
                <c:pt idx="598">
                  <c:v>44794</c:v>
                </c:pt>
                <c:pt idx="599">
                  <c:v>44795</c:v>
                </c:pt>
                <c:pt idx="600">
                  <c:v>44796</c:v>
                </c:pt>
                <c:pt idx="601">
                  <c:v>44797</c:v>
                </c:pt>
                <c:pt idx="602">
                  <c:v>44798</c:v>
                </c:pt>
                <c:pt idx="603">
                  <c:v>44799</c:v>
                </c:pt>
                <c:pt idx="604">
                  <c:v>44800</c:v>
                </c:pt>
                <c:pt idx="605">
                  <c:v>44801</c:v>
                </c:pt>
                <c:pt idx="606">
                  <c:v>44802</c:v>
                </c:pt>
                <c:pt idx="607">
                  <c:v>44803</c:v>
                </c:pt>
                <c:pt idx="608">
                  <c:v>44804</c:v>
                </c:pt>
                <c:pt idx="609">
                  <c:v>44805</c:v>
                </c:pt>
                <c:pt idx="610">
                  <c:v>44806</c:v>
                </c:pt>
                <c:pt idx="611">
                  <c:v>44807</c:v>
                </c:pt>
                <c:pt idx="612">
                  <c:v>44808</c:v>
                </c:pt>
                <c:pt idx="613">
                  <c:v>44809</c:v>
                </c:pt>
                <c:pt idx="614">
                  <c:v>44810</c:v>
                </c:pt>
                <c:pt idx="615">
                  <c:v>44811</c:v>
                </c:pt>
                <c:pt idx="616">
                  <c:v>44812</c:v>
                </c:pt>
                <c:pt idx="617">
                  <c:v>44813</c:v>
                </c:pt>
                <c:pt idx="618">
                  <c:v>44814</c:v>
                </c:pt>
                <c:pt idx="619">
                  <c:v>44815</c:v>
                </c:pt>
                <c:pt idx="620">
                  <c:v>44816</c:v>
                </c:pt>
                <c:pt idx="621">
                  <c:v>44817</c:v>
                </c:pt>
                <c:pt idx="622">
                  <c:v>44818</c:v>
                </c:pt>
                <c:pt idx="623">
                  <c:v>44819</c:v>
                </c:pt>
                <c:pt idx="624">
                  <c:v>44820</c:v>
                </c:pt>
                <c:pt idx="625">
                  <c:v>44821</c:v>
                </c:pt>
                <c:pt idx="626">
                  <c:v>44822</c:v>
                </c:pt>
                <c:pt idx="627">
                  <c:v>44823</c:v>
                </c:pt>
                <c:pt idx="628">
                  <c:v>44824</c:v>
                </c:pt>
                <c:pt idx="629">
                  <c:v>44825</c:v>
                </c:pt>
                <c:pt idx="630">
                  <c:v>44826</c:v>
                </c:pt>
                <c:pt idx="631">
                  <c:v>44827</c:v>
                </c:pt>
                <c:pt idx="632">
                  <c:v>44828</c:v>
                </c:pt>
                <c:pt idx="633">
                  <c:v>44829</c:v>
                </c:pt>
                <c:pt idx="634">
                  <c:v>44830</c:v>
                </c:pt>
                <c:pt idx="635">
                  <c:v>44831</c:v>
                </c:pt>
                <c:pt idx="636">
                  <c:v>44832</c:v>
                </c:pt>
                <c:pt idx="637">
                  <c:v>44833</c:v>
                </c:pt>
                <c:pt idx="638">
                  <c:v>44834</c:v>
                </c:pt>
                <c:pt idx="639">
                  <c:v>44835</c:v>
                </c:pt>
                <c:pt idx="640">
                  <c:v>44836</c:v>
                </c:pt>
                <c:pt idx="641">
                  <c:v>44837</c:v>
                </c:pt>
                <c:pt idx="642">
                  <c:v>44838</c:v>
                </c:pt>
                <c:pt idx="643">
                  <c:v>44839</c:v>
                </c:pt>
                <c:pt idx="644">
                  <c:v>44840</c:v>
                </c:pt>
                <c:pt idx="645">
                  <c:v>44841</c:v>
                </c:pt>
                <c:pt idx="646">
                  <c:v>44842</c:v>
                </c:pt>
                <c:pt idx="647">
                  <c:v>44843</c:v>
                </c:pt>
                <c:pt idx="648">
                  <c:v>44844</c:v>
                </c:pt>
                <c:pt idx="649">
                  <c:v>44845</c:v>
                </c:pt>
                <c:pt idx="650">
                  <c:v>44846</c:v>
                </c:pt>
                <c:pt idx="651">
                  <c:v>44847</c:v>
                </c:pt>
                <c:pt idx="652">
                  <c:v>44848</c:v>
                </c:pt>
                <c:pt idx="653">
                  <c:v>44849</c:v>
                </c:pt>
                <c:pt idx="654">
                  <c:v>44850</c:v>
                </c:pt>
                <c:pt idx="655">
                  <c:v>44851</c:v>
                </c:pt>
                <c:pt idx="656">
                  <c:v>44852</c:v>
                </c:pt>
                <c:pt idx="657">
                  <c:v>44853</c:v>
                </c:pt>
                <c:pt idx="658">
                  <c:v>44854</c:v>
                </c:pt>
                <c:pt idx="659">
                  <c:v>44855</c:v>
                </c:pt>
                <c:pt idx="660">
                  <c:v>44856</c:v>
                </c:pt>
                <c:pt idx="661">
                  <c:v>44857</c:v>
                </c:pt>
                <c:pt idx="662">
                  <c:v>44858</c:v>
                </c:pt>
                <c:pt idx="663">
                  <c:v>44859</c:v>
                </c:pt>
                <c:pt idx="664">
                  <c:v>44860</c:v>
                </c:pt>
                <c:pt idx="665">
                  <c:v>44861</c:v>
                </c:pt>
                <c:pt idx="666">
                  <c:v>44862</c:v>
                </c:pt>
                <c:pt idx="667">
                  <c:v>44863</c:v>
                </c:pt>
                <c:pt idx="668">
                  <c:v>44864</c:v>
                </c:pt>
                <c:pt idx="669">
                  <c:v>44865</c:v>
                </c:pt>
                <c:pt idx="670">
                  <c:v>44866</c:v>
                </c:pt>
                <c:pt idx="671">
                  <c:v>44867</c:v>
                </c:pt>
                <c:pt idx="672">
                  <c:v>44868</c:v>
                </c:pt>
                <c:pt idx="673">
                  <c:v>44869</c:v>
                </c:pt>
                <c:pt idx="674">
                  <c:v>44870</c:v>
                </c:pt>
                <c:pt idx="675">
                  <c:v>44871</c:v>
                </c:pt>
                <c:pt idx="676">
                  <c:v>44872</c:v>
                </c:pt>
                <c:pt idx="677">
                  <c:v>44873</c:v>
                </c:pt>
                <c:pt idx="678">
                  <c:v>44874</c:v>
                </c:pt>
                <c:pt idx="679">
                  <c:v>44875</c:v>
                </c:pt>
                <c:pt idx="680">
                  <c:v>44876</c:v>
                </c:pt>
                <c:pt idx="681">
                  <c:v>44877</c:v>
                </c:pt>
                <c:pt idx="682">
                  <c:v>44878</c:v>
                </c:pt>
                <c:pt idx="683">
                  <c:v>44879</c:v>
                </c:pt>
                <c:pt idx="684">
                  <c:v>44880</c:v>
                </c:pt>
                <c:pt idx="685">
                  <c:v>44881</c:v>
                </c:pt>
                <c:pt idx="686">
                  <c:v>44882</c:v>
                </c:pt>
                <c:pt idx="687">
                  <c:v>44883</c:v>
                </c:pt>
                <c:pt idx="688">
                  <c:v>44884</c:v>
                </c:pt>
                <c:pt idx="689">
                  <c:v>44885</c:v>
                </c:pt>
                <c:pt idx="690">
                  <c:v>44886</c:v>
                </c:pt>
                <c:pt idx="691">
                  <c:v>44887</c:v>
                </c:pt>
                <c:pt idx="692">
                  <c:v>44888</c:v>
                </c:pt>
                <c:pt idx="693">
                  <c:v>44889</c:v>
                </c:pt>
                <c:pt idx="694">
                  <c:v>44890</c:v>
                </c:pt>
                <c:pt idx="695">
                  <c:v>44891</c:v>
                </c:pt>
                <c:pt idx="696">
                  <c:v>44892</c:v>
                </c:pt>
                <c:pt idx="697">
                  <c:v>44893</c:v>
                </c:pt>
                <c:pt idx="698">
                  <c:v>44894</c:v>
                </c:pt>
                <c:pt idx="699">
                  <c:v>44895</c:v>
                </c:pt>
                <c:pt idx="700">
                  <c:v>44896</c:v>
                </c:pt>
                <c:pt idx="701">
                  <c:v>44897</c:v>
                </c:pt>
                <c:pt idx="702">
                  <c:v>44898</c:v>
                </c:pt>
                <c:pt idx="703">
                  <c:v>44899</c:v>
                </c:pt>
                <c:pt idx="704">
                  <c:v>44900</c:v>
                </c:pt>
                <c:pt idx="705">
                  <c:v>44901</c:v>
                </c:pt>
                <c:pt idx="706">
                  <c:v>44902</c:v>
                </c:pt>
                <c:pt idx="707">
                  <c:v>44903</c:v>
                </c:pt>
                <c:pt idx="708">
                  <c:v>44904</c:v>
                </c:pt>
                <c:pt idx="709">
                  <c:v>44905</c:v>
                </c:pt>
                <c:pt idx="710">
                  <c:v>44906</c:v>
                </c:pt>
                <c:pt idx="711">
                  <c:v>44907</c:v>
                </c:pt>
                <c:pt idx="712">
                  <c:v>44908</c:v>
                </c:pt>
                <c:pt idx="713">
                  <c:v>44909</c:v>
                </c:pt>
                <c:pt idx="714">
                  <c:v>44910</c:v>
                </c:pt>
                <c:pt idx="715">
                  <c:v>44911</c:v>
                </c:pt>
                <c:pt idx="716">
                  <c:v>44912</c:v>
                </c:pt>
                <c:pt idx="717">
                  <c:v>44913</c:v>
                </c:pt>
                <c:pt idx="718">
                  <c:v>44914</c:v>
                </c:pt>
                <c:pt idx="719">
                  <c:v>44915</c:v>
                </c:pt>
                <c:pt idx="720">
                  <c:v>44916</c:v>
                </c:pt>
                <c:pt idx="721">
                  <c:v>44917</c:v>
                </c:pt>
                <c:pt idx="722">
                  <c:v>44918</c:v>
                </c:pt>
                <c:pt idx="723">
                  <c:v>44919</c:v>
                </c:pt>
                <c:pt idx="724">
                  <c:v>44920</c:v>
                </c:pt>
                <c:pt idx="725">
                  <c:v>44921</c:v>
                </c:pt>
                <c:pt idx="726">
                  <c:v>44922</c:v>
                </c:pt>
                <c:pt idx="727">
                  <c:v>44923</c:v>
                </c:pt>
                <c:pt idx="728">
                  <c:v>44924</c:v>
                </c:pt>
                <c:pt idx="729">
                  <c:v>44925</c:v>
                </c:pt>
                <c:pt idx="730">
                  <c:v>44926</c:v>
                </c:pt>
                <c:pt idx="731">
                  <c:v>44927</c:v>
                </c:pt>
                <c:pt idx="732">
                  <c:v>44928</c:v>
                </c:pt>
                <c:pt idx="733">
                  <c:v>44929</c:v>
                </c:pt>
                <c:pt idx="734">
                  <c:v>44930</c:v>
                </c:pt>
                <c:pt idx="735">
                  <c:v>44931</c:v>
                </c:pt>
                <c:pt idx="736">
                  <c:v>44932</c:v>
                </c:pt>
                <c:pt idx="737">
                  <c:v>44933</c:v>
                </c:pt>
                <c:pt idx="738">
                  <c:v>44934</c:v>
                </c:pt>
                <c:pt idx="739">
                  <c:v>44935</c:v>
                </c:pt>
                <c:pt idx="740">
                  <c:v>44936</c:v>
                </c:pt>
                <c:pt idx="741">
                  <c:v>44937</c:v>
                </c:pt>
                <c:pt idx="742">
                  <c:v>44938</c:v>
                </c:pt>
                <c:pt idx="743">
                  <c:v>44939</c:v>
                </c:pt>
                <c:pt idx="744">
                  <c:v>44940</c:v>
                </c:pt>
                <c:pt idx="745">
                  <c:v>44941</c:v>
                </c:pt>
                <c:pt idx="746">
                  <c:v>44942</c:v>
                </c:pt>
                <c:pt idx="747">
                  <c:v>44943</c:v>
                </c:pt>
                <c:pt idx="748">
                  <c:v>44944</c:v>
                </c:pt>
                <c:pt idx="749">
                  <c:v>44945</c:v>
                </c:pt>
                <c:pt idx="750">
                  <c:v>44946</c:v>
                </c:pt>
                <c:pt idx="751">
                  <c:v>44947</c:v>
                </c:pt>
                <c:pt idx="752">
                  <c:v>44948</c:v>
                </c:pt>
                <c:pt idx="753">
                  <c:v>44949</c:v>
                </c:pt>
                <c:pt idx="754">
                  <c:v>44950</c:v>
                </c:pt>
                <c:pt idx="755">
                  <c:v>44951</c:v>
                </c:pt>
                <c:pt idx="756">
                  <c:v>44952</c:v>
                </c:pt>
                <c:pt idx="757">
                  <c:v>44953</c:v>
                </c:pt>
                <c:pt idx="758">
                  <c:v>44954</c:v>
                </c:pt>
                <c:pt idx="759">
                  <c:v>44955</c:v>
                </c:pt>
                <c:pt idx="760">
                  <c:v>44956</c:v>
                </c:pt>
                <c:pt idx="761">
                  <c:v>44957</c:v>
                </c:pt>
                <c:pt idx="762">
                  <c:v>44958</c:v>
                </c:pt>
                <c:pt idx="763">
                  <c:v>44959</c:v>
                </c:pt>
                <c:pt idx="764">
                  <c:v>44960</c:v>
                </c:pt>
                <c:pt idx="765">
                  <c:v>44961</c:v>
                </c:pt>
                <c:pt idx="766">
                  <c:v>44962</c:v>
                </c:pt>
                <c:pt idx="767">
                  <c:v>44963</c:v>
                </c:pt>
                <c:pt idx="768">
                  <c:v>44964</c:v>
                </c:pt>
                <c:pt idx="769">
                  <c:v>44965</c:v>
                </c:pt>
                <c:pt idx="770">
                  <c:v>44966</c:v>
                </c:pt>
                <c:pt idx="771">
                  <c:v>44967</c:v>
                </c:pt>
                <c:pt idx="772">
                  <c:v>44968</c:v>
                </c:pt>
                <c:pt idx="773">
                  <c:v>44969</c:v>
                </c:pt>
                <c:pt idx="774">
                  <c:v>44970</c:v>
                </c:pt>
                <c:pt idx="775">
                  <c:v>44971</c:v>
                </c:pt>
                <c:pt idx="776">
                  <c:v>44972</c:v>
                </c:pt>
                <c:pt idx="777">
                  <c:v>44973</c:v>
                </c:pt>
                <c:pt idx="778">
                  <c:v>44974</c:v>
                </c:pt>
                <c:pt idx="779">
                  <c:v>44975</c:v>
                </c:pt>
                <c:pt idx="780">
                  <c:v>44976</c:v>
                </c:pt>
                <c:pt idx="781">
                  <c:v>44977</c:v>
                </c:pt>
                <c:pt idx="782">
                  <c:v>44978</c:v>
                </c:pt>
                <c:pt idx="783">
                  <c:v>44979</c:v>
                </c:pt>
                <c:pt idx="784">
                  <c:v>44980</c:v>
                </c:pt>
                <c:pt idx="785">
                  <c:v>44981</c:v>
                </c:pt>
                <c:pt idx="786">
                  <c:v>44982</c:v>
                </c:pt>
                <c:pt idx="787">
                  <c:v>44983</c:v>
                </c:pt>
                <c:pt idx="788">
                  <c:v>44984</c:v>
                </c:pt>
                <c:pt idx="789">
                  <c:v>44985</c:v>
                </c:pt>
                <c:pt idx="790">
                  <c:v>44986</c:v>
                </c:pt>
                <c:pt idx="791">
                  <c:v>44987</c:v>
                </c:pt>
                <c:pt idx="792">
                  <c:v>44988</c:v>
                </c:pt>
                <c:pt idx="793">
                  <c:v>44989</c:v>
                </c:pt>
                <c:pt idx="794">
                  <c:v>44990</c:v>
                </c:pt>
                <c:pt idx="795">
                  <c:v>44991</c:v>
                </c:pt>
                <c:pt idx="796">
                  <c:v>44992</c:v>
                </c:pt>
                <c:pt idx="797">
                  <c:v>44993</c:v>
                </c:pt>
                <c:pt idx="798">
                  <c:v>44994</c:v>
                </c:pt>
                <c:pt idx="799">
                  <c:v>44995</c:v>
                </c:pt>
                <c:pt idx="800">
                  <c:v>44996</c:v>
                </c:pt>
                <c:pt idx="801">
                  <c:v>44997</c:v>
                </c:pt>
                <c:pt idx="802">
                  <c:v>44998</c:v>
                </c:pt>
                <c:pt idx="803">
                  <c:v>44999</c:v>
                </c:pt>
                <c:pt idx="804">
                  <c:v>45000</c:v>
                </c:pt>
                <c:pt idx="805">
                  <c:v>45001</c:v>
                </c:pt>
                <c:pt idx="806">
                  <c:v>45002</c:v>
                </c:pt>
                <c:pt idx="807">
                  <c:v>45003</c:v>
                </c:pt>
                <c:pt idx="808">
                  <c:v>45004</c:v>
                </c:pt>
                <c:pt idx="809">
                  <c:v>45005</c:v>
                </c:pt>
                <c:pt idx="810">
                  <c:v>45006</c:v>
                </c:pt>
                <c:pt idx="811">
                  <c:v>45007</c:v>
                </c:pt>
                <c:pt idx="812">
                  <c:v>45008</c:v>
                </c:pt>
                <c:pt idx="813">
                  <c:v>45009</c:v>
                </c:pt>
                <c:pt idx="814">
                  <c:v>45010</c:v>
                </c:pt>
                <c:pt idx="815">
                  <c:v>45011</c:v>
                </c:pt>
                <c:pt idx="816">
                  <c:v>45012</c:v>
                </c:pt>
                <c:pt idx="817">
                  <c:v>45013</c:v>
                </c:pt>
                <c:pt idx="818">
                  <c:v>45014</c:v>
                </c:pt>
                <c:pt idx="819">
                  <c:v>45015</c:v>
                </c:pt>
                <c:pt idx="820">
                  <c:v>45016</c:v>
                </c:pt>
                <c:pt idx="821">
                  <c:v>45017</c:v>
                </c:pt>
                <c:pt idx="822">
                  <c:v>45018</c:v>
                </c:pt>
                <c:pt idx="823">
                  <c:v>45019</c:v>
                </c:pt>
                <c:pt idx="824">
                  <c:v>45020</c:v>
                </c:pt>
                <c:pt idx="825">
                  <c:v>45021</c:v>
                </c:pt>
                <c:pt idx="826">
                  <c:v>45022</c:v>
                </c:pt>
                <c:pt idx="827">
                  <c:v>45023</c:v>
                </c:pt>
                <c:pt idx="828">
                  <c:v>45024</c:v>
                </c:pt>
                <c:pt idx="829">
                  <c:v>45025</c:v>
                </c:pt>
                <c:pt idx="830">
                  <c:v>45026</c:v>
                </c:pt>
                <c:pt idx="831">
                  <c:v>45027</c:v>
                </c:pt>
                <c:pt idx="832">
                  <c:v>45028</c:v>
                </c:pt>
                <c:pt idx="833">
                  <c:v>45029</c:v>
                </c:pt>
                <c:pt idx="834">
                  <c:v>45030</c:v>
                </c:pt>
                <c:pt idx="835">
                  <c:v>45031</c:v>
                </c:pt>
                <c:pt idx="836">
                  <c:v>45032</c:v>
                </c:pt>
                <c:pt idx="837">
                  <c:v>45033</c:v>
                </c:pt>
                <c:pt idx="838">
                  <c:v>45034</c:v>
                </c:pt>
                <c:pt idx="839">
                  <c:v>45035</c:v>
                </c:pt>
                <c:pt idx="840">
                  <c:v>45036</c:v>
                </c:pt>
                <c:pt idx="841">
                  <c:v>45037</c:v>
                </c:pt>
                <c:pt idx="842">
                  <c:v>45038</c:v>
                </c:pt>
                <c:pt idx="843">
                  <c:v>45039</c:v>
                </c:pt>
                <c:pt idx="844">
                  <c:v>45040</c:v>
                </c:pt>
                <c:pt idx="845">
                  <c:v>45041</c:v>
                </c:pt>
                <c:pt idx="846">
                  <c:v>45042</c:v>
                </c:pt>
                <c:pt idx="847">
                  <c:v>45043</c:v>
                </c:pt>
                <c:pt idx="848">
                  <c:v>45044</c:v>
                </c:pt>
                <c:pt idx="849">
                  <c:v>45045</c:v>
                </c:pt>
                <c:pt idx="850">
                  <c:v>45046</c:v>
                </c:pt>
                <c:pt idx="851">
                  <c:v>45047</c:v>
                </c:pt>
                <c:pt idx="852">
                  <c:v>45048</c:v>
                </c:pt>
                <c:pt idx="853">
                  <c:v>45049</c:v>
                </c:pt>
                <c:pt idx="854">
                  <c:v>45050</c:v>
                </c:pt>
                <c:pt idx="855">
                  <c:v>45051</c:v>
                </c:pt>
                <c:pt idx="856">
                  <c:v>45052</c:v>
                </c:pt>
                <c:pt idx="857">
                  <c:v>45053</c:v>
                </c:pt>
                <c:pt idx="858">
                  <c:v>45054</c:v>
                </c:pt>
                <c:pt idx="859">
                  <c:v>45055</c:v>
                </c:pt>
                <c:pt idx="860">
                  <c:v>45056</c:v>
                </c:pt>
                <c:pt idx="861">
                  <c:v>45057</c:v>
                </c:pt>
                <c:pt idx="862">
                  <c:v>45058</c:v>
                </c:pt>
                <c:pt idx="863">
                  <c:v>45059</c:v>
                </c:pt>
                <c:pt idx="864">
                  <c:v>45060</c:v>
                </c:pt>
                <c:pt idx="865">
                  <c:v>45061</c:v>
                </c:pt>
                <c:pt idx="866">
                  <c:v>45062</c:v>
                </c:pt>
                <c:pt idx="867">
                  <c:v>45063</c:v>
                </c:pt>
                <c:pt idx="868">
                  <c:v>45064</c:v>
                </c:pt>
                <c:pt idx="869">
                  <c:v>45065</c:v>
                </c:pt>
                <c:pt idx="870">
                  <c:v>45066</c:v>
                </c:pt>
                <c:pt idx="871">
                  <c:v>45067</c:v>
                </c:pt>
                <c:pt idx="872">
                  <c:v>45068</c:v>
                </c:pt>
                <c:pt idx="873">
                  <c:v>45069</c:v>
                </c:pt>
                <c:pt idx="874">
                  <c:v>45070</c:v>
                </c:pt>
                <c:pt idx="875">
                  <c:v>45071</c:v>
                </c:pt>
                <c:pt idx="876">
                  <c:v>45072</c:v>
                </c:pt>
                <c:pt idx="877">
                  <c:v>45073</c:v>
                </c:pt>
                <c:pt idx="878">
                  <c:v>45074</c:v>
                </c:pt>
                <c:pt idx="879">
                  <c:v>45075</c:v>
                </c:pt>
                <c:pt idx="880">
                  <c:v>45076</c:v>
                </c:pt>
                <c:pt idx="881">
                  <c:v>45077</c:v>
                </c:pt>
                <c:pt idx="882">
                  <c:v>45078</c:v>
                </c:pt>
                <c:pt idx="883">
                  <c:v>45079</c:v>
                </c:pt>
                <c:pt idx="884">
                  <c:v>45080</c:v>
                </c:pt>
                <c:pt idx="885">
                  <c:v>45081</c:v>
                </c:pt>
                <c:pt idx="886">
                  <c:v>45082</c:v>
                </c:pt>
                <c:pt idx="887">
                  <c:v>45083</c:v>
                </c:pt>
                <c:pt idx="888">
                  <c:v>45084</c:v>
                </c:pt>
                <c:pt idx="889">
                  <c:v>45085</c:v>
                </c:pt>
                <c:pt idx="890">
                  <c:v>45086</c:v>
                </c:pt>
                <c:pt idx="891">
                  <c:v>45087</c:v>
                </c:pt>
                <c:pt idx="892">
                  <c:v>45088</c:v>
                </c:pt>
                <c:pt idx="893">
                  <c:v>45089</c:v>
                </c:pt>
                <c:pt idx="894">
                  <c:v>45090</c:v>
                </c:pt>
                <c:pt idx="895">
                  <c:v>45091</c:v>
                </c:pt>
                <c:pt idx="896">
                  <c:v>45092</c:v>
                </c:pt>
                <c:pt idx="897">
                  <c:v>45093</c:v>
                </c:pt>
                <c:pt idx="898">
                  <c:v>45094</c:v>
                </c:pt>
                <c:pt idx="899">
                  <c:v>45095</c:v>
                </c:pt>
                <c:pt idx="900">
                  <c:v>45096</c:v>
                </c:pt>
                <c:pt idx="901">
                  <c:v>45097</c:v>
                </c:pt>
                <c:pt idx="902">
                  <c:v>45098</c:v>
                </c:pt>
                <c:pt idx="903">
                  <c:v>45099</c:v>
                </c:pt>
                <c:pt idx="904">
                  <c:v>45100</c:v>
                </c:pt>
                <c:pt idx="905">
                  <c:v>45101</c:v>
                </c:pt>
                <c:pt idx="906">
                  <c:v>45102</c:v>
                </c:pt>
                <c:pt idx="907">
                  <c:v>45103</c:v>
                </c:pt>
                <c:pt idx="908">
                  <c:v>45104</c:v>
                </c:pt>
                <c:pt idx="909">
                  <c:v>45105</c:v>
                </c:pt>
                <c:pt idx="910">
                  <c:v>45106</c:v>
                </c:pt>
                <c:pt idx="911">
                  <c:v>45107</c:v>
                </c:pt>
                <c:pt idx="912">
                  <c:v>45108</c:v>
                </c:pt>
                <c:pt idx="913">
                  <c:v>45109</c:v>
                </c:pt>
                <c:pt idx="914">
                  <c:v>45110</c:v>
                </c:pt>
                <c:pt idx="915">
                  <c:v>45111</c:v>
                </c:pt>
                <c:pt idx="916">
                  <c:v>45112</c:v>
                </c:pt>
                <c:pt idx="917">
                  <c:v>45113</c:v>
                </c:pt>
                <c:pt idx="918">
                  <c:v>45114</c:v>
                </c:pt>
                <c:pt idx="919">
                  <c:v>45115</c:v>
                </c:pt>
                <c:pt idx="920">
                  <c:v>45116</c:v>
                </c:pt>
                <c:pt idx="921">
                  <c:v>45117</c:v>
                </c:pt>
                <c:pt idx="922">
                  <c:v>45118</c:v>
                </c:pt>
                <c:pt idx="923">
                  <c:v>45119</c:v>
                </c:pt>
                <c:pt idx="924">
                  <c:v>45120</c:v>
                </c:pt>
                <c:pt idx="925">
                  <c:v>45121</c:v>
                </c:pt>
                <c:pt idx="926">
                  <c:v>45122</c:v>
                </c:pt>
                <c:pt idx="927">
                  <c:v>45123</c:v>
                </c:pt>
                <c:pt idx="928">
                  <c:v>45124</c:v>
                </c:pt>
                <c:pt idx="929">
                  <c:v>45125</c:v>
                </c:pt>
                <c:pt idx="930">
                  <c:v>45126</c:v>
                </c:pt>
                <c:pt idx="931">
                  <c:v>45127</c:v>
                </c:pt>
                <c:pt idx="932">
                  <c:v>45128</c:v>
                </c:pt>
                <c:pt idx="933">
                  <c:v>45129</c:v>
                </c:pt>
                <c:pt idx="934">
                  <c:v>45130</c:v>
                </c:pt>
                <c:pt idx="935">
                  <c:v>45131</c:v>
                </c:pt>
                <c:pt idx="936">
                  <c:v>45132</c:v>
                </c:pt>
                <c:pt idx="937">
                  <c:v>45133</c:v>
                </c:pt>
                <c:pt idx="938">
                  <c:v>45134</c:v>
                </c:pt>
                <c:pt idx="939">
                  <c:v>45135</c:v>
                </c:pt>
                <c:pt idx="940">
                  <c:v>45136</c:v>
                </c:pt>
                <c:pt idx="941">
                  <c:v>45137</c:v>
                </c:pt>
                <c:pt idx="942">
                  <c:v>45138</c:v>
                </c:pt>
                <c:pt idx="943">
                  <c:v>45139</c:v>
                </c:pt>
                <c:pt idx="944">
                  <c:v>45140</c:v>
                </c:pt>
                <c:pt idx="945">
                  <c:v>45141</c:v>
                </c:pt>
                <c:pt idx="946">
                  <c:v>45142</c:v>
                </c:pt>
                <c:pt idx="947">
                  <c:v>45143</c:v>
                </c:pt>
                <c:pt idx="948">
                  <c:v>45144</c:v>
                </c:pt>
                <c:pt idx="949">
                  <c:v>45145</c:v>
                </c:pt>
                <c:pt idx="950">
                  <c:v>45146</c:v>
                </c:pt>
                <c:pt idx="951">
                  <c:v>45147</c:v>
                </c:pt>
                <c:pt idx="952">
                  <c:v>45148</c:v>
                </c:pt>
                <c:pt idx="953">
                  <c:v>45149</c:v>
                </c:pt>
                <c:pt idx="954">
                  <c:v>45150</c:v>
                </c:pt>
                <c:pt idx="955">
                  <c:v>45151</c:v>
                </c:pt>
                <c:pt idx="956">
                  <c:v>45152</c:v>
                </c:pt>
                <c:pt idx="957">
                  <c:v>45153</c:v>
                </c:pt>
                <c:pt idx="958">
                  <c:v>45154</c:v>
                </c:pt>
                <c:pt idx="959">
                  <c:v>45155</c:v>
                </c:pt>
                <c:pt idx="960">
                  <c:v>45156</c:v>
                </c:pt>
                <c:pt idx="961">
                  <c:v>45157</c:v>
                </c:pt>
                <c:pt idx="962">
                  <c:v>45158</c:v>
                </c:pt>
                <c:pt idx="963">
                  <c:v>45159</c:v>
                </c:pt>
                <c:pt idx="964">
                  <c:v>45160</c:v>
                </c:pt>
                <c:pt idx="965">
                  <c:v>45161</c:v>
                </c:pt>
                <c:pt idx="966">
                  <c:v>45162</c:v>
                </c:pt>
                <c:pt idx="967">
                  <c:v>45163</c:v>
                </c:pt>
                <c:pt idx="968">
                  <c:v>45164</c:v>
                </c:pt>
                <c:pt idx="969">
                  <c:v>45165</c:v>
                </c:pt>
                <c:pt idx="970">
                  <c:v>45166</c:v>
                </c:pt>
                <c:pt idx="971">
                  <c:v>45167</c:v>
                </c:pt>
                <c:pt idx="972">
                  <c:v>45168</c:v>
                </c:pt>
                <c:pt idx="973">
                  <c:v>45169</c:v>
                </c:pt>
                <c:pt idx="974">
                  <c:v>45170</c:v>
                </c:pt>
                <c:pt idx="975">
                  <c:v>45171</c:v>
                </c:pt>
                <c:pt idx="976">
                  <c:v>45172</c:v>
                </c:pt>
                <c:pt idx="977">
                  <c:v>45173</c:v>
                </c:pt>
                <c:pt idx="978">
                  <c:v>45174</c:v>
                </c:pt>
                <c:pt idx="979">
                  <c:v>45175</c:v>
                </c:pt>
                <c:pt idx="980">
                  <c:v>45176</c:v>
                </c:pt>
                <c:pt idx="981">
                  <c:v>45177</c:v>
                </c:pt>
                <c:pt idx="982">
                  <c:v>45178</c:v>
                </c:pt>
                <c:pt idx="983">
                  <c:v>45179</c:v>
                </c:pt>
                <c:pt idx="984">
                  <c:v>45180</c:v>
                </c:pt>
                <c:pt idx="985">
                  <c:v>45181</c:v>
                </c:pt>
                <c:pt idx="986">
                  <c:v>45182</c:v>
                </c:pt>
                <c:pt idx="987">
                  <c:v>45183</c:v>
                </c:pt>
                <c:pt idx="988">
                  <c:v>45184</c:v>
                </c:pt>
                <c:pt idx="989">
                  <c:v>45185</c:v>
                </c:pt>
                <c:pt idx="990">
                  <c:v>45186</c:v>
                </c:pt>
                <c:pt idx="991">
                  <c:v>45187</c:v>
                </c:pt>
                <c:pt idx="992">
                  <c:v>45188</c:v>
                </c:pt>
                <c:pt idx="993">
                  <c:v>45189</c:v>
                </c:pt>
                <c:pt idx="994">
                  <c:v>45190</c:v>
                </c:pt>
                <c:pt idx="995">
                  <c:v>45191</c:v>
                </c:pt>
                <c:pt idx="996">
                  <c:v>45192</c:v>
                </c:pt>
                <c:pt idx="997">
                  <c:v>45193</c:v>
                </c:pt>
                <c:pt idx="998">
                  <c:v>45194</c:v>
                </c:pt>
                <c:pt idx="999">
                  <c:v>45195</c:v>
                </c:pt>
                <c:pt idx="1000">
                  <c:v>45196</c:v>
                </c:pt>
                <c:pt idx="1001">
                  <c:v>45197</c:v>
                </c:pt>
                <c:pt idx="1002">
                  <c:v>45198</c:v>
                </c:pt>
                <c:pt idx="1003">
                  <c:v>45199</c:v>
                </c:pt>
                <c:pt idx="1004">
                  <c:v>45200</c:v>
                </c:pt>
                <c:pt idx="1005">
                  <c:v>45201</c:v>
                </c:pt>
                <c:pt idx="1006">
                  <c:v>45202</c:v>
                </c:pt>
                <c:pt idx="1007">
                  <c:v>45203</c:v>
                </c:pt>
                <c:pt idx="1008">
                  <c:v>45204</c:v>
                </c:pt>
                <c:pt idx="1009">
                  <c:v>45205</c:v>
                </c:pt>
                <c:pt idx="1010">
                  <c:v>45206</c:v>
                </c:pt>
                <c:pt idx="1011">
                  <c:v>45207</c:v>
                </c:pt>
                <c:pt idx="1012">
                  <c:v>45208</c:v>
                </c:pt>
                <c:pt idx="1013">
                  <c:v>45209</c:v>
                </c:pt>
                <c:pt idx="1014">
                  <c:v>45210</c:v>
                </c:pt>
                <c:pt idx="1015">
                  <c:v>45211</c:v>
                </c:pt>
                <c:pt idx="1016">
                  <c:v>45212</c:v>
                </c:pt>
                <c:pt idx="1017">
                  <c:v>45213</c:v>
                </c:pt>
                <c:pt idx="1018">
                  <c:v>45214</c:v>
                </c:pt>
                <c:pt idx="1019">
                  <c:v>45215</c:v>
                </c:pt>
                <c:pt idx="1020">
                  <c:v>45216</c:v>
                </c:pt>
                <c:pt idx="1021">
                  <c:v>45217</c:v>
                </c:pt>
                <c:pt idx="1022">
                  <c:v>45218</c:v>
                </c:pt>
                <c:pt idx="1023">
                  <c:v>45219</c:v>
                </c:pt>
                <c:pt idx="1024">
                  <c:v>45220</c:v>
                </c:pt>
                <c:pt idx="1025">
                  <c:v>45221</c:v>
                </c:pt>
                <c:pt idx="1026">
                  <c:v>45222</c:v>
                </c:pt>
                <c:pt idx="1027">
                  <c:v>45223</c:v>
                </c:pt>
                <c:pt idx="1028">
                  <c:v>45224</c:v>
                </c:pt>
                <c:pt idx="1029">
                  <c:v>45225</c:v>
                </c:pt>
                <c:pt idx="1030">
                  <c:v>45226</c:v>
                </c:pt>
                <c:pt idx="1031">
                  <c:v>45227</c:v>
                </c:pt>
                <c:pt idx="1032">
                  <c:v>45228</c:v>
                </c:pt>
                <c:pt idx="1033">
                  <c:v>45229</c:v>
                </c:pt>
                <c:pt idx="1034">
                  <c:v>45230</c:v>
                </c:pt>
                <c:pt idx="1035">
                  <c:v>45231</c:v>
                </c:pt>
                <c:pt idx="1036">
                  <c:v>45232</c:v>
                </c:pt>
                <c:pt idx="1037">
                  <c:v>45233</c:v>
                </c:pt>
                <c:pt idx="1038">
                  <c:v>45234</c:v>
                </c:pt>
                <c:pt idx="1039">
                  <c:v>45235</c:v>
                </c:pt>
                <c:pt idx="1040">
                  <c:v>45236</c:v>
                </c:pt>
                <c:pt idx="1041">
                  <c:v>45237</c:v>
                </c:pt>
                <c:pt idx="1042">
                  <c:v>45238</c:v>
                </c:pt>
                <c:pt idx="1043">
                  <c:v>45239</c:v>
                </c:pt>
                <c:pt idx="1044">
                  <c:v>45240</c:v>
                </c:pt>
                <c:pt idx="1045">
                  <c:v>45241</c:v>
                </c:pt>
                <c:pt idx="1046">
                  <c:v>45242</c:v>
                </c:pt>
                <c:pt idx="1047">
                  <c:v>45243</c:v>
                </c:pt>
                <c:pt idx="1048">
                  <c:v>45244</c:v>
                </c:pt>
                <c:pt idx="1049">
                  <c:v>45245</c:v>
                </c:pt>
                <c:pt idx="1050">
                  <c:v>45246</c:v>
                </c:pt>
                <c:pt idx="1051">
                  <c:v>45247</c:v>
                </c:pt>
                <c:pt idx="1052">
                  <c:v>45248</c:v>
                </c:pt>
                <c:pt idx="1053">
                  <c:v>45249</c:v>
                </c:pt>
                <c:pt idx="1054">
                  <c:v>45250</c:v>
                </c:pt>
                <c:pt idx="1055">
                  <c:v>45251</c:v>
                </c:pt>
                <c:pt idx="1056">
                  <c:v>45252</c:v>
                </c:pt>
                <c:pt idx="1057">
                  <c:v>45253</c:v>
                </c:pt>
                <c:pt idx="1058">
                  <c:v>45254</c:v>
                </c:pt>
                <c:pt idx="1059">
                  <c:v>45255</c:v>
                </c:pt>
                <c:pt idx="1060">
                  <c:v>45256</c:v>
                </c:pt>
                <c:pt idx="1061">
                  <c:v>45257</c:v>
                </c:pt>
                <c:pt idx="1062">
                  <c:v>45258</c:v>
                </c:pt>
                <c:pt idx="1063">
                  <c:v>45259</c:v>
                </c:pt>
                <c:pt idx="1064">
                  <c:v>45260</c:v>
                </c:pt>
                <c:pt idx="1065">
                  <c:v>45261</c:v>
                </c:pt>
                <c:pt idx="1066">
                  <c:v>45262</c:v>
                </c:pt>
                <c:pt idx="1067">
                  <c:v>45263</c:v>
                </c:pt>
                <c:pt idx="1068">
                  <c:v>45264</c:v>
                </c:pt>
                <c:pt idx="1069">
                  <c:v>45265</c:v>
                </c:pt>
                <c:pt idx="1070">
                  <c:v>45266</c:v>
                </c:pt>
                <c:pt idx="1071">
                  <c:v>45267</c:v>
                </c:pt>
                <c:pt idx="1072">
                  <c:v>45268</c:v>
                </c:pt>
                <c:pt idx="1073">
                  <c:v>45269</c:v>
                </c:pt>
                <c:pt idx="1074">
                  <c:v>45270</c:v>
                </c:pt>
                <c:pt idx="1075">
                  <c:v>45271</c:v>
                </c:pt>
                <c:pt idx="1076">
                  <c:v>45272</c:v>
                </c:pt>
                <c:pt idx="1077">
                  <c:v>45273</c:v>
                </c:pt>
                <c:pt idx="1078">
                  <c:v>45274</c:v>
                </c:pt>
                <c:pt idx="1079">
                  <c:v>45275</c:v>
                </c:pt>
                <c:pt idx="1080">
                  <c:v>45276</c:v>
                </c:pt>
                <c:pt idx="1081">
                  <c:v>45277</c:v>
                </c:pt>
                <c:pt idx="1082">
                  <c:v>45278</c:v>
                </c:pt>
                <c:pt idx="1083">
                  <c:v>45279</c:v>
                </c:pt>
                <c:pt idx="1084">
                  <c:v>45280</c:v>
                </c:pt>
                <c:pt idx="1085">
                  <c:v>45281</c:v>
                </c:pt>
                <c:pt idx="1086">
                  <c:v>45282</c:v>
                </c:pt>
                <c:pt idx="1087">
                  <c:v>45283</c:v>
                </c:pt>
                <c:pt idx="1088">
                  <c:v>45284</c:v>
                </c:pt>
                <c:pt idx="1089">
                  <c:v>45285</c:v>
                </c:pt>
                <c:pt idx="1090">
                  <c:v>45286</c:v>
                </c:pt>
                <c:pt idx="1091">
                  <c:v>45287</c:v>
                </c:pt>
                <c:pt idx="1092">
                  <c:v>45288</c:v>
                </c:pt>
                <c:pt idx="1093">
                  <c:v>45289</c:v>
                </c:pt>
                <c:pt idx="1094">
                  <c:v>45290</c:v>
                </c:pt>
                <c:pt idx="1095">
                  <c:v>45291</c:v>
                </c:pt>
                <c:pt idx="1096">
                  <c:v>45292</c:v>
                </c:pt>
                <c:pt idx="1097">
                  <c:v>45293</c:v>
                </c:pt>
                <c:pt idx="1098">
                  <c:v>45294</c:v>
                </c:pt>
                <c:pt idx="1099">
                  <c:v>45295</c:v>
                </c:pt>
                <c:pt idx="1100">
                  <c:v>45296</c:v>
                </c:pt>
                <c:pt idx="1101">
                  <c:v>45297</c:v>
                </c:pt>
                <c:pt idx="1102">
                  <c:v>45298</c:v>
                </c:pt>
                <c:pt idx="1103">
                  <c:v>45299</c:v>
                </c:pt>
                <c:pt idx="1104">
                  <c:v>45300</c:v>
                </c:pt>
                <c:pt idx="1105">
                  <c:v>45301</c:v>
                </c:pt>
                <c:pt idx="1106">
                  <c:v>45302</c:v>
                </c:pt>
                <c:pt idx="1107">
                  <c:v>45303</c:v>
                </c:pt>
                <c:pt idx="1108">
                  <c:v>45304</c:v>
                </c:pt>
                <c:pt idx="1109">
                  <c:v>45305</c:v>
                </c:pt>
                <c:pt idx="1110">
                  <c:v>45306</c:v>
                </c:pt>
                <c:pt idx="1111">
                  <c:v>45307</c:v>
                </c:pt>
                <c:pt idx="1112">
                  <c:v>45308</c:v>
                </c:pt>
                <c:pt idx="1113">
                  <c:v>45309</c:v>
                </c:pt>
                <c:pt idx="1114">
                  <c:v>45310</c:v>
                </c:pt>
                <c:pt idx="1115">
                  <c:v>45311</c:v>
                </c:pt>
                <c:pt idx="1116">
                  <c:v>45312</c:v>
                </c:pt>
                <c:pt idx="1117">
                  <c:v>45313</c:v>
                </c:pt>
                <c:pt idx="1118">
                  <c:v>45314</c:v>
                </c:pt>
                <c:pt idx="1119">
                  <c:v>45315</c:v>
                </c:pt>
                <c:pt idx="1120">
                  <c:v>45316</c:v>
                </c:pt>
                <c:pt idx="1121">
                  <c:v>45317</c:v>
                </c:pt>
                <c:pt idx="1122">
                  <c:v>45318</c:v>
                </c:pt>
                <c:pt idx="1123">
                  <c:v>45319</c:v>
                </c:pt>
                <c:pt idx="1124">
                  <c:v>45320</c:v>
                </c:pt>
                <c:pt idx="1125">
                  <c:v>45321</c:v>
                </c:pt>
                <c:pt idx="1126">
                  <c:v>45322</c:v>
                </c:pt>
                <c:pt idx="1127">
                  <c:v>45323</c:v>
                </c:pt>
                <c:pt idx="1128">
                  <c:v>45324</c:v>
                </c:pt>
                <c:pt idx="1129">
                  <c:v>45325</c:v>
                </c:pt>
                <c:pt idx="1130">
                  <c:v>45326</c:v>
                </c:pt>
                <c:pt idx="1131">
                  <c:v>45327</c:v>
                </c:pt>
                <c:pt idx="1132">
                  <c:v>45328</c:v>
                </c:pt>
                <c:pt idx="1133">
                  <c:v>45329</c:v>
                </c:pt>
                <c:pt idx="1134">
                  <c:v>45330</c:v>
                </c:pt>
                <c:pt idx="1135">
                  <c:v>45331</c:v>
                </c:pt>
                <c:pt idx="1136">
                  <c:v>45332</c:v>
                </c:pt>
                <c:pt idx="1137">
                  <c:v>45333</c:v>
                </c:pt>
                <c:pt idx="1138">
                  <c:v>45334</c:v>
                </c:pt>
                <c:pt idx="1139">
                  <c:v>45335</c:v>
                </c:pt>
                <c:pt idx="1140">
                  <c:v>45336</c:v>
                </c:pt>
                <c:pt idx="1141">
                  <c:v>45337</c:v>
                </c:pt>
                <c:pt idx="1142">
                  <c:v>45338</c:v>
                </c:pt>
                <c:pt idx="1143">
                  <c:v>45339</c:v>
                </c:pt>
                <c:pt idx="1144">
                  <c:v>45340</c:v>
                </c:pt>
                <c:pt idx="1145">
                  <c:v>45341</c:v>
                </c:pt>
                <c:pt idx="1146">
                  <c:v>45342</c:v>
                </c:pt>
                <c:pt idx="1147">
                  <c:v>45343</c:v>
                </c:pt>
                <c:pt idx="1148">
                  <c:v>45344</c:v>
                </c:pt>
                <c:pt idx="1149">
                  <c:v>45345</c:v>
                </c:pt>
                <c:pt idx="1150">
                  <c:v>45346</c:v>
                </c:pt>
                <c:pt idx="1151">
                  <c:v>45347</c:v>
                </c:pt>
                <c:pt idx="1152">
                  <c:v>45348</c:v>
                </c:pt>
                <c:pt idx="1153">
                  <c:v>45349</c:v>
                </c:pt>
                <c:pt idx="1154">
                  <c:v>45350</c:v>
                </c:pt>
                <c:pt idx="1155">
                  <c:v>45351</c:v>
                </c:pt>
                <c:pt idx="1156">
                  <c:v>45352</c:v>
                </c:pt>
                <c:pt idx="1157">
                  <c:v>45353</c:v>
                </c:pt>
                <c:pt idx="1158">
                  <c:v>45354</c:v>
                </c:pt>
                <c:pt idx="1159">
                  <c:v>45355</c:v>
                </c:pt>
                <c:pt idx="1160">
                  <c:v>45356</c:v>
                </c:pt>
                <c:pt idx="1161">
                  <c:v>45357</c:v>
                </c:pt>
                <c:pt idx="1162">
                  <c:v>45358</c:v>
                </c:pt>
                <c:pt idx="1163">
                  <c:v>45359</c:v>
                </c:pt>
                <c:pt idx="1164">
                  <c:v>45360</c:v>
                </c:pt>
                <c:pt idx="1165">
                  <c:v>45361</c:v>
                </c:pt>
                <c:pt idx="1166">
                  <c:v>45362</c:v>
                </c:pt>
                <c:pt idx="1167">
                  <c:v>45363</c:v>
                </c:pt>
                <c:pt idx="1168">
                  <c:v>45364</c:v>
                </c:pt>
                <c:pt idx="1169">
                  <c:v>45365</c:v>
                </c:pt>
                <c:pt idx="1170">
                  <c:v>45366</c:v>
                </c:pt>
                <c:pt idx="1171">
                  <c:v>45367</c:v>
                </c:pt>
                <c:pt idx="1172">
                  <c:v>45368</c:v>
                </c:pt>
                <c:pt idx="1173">
                  <c:v>45369</c:v>
                </c:pt>
                <c:pt idx="1174">
                  <c:v>45370</c:v>
                </c:pt>
                <c:pt idx="1175">
                  <c:v>45371</c:v>
                </c:pt>
                <c:pt idx="1176">
                  <c:v>45372</c:v>
                </c:pt>
                <c:pt idx="1177">
                  <c:v>45373</c:v>
                </c:pt>
                <c:pt idx="1178">
                  <c:v>45374</c:v>
                </c:pt>
                <c:pt idx="1179">
                  <c:v>45375</c:v>
                </c:pt>
                <c:pt idx="1180">
                  <c:v>45376</c:v>
                </c:pt>
                <c:pt idx="1181">
                  <c:v>45377</c:v>
                </c:pt>
                <c:pt idx="1182">
                  <c:v>45378</c:v>
                </c:pt>
                <c:pt idx="1183">
                  <c:v>45379</c:v>
                </c:pt>
                <c:pt idx="1184">
                  <c:v>45380</c:v>
                </c:pt>
                <c:pt idx="1185">
                  <c:v>45381</c:v>
                </c:pt>
                <c:pt idx="1186">
                  <c:v>45382</c:v>
                </c:pt>
                <c:pt idx="1187">
                  <c:v>45383</c:v>
                </c:pt>
                <c:pt idx="1188">
                  <c:v>45384</c:v>
                </c:pt>
                <c:pt idx="1189">
                  <c:v>45385</c:v>
                </c:pt>
                <c:pt idx="1190">
                  <c:v>45386</c:v>
                </c:pt>
                <c:pt idx="1191">
                  <c:v>45387</c:v>
                </c:pt>
                <c:pt idx="1192">
                  <c:v>45388</c:v>
                </c:pt>
                <c:pt idx="1193">
                  <c:v>45389</c:v>
                </c:pt>
                <c:pt idx="1194">
                  <c:v>45390</c:v>
                </c:pt>
                <c:pt idx="1195">
                  <c:v>45391</c:v>
                </c:pt>
                <c:pt idx="1196">
                  <c:v>45392</c:v>
                </c:pt>
                <c:pt idx="1197">
                  <c:v>45393</c:v>
                </c:pt>
                <c:pt idx="1198">
                  <c:v>45394</c:v>
                </c:pt>
                <c:pt idx="1199">
                  <c:v>45395</c:v>
                </c:pt>
                <c:pt idx="1200">
                  <c:v>45396</c:v>
                </c:pt>
                <c:pt idx="1201">
                  <c:v>45397</c:v>
                </c:pt>
                <c:pt idx="1202">
                  <c:v>45398</c:v>
                </c:pt>
                <c:pt idx="1203">
                  <c:v>45399</c:v>
                </c:pt>
                <c:pt idx="1204">
                  <c:v>45400</c:v>
                </c:pt>
                <c:pt idx="1205">
                  <c:v>45401</c:v>
                </c:pt>
                <c:pt idx="1206">
                  <c:v>45402</c:v>
                </c:pt>
                <c:pt idx="1207">
                  <c:v>45403</c:v>
                </c:pt>
                <c:pt idx="1208">
                  <c:v>45404</c:v>
                </c:pt>
                <c:pt idx="1209">
                  <c:v>45405</c:v>
                </c:pt>
                <c:pt idx="1210">
                  <c:v>45406</c:v>
                </c:pt>
                <c:pt idx="1211">
                  <c:v>45407</c:v>
                </c:pt>
                <c:pt idx="1212">
                  <c:v>45408</c:v>
                </c:pt>
                <c:pt idx="1213">
                  <c:v>45409</c:v>
                </c:pt>
                <c:pt idx="1214">
                  <c:v>45410</c:v>
                </c:pt>
                <c:pt idx="1215">
                  <c:v>45411</c:v>
                </c:pt>
                <c:pt idx="1216">
                  <c:v>45412</c:v>
                </c:pt>
                <c:pt idx="1217">
                  <c:v>45413</c:v>
                </c:pt>
                <c:pt idx="1218">
                  <c:v>45414</c:v>
                </c:pt>
                <c:pt idx="1219">
                  <c:v>45415</c:v>
                </c:pt>
                <c:pt idx="1220">
                  <c:v>45416</c:v>
                </c:pt>
                <c:pt idx="1221">
                  <c:v>45417</c:v>
                </c:pt>
                <c:pt idx="1222">
                  <c:v>45418</c:v>
                </c:pt>
                <c:pt idx="1223">
                  <c:v>45419</c:v>
                </c:pt>
                <c:pt idx="1224">
                  <c:v>45420</c:v>
                </c:pt>
                <c:pt idx="1225">
                  <c:v>45421</c:v>
                </c:pt>
                <c:pt idx="1226">
                  <c:v>45422</c:v>
                </c:pt>
                <c:pt idx="1227">
                  <c:v>45423</c:v>
                </c:pt>
                <c:pt idx="1228">
                  <c:v>45424</c:v>
                </c:pt>
                <c:pt idx="1229">
                  <c:v>45425</c:v>
                </c:pt>
                <c:pt idx="1230">
                  <c:v>45426</c:v>
                </c:pt>
                <c:pt idx="1231">
                  <c:v>45427</c:v>
                </c:pt>
                <c:pt idx="1232">
                  <c:v>45428</c:v>
                </c:pt>
                <c:pt idx="1233">
                  <c:v>45429</c:v>
                </c:pt>
                <c:pt idx="1234">
                  <c:v>45430</c:v>
                </c:pt>
                <c:pt idx="1235">
                  <c:v>45431</c:v>
                </c:pt>
                <c:pt idx="1236">
                  <c:v>45432</c:v>
                </c:pt>
                <c:pt idx="1237">
                  <c:v>45433</c:v>
                </c:pt>
                <c:pt idx="1238">
                  <c:v>45434</c:v>
                </c:pt>
                <c:pt idx="1239">
                  <c:v>45435</c:v>
                </c:pt>
                <c:pt idx="1240">
                  <c:v>45436</c:v>
                </c:pt>
                <c:pt idx="1241">
                  <c:v>45437</c:v>
                </c:pt>
                <c:pt idx="1242">
                  <c:v>45438</c:v>
                </c:pt>
                <c:pt idx="1243">
                  <c:v>45439</c:v>
                </c:pt>
                <c:pt idx="1244">
                  <c:v>45440</c:v>
                </c:pt>
                <c:pt idx="1245">
                  <c:v>45441</c:v>
                </c:pt>
                <c:pt idx="1246">
                  <c:v>45442</c:v>
                </c:pt>
                <c:pt idx="1247">
                  <c:v>45443</c:v>
                </c:pt>
                <c:pt idx="1248">
                  <c:v>45444</c:v>
                </c:pt>
                <c:pt idx="1249">
                  <c:v>45445</c:v>
                </c:pt>
                <c:pt idx="1250">
                  <c:v>45446</c:v>
                </c:pt>
                <c:pt idx="1251">
                  <c:v>45447</c:v>
                </c:pt>
                <c:pt idx="1252">
                  <c:v>45448</c:v>
                </c:pt>
                <c:pt idx="1253">
                  <c:v>45449</c:v>
                </c:pt>
                <c:pt idx="1254">
                  <c:v>45450</c:v>
                </c:pt>
                <c:pt idx="1255">
                  <c:v>45451</c:v>
                </c:pt>
                <c:pt idx="1256">
                  <c:v>45452</c:v>
                </c:pt>
                <c:pt idx="1257">
                  <c:v>45453</c:v>
                </c:pt>
                <c:pt idx="1258">
                  <c:v>45454</c:v>
                </c:pt>
                <c:pt idx="1259">
                  <c:v>45455</c:v>
                </c:pt>
                <c:pt idx="1260">
                  <c:v>45456</c:v>
                </c:pt>
                <c:pt idx="1261">
                  <c:v>45457</c:v>
                </c:pt>
                <c:pt idx="1262">
                  <c:v>45458</c:v>
                </c:pt>
                <c:pt idx="1263">
                  <c:v>45459</c:v>
                </c:pt>
                <c:pt idx="1264">
                  <c:v>45460</c:v>
                </c:pt>
                <c:pt idx="1265">
                  <c:v>45461</c:v>
                </c:pt>
                <c:pt idx="1266">
                  <c:v>45462</c:v>
                </c:pt>
                <c:pt idx="1267">
                  <c:v>45463</c:v>
                </c:pt>
                <c:pt idx="1268">
                  <c:v>45464</c:v>
                </c:pt>
                <c:pt idx="1269">
                  <c:v>45465</c:v>
                </c:pt>
                <c:pt idx="1270">
                  <c:v>45466</c:v>
                </c:pt>
                <c:pt idx="1271">
                  <c:v>45467</c:v>
                </c:pt>
                <c:pt idx="1272">
                  <c:v>45468</c:v>
                </c:pt>
                <c:pt idx="1273">
                  <c:v>45469</c:v>
                </c:pt>
                <c:pt idx="1274">
                  <c:v>45470</c:v>
                </c:pt>
                <c:pt idx="1275">
                  <c:v>45471</c:v>
                </c:pt>
                <c:pt idx="1276">
                  <c:v>45472</c:v>
                </c:pt>
                <c:pt idx="1277">
                  <c:v>45473</c:v>
                </c:pt>
                <c:pt idx="1278">
                  <c:v>45474</c:v>
                </c:pt>
                <c:pt idx="1279">
                  <c:v>45475</c:v>
                </c:pt>
                <c:pt idx="1280">
                  <c:v>45476</c:v>
                </c:pt>
                <c:pt idx="1281">
                  <c:v>45477</c:v>
                </c:pt>
                <c:pt idx="1282">
                  <c:v>45478</c:v>
                </c:pt>
                <c:pt idx="1283">
                  <c:v>45479</c:v>
                </c:pt>
                <c:pt idx="1284">
                  <c:v>45480</c:v>
                </c:pt>
                <c:pt idx="1285">
                  <c:v>45481</c:v>
                </c:pt>
                <c:pt idx="1286">
                  <c:v>45482</c:v>
                </c:pt>
                <c:pt idx="1287">
                  <c:v>45483</c:v>
                </c:pt>
                <c:pt idx="1288">
                  <c:v>45484</c:v>
                </c:pt>
                <c:pt idx="1289">
                  <c:v>45485</c:v>
                </c:pt>
                <c:pt idx="1290">
                  <c:v>45486</c:v>
                </c:pt>
                <c:pt idx="1291">
                  <c:v>45487</c:v>
                </c:pt>
                <c:pt idx="1292">
                  <c:v>45488</c:v>
                </c:pt>
                <c:pt idx="1293">
                  <c:v>45489</c:v>
                </c:pt>
                <c:pt idx="1294">
                  <c:v>45490</c:v>
                </c:pt>
                <c:pt idx="1295">
                  <c:v>45491</c:v>
                </c:pt>
                <c:pt idx="1296">
                  <c:v>45492</c:v>
                </c:pt>
                <c:pt idx="1297">
                  <c:v>45493</c:v>
                </c:pt>
                <c:pt idx="1298">
                  <c:v>45494</c:v>
                </c:pt>
                <c:pt idx="1299">
                  <c:v>45495</c:v>
                </c:pt>
                <c:pt idx="1300">
                  <c:v>45496</c:v>
                </c:pt>
                <c:pt idx="1301">
                  <c:v>45497</c:v>
                </c:pt>
                <c:pt idx="1302">
                  <c:v>45498</c:v>
                </c:pt>
                <c:pt idx="1303">
                  <c:v>45499</c:v>
                </c:pt>
                <c:pt idx="1304">
                  <c:v>45500</c:v>
                </c:pt>
                <c:pt idx="1305">
                  <c:v>45501</c:v>
                </c:pt>
                <c:pt idx="1306">
                  <c:v>45502</c:v>
                </c:pt>
                <c:pt idx="1307">
                  <c:v>45503</c:v>
                </c:pt>
                <c:pt idx="1308">
                  <c:v>45504</c:v>
                </c:pt>
                <c:pt idx="1309">
                  <c:v>45505</c:v>
                </c:pt>
                <c:pt idx="1310">
                  <c:v>45506</c:v>
                </c:pt>
                <c:pt idx="1311">
                  <c:v>45507</c:v>
                </c:pt>
                <c:pt idx="1312">
                  <c:v>45508</c:v>
                </c:pt>
                <c:pt idx="1313">
                  <c:v>45509</c:v>
                </c:pt>
                <c:pt idx="1314">
                  <c:v>45510</c:v>
                </c:pt>
                <c:pt idx="1315">
                  <c:v>45511</c:v>
                </c:pt>
                <c:pt idx="1316">
                  <c:v>45512</c:v>
                </c:pt>
                <c:pt idx="1317">
                  <c:v>45513</c:v>
                </c:pt>
                <c:pt idx="1318">
                  <c:v>45514</c:v>
                </c:pt>
                <c:pt idx="1319">
                  <c:v>45515</c:v>
                </c:pt>
                <c:pt idx="1320">
                  <c:v>45516</c:v>
                </c:pt>
                <c:pt idx="1321">
                  <c:v>45517</c:v>
                </c:pt>
                <c:pt idx="1322">
                  <c:v>45518</c:v>
                </c:pt>
                <c:pt idx="1323">
                  <c:v>45519</c:v>
                </c:pt>
                <c:pt idx="1324">
                  <c:v>45520</c:v>
                </c:pt>
                <c:pt idx="1325">
                  <c:v>45521</c:v>
                </c:pt>
                <c:pt idx="1326">
                  <c:v>45522</c:v>
                </c:pt>
                <c:pt idx="1327">
                  <c:v>45523</c:v>
                </c:pt>
                <c:pt idx="1328">
                  <c:v>45524</c:v>
                </c:pt>
                <c:pt idx="1329">
                  <c:v>45525</c:v>
                </c:pt>
                <c:pt idx="1330">
                  <c:v>45526</c:v>
                </c:pt>
                <c:pt idx="1331">
                  <c:v>45527</c:v>
                </c:pt>
                <c:pt idx="1332">
                  <c:v>45528</c:v>
                </c:pt>
                <c:pt idx="1333">
                  <c:v>45529</c:v>
                </c:pt>
                <c:pt idx="1334">
                  <c:v>45530</c:v>
                </c:pt>
                <c:pt idx="1335">
                  <c:v>45531</c:v>
                </c:pt>
                <c:pt idx="1336">
                  <c:v>45532</c:v>
                </c:pt>
                <c:pt idx="1337">
                  <c:v>45533</c:v>
                </c:pt>
                <c:pt idx="1338">
                  <c:v>45534</c:v>
                </c:pt>
                <c:pt idx="1339">
                  <c:v>45535</c:v>
                </c:pt>
                <c:pt idx="1340">
                  <c:v>45536</c:v>
                </c:pt>
                <c:pt idx="1341">
                  <c:v>45537</c:v>
                </c:pt>
                <c:pt idx="1342">
                  <c:v>45538</c:v>
                </c:pt>
                <c:pt idx="1343">
                  <c:v>45539</c:v>
                </c:pt>
                <c:pt idx="1344">
                  <c:v>45540</c:v>
                </c:pt>
                <c:pt idx="1345">
                  <c:v>45541</c:v>
                </c:pt>
                <c:pt idx="1346">
                  <c:v>45542</c:v>
                </c:pt>
                <c:pt idx="1347">
                  <c:v>45543</c:v>
                </c:pt>
                <c:pt idx="1348">
                  <c:v>45544</c:v>
                </c:pt>
                <c:pt idx="1349">
                  <c:v>45545</c:v>
                </c:pt>
                <c:pt idx="1350">
                  <c:v>45546</c:v>
                </c:pt>
                <c:pt idx="1351">
                  <c:v>45547</c:v>
                </c:pt>
                <c:pt idx="1352">
                  <c:v>45548</c:v>
                </c:pt>
                <c:pt idx="1353">
                  <c:v>45549</c:v>
                </c:pt>
                <c:pt idx="1354">
                  <c:v>45550</c:v>
                </c:pt>
                <c:pt idx="1355">
                  <c:v>45551</c:v>
                </c:pt>
                <c:pt idx="1356">
                  <c:v>45552</c:v>
                </c:pt>
                <c:pt idx="1357">
                  <c:v>45553</c:v>
                </c:pt>
                <c:pt idx="1358">
                  <c:v>45554</c:v>
                </c:pt>
                <c:pt idx="1359">
                  <c:v>45555</c:v>
                </c:pt>
                <c:pt idx="1360">
                  <c:v>45556</c:v>
                </c:pt>
                <c:pt idx="1361">
                  <c:v>45557</c:v>
                </c:pt>
                <c:pt idx="1362">
                  <c:v>45558</c:v>
                </c:pt>
                <c:pt idx="1363">
                  <c:v>45559</c:v>
                </c:pt>
                <c:pt idx="1364">
                  <c:v>45560</c:v>
                </c:pt>
                <c:pt idx="1365">
                  <c:v>45561</c:v>
                </c:pt>
                <c:pt idx="1366">
                  <c:v>45562</c:v>
                </c:pt>
                <c:pt idx="1367">
                  <c:v>45563</c:v>
                </c:pt>
                <c:pt idx="1368">
                  <c:v>45564</c:v>
                </c:pt>
                <c:pt idx="1369">
                  <c:v>45565</c:v>
                </c:pt>
                <c:pt idx="1370">
                  <c:v>45566</c:v>
                </c:pt>
                <c:pt idx="1371">
                  <c:v>45567</c:v>
                </c:pt>
                <c:pt idx="1372">
                  <c:v>45568</c:v>
                </c:pt>
                <c:pt idx="1373">
                  <c:v>45569</c:v>
                </c:pt>
                <c:pt idx="1374">
                  <c:v>45570</c:v>
                </c:pt>
                <c:pt idx="1375">
                  <c:v>45571</c:v>
                </c:pt>
                <c:pt idx="1376">
                  <c:v>45572</c:v>
                </c:pt>
                <c:pt idx="1377">
                  <c:v>45573</c:v>
                </c:pt>
                <c:pt idx="1378">
                  <c:v>45574</c:v>
                </c:pt>
                <c:pt idx="1379">
                  <c:v>45575</c:v>
                </c:pt>
                <c:pt idx="1380">
                  <c:v>45576</c:v>
                </c:pt>
                <c:pt idx="1381">
                  <c:v>45577</c:v>
                </c:pt>
                <c:pt idx="1382">
                  <c:v>45578</c:v>
                </c:pt>
                <c:pt idx="1383">
                  <c:v>45579</c:v>
                </c:pt>
                <c:pt idx="1384">
                  <c:v>45580</c:v>
                </c:pt>
                <c:pt idx="1385">
                  <c:v>45581</c:v>
                </c:pt>
                <c:pt idx="1386">
                  <c:v>45582</c:v>
                </c:pt>
                <c:pt idx="1387">
                  <c:v>45583</c:v>
                </c:pt>
                <c:pt idx="1388">
                  <c:v>45584</c:v>
                </c:pt>
                <c:pt idx="1389">
                  <c:v>45585</c:v>
                </c:pt>
                <c:pt idx="1390">
                  <c:v>45586</c:v>
                </c:pt>
                <c:pt idx="1391">
                  <c:v>45587</c:v>
                </c:pt>
                <c:pt idx="1392">
                  <c:v>45588</c:v>
                </c:pt>
                <c:pt idx="1393">
                  <c:v>45589</c:v>
                </c:pt>
                <c:pt idx="1394">
                  <c:v>45590</c:v>
                </c:pt>
                <c:pt idx="1395">
                  <c:v>45591</c:v>
                </c:pt>
                <c:pt idx="1396">
                  <c:v>45592</c:v>
                </c:pt>
                <c:pt idx="1397">
                  <c:v>45593</c:v>
                </c:pt>
                <c:pt idx="1398">
                  <c:v>45594</c:v>
                </c:pt>
                <c:pt idx="1399">
                  <c:v>45595</c:v>
                </c:pt>
                <c:pt idx="1400">
                  <c:v>45596</c:v>
                </c:pt>
                <c:pt idx="1401">
                  <c:v>45597</c:v>
                </c:pt>
                <c:pt idx="1402">
                  <c:v>45598</c:v>
                </c:pt>
                <c:pt idx="1403">
                  <c:v>45599</c:v>
                </c:pt>
                <c:pt idx="1404">
                  <c:v>45600</c:v>
                </c:pt>
                <c:pt idx="1405">
                  <c:v>45601</c:v>
                </c:pt>
                <c:pt idx="1406">
                  <c:v>45602</c:v>
                </c:pt>
                <c:pt idx="1407">
                  <c:v>45603</c:v>
                </c:pt>
                <c:pt idx="1408">
                  <c:v>45604</c:v>
                </c:pt>
                <c:pt idx="1409">
                  <c:v>45605</c:v>
                </c:pt>
                <c:pt idx="1410">
                  <c:v>45606</c:v>
                </c:pt>
                <c:pt idx="1411">
                  <c:v>45607</c:v>
                </c:pt>
                <c:pt idx="1412">
                  <c:v>45608</c:v>
                </c:pt>
                <c:pt idx="1413">
                  <c:v>45609</c:v>
                </c:pt>
                <c:pt idx="1414">
                  <c:v>45610</c:v>
                </c:pt>
                <c:pt idx="1415">
                  <c:v>45611</c:v>
                </c:pt>
                <c:pt idx="1416">
                  <c:v>45612</c:v>
                </c:pt>
                <c:pt idx="1417">
                  <c:v>45613</c:v>
                </c:pt>
                <c:pt idx="1418">
                  <c:v>45614</c:v>
                </c:pt>
                <c:pt idx="1419">
                  <c:v>45615</c:v>
                </c:pt>
                <c:pt idx="1420">
                  <c:v>45616</c:v>
                </c:pt>
                <c:pt idx="1421">
                  <c:v>45617</c:v>
                </c:pt>
                <c:pt idx="1422">
                  <c:v>45618</c:v>
                </c:pt>
                <c:pt idx="1423">
                  <c:v>45619</c:v>
                </c:pt>
                <c:pt idx="1424">
                  <c:v>45620</c:v>
                </c:pt>
                <c:pt idx="1425">
                  <c:v>45621</c:v>
                </c:pt>
                <c:pt idx="1426">
                  <c:v>45622</c:v>
                </c:pt>
                <c:pt idx="1427">
                  <c:v>45623</c:v>
                </c:pt>
                <c:pt idx="1428">
                  <c:v>45624</c:v>
                </c:pt>
                <c:pt idx="1429">
                  <c:v>45625</c:v>
                </c:pt>
                <c:pt idx="1430">
                  <c:v>45626</c:v>
                </c:pt>
                <c:pt idx="1431">
                  <c:v>45627</c:v>
                </c:pt>
                <c:pt idx="1432">
                  <c:v>45628</c:v>
                </c:pt>
                <c:pt idx="1433">
                  <c:v>45629</c:v>
                </c:pt>
                <c:pt idx="1434">
                  <c:v>45630</c:v>
                </c:pt>
                <c:pt idx="1435">
                  <c:v>45631</c:v>
                </c:pt>
                <c:pt idx="1436">
                  <c:v>45632</c:v>
                </c:pt>
                <c:pt idx="1437">
                  <c:v>45633</c:v>
                </c:pt>
                <c:pt idx="1438">
                  <c:v>45634</c:v>
                </c:pt>
                <c:pt idx="1439">
                  <c:v>45635</c:v>
                </c:pt>
                <c:pt idx="1440">
                  <c:v>45636</c:v>
                </c:pt>
                <c:pt idx="1441">
                  <c:v>45637</c:v>
                </c:pt>
                <c:pt idx="1442">
                  <c:v>45638</c:v>
                </c:pt>
                <c:pt idx="1443">
                  <c:v>45639</c:v>
                </c:pt>
                <c:pt idx="1444">
                  <c:v>45640</c:v>
                </c:pt>
                <c:pt idx="1445">
                  <c:v>45641</c:v>
                </c:pt>
                <c:pt idx="1446">
                  <c:v>45642</c:v>
                </c:pt>
                <c:pt idx="1447">
                  <c:v>45643</c:v>
                </c:pt>
                <c:pt idx="1448">
                  <c:v>45644</c:v>
                </c:pt>
                <c:pt idx="1449">
                  <c:v>45645</c:v>
                </c:pt>
                <c:pt idx="1450">
                  <c:v>45646</c:v>
                </c:pt>
                <c:pt idx="1451">
                  <c:v>45647</c:v>
                </c:pt>
                <c:pt idx="1452">
                  <c:v>45648</c:v>
                </c:pt>
                <c:pt idx="1453">
                  <c:v>45649</c:v>
                </c:pt>
                <c:pt idx="1454">
                  <c:v>45650</c:v>
                </c:pt>
                <c:pt idx="1455">
                  <c:v>45651</c:v>
                </c:pt>
                <c:pt idx="1456">
                  <c:v>45652</c:v>
                </c:pt>
                <c:pt idx="1457">
                  <c:v>45653</c:v>
                </c:pt>
                <c:pt idx="1458">
                  <c:v>45654</c:v>
                </c:pt>
                <c:pt idx="1459">
                  <c:v>45655</c:v>
                </c:pt>
                <c:pt idx="1460">
                  <c:v>45656</c:v>
                </c:pt>
                <c:pt idx="1461">
                  <c:v>45657</c:v>
                </c:pt>
                <c:pt idx="1462">
                  <c:v>45658</c:v>
                </c:pt>
                <c:pt idx="1463">
                  <c:v>45659</c:v>
                </c:pt>
                <c:pt idx="1464">
                  <c:v>45660</c:v>
                </c:pt>
                <c:pt idx="1465">
                  <c:v>45661</c:v>
                </c:pt>
                <c:pt idx="1466">
                  <c:v>45662</c:v>
                </c:pt>
                <c:pt idx="1467">
                  <c:v>45663</c:v>
                </c:pt>
                <c:pt idx="1468">
                  <c:v>45664</c:v>
                </c:pt>
                <c:pt idx="1469">
                  <c:v>45665</c:v>
                </c:pt>
                <c:pt idx="1470">
                  <c:v>45666</c:v>
                </c:pt>
                <c:pt idx="1471">
                  <c:v>45667</c:v>
                </c:pt>
                <c:pt idx="1472">
                  <c:v>45668</c:v>
                </c:pt>
                <c:pt idx="1473">
                  <c:v>45669</c:v>
                </c:pt>
                <c:pt idx="1474">
                  <c:v>45670</c:v>
                </c:pt>
                <c:pt idx="1475">
                  <c:v>45671</c:v>
                </c:pt>
                <c:pt idx="1476">
                  <c:v>45672</c:v>
                </c:pt>
                <c:pt idx="1477">
                  <c:v>45673</c:v>
                </c:pt>
                <c:pt idx="1478">
                  <c:v>45674</c:v>
                </c:pt>
                <c:pt idx="1479">
                  <c:v>45675</c:v>
                </c:pt>
                <c:pt idx="1480">
                  <c:v>45676</c:v>
                </c:pt>
                <c:pt idx="1481">
                  <c:v>45677</c:v>
                </c:pt>
                <c:pt idx="1482">
                  <c:v>45678</c:v>
                </c:pt>
                <c:pt idx="1483">
                  <c:v>45679</c:v>
                </c:pt>
                <c:pt idx="1484">
                  <c:v>45680</c:v>
                </c:pt>
                <c:pt idx="1485">
                  <c:v>45681</c:v>
                </c:pt>
                <c:pt idx="1486">
                  <c:v>45682</c:v>
                </c:pt>
                <c:pt idx="1487">
                  <c:v>45683</c:v>
                </c:pt>
                <c:pt idx="1488">
                  <c:v>45684</c:v>
                </c:pt>
                <c:pt idx="1489">
                  <c:v>45685</c:v>
                </c:pt>
                <c:pt idx="1490">
                  <c:v>45686</c:v>
                </c:pt>
                <c:pt idx="1491">
                  <c:v>45687</c:v>
                </c:pt>
                <c:pt idx="1492">
                  <c:v>45688</c:v>
                </c:pt>
                <c:pt idx="1493">
                  <c:v>45689</c:v>
                </c:pt>
                <c:pt idx="1494">
                  <c:v>45690</c:v>
                </c:pt>
                <c:pt idx="1495">
                  <c:v>45691</c:v>
                </c:pt>
                <c:pt idx="1496">
                  <c:v>45692</c:v>
                </c:pt>
                <c:pt idx="1497">
                  <c:v>45693</c:v>
                </c:pt>
                <c:pt idx="1498">
                  <c:v>45694</c:v>
                </c:pt>
                <c:pt idx="1499">
                  <c:v>45695</c:v>
                </c:pt>
                <c:pt idx="1500">
                  <c:v>45696</c:v>
                </c:pt>
                <c:pt idx="1501">
                  <c:v>45697</c:v>
                </c:pt>
                <c:pt idx="1502">
                  <c:v>45698</c:v>
                </c:pt>
                <c:pt idx="1503">
                  <c:v>45699</c:v>
                </c:pt>
                <c:pt idx="1504">
                  <c:v>45700</c:v>
                </c:pt>
                <c:pt idx="1505">
                  <c:v>45701</c:v>
                </c:pt>
                <c:pt idx="1506">
                  <c:v>45702</c:v>
                </c:pt>
                <c:pt idx="1507">
                  <c:v>45703</c:v>
                </c:pt>
                <c:pt idx="1508">
                  <c:v>45704</c:v>
                </c:pt>
                <c:pt idx="1509">
                  <c:v>45705</c:v>
                </c:pt>
                <c:pt idx="1510">
                  <c:v>45706</c:v>
                </c:pt>
                <c:pt idx="1511">
                  <c:v>45707</c:v>
                </c:pt>
                <c:pt idx="1512">
                  <c:v>45708</c:v>
                </c:pt>
                <c:pt idx="1513">
                  <c:v>45709</c:v>
                </c:pt>
                <c:pt idx="1514">
                  <c:v>45710</c:v>
                </c:pt>
                <c:pt idx="1515">
                  <c:v>45711</c:v>
                </c:pt>
                <c:pt idx="1516">
                  <c:v>45712</c:v>
                </c:pt>
                <c:pt idx="1517">
                  <c:v>45713</c:v>
                </c:pt>
                <c:pt idx="1518">
                  <c:v>45714</c:v>
                </c:pt>
                <c:pt idx="1519">
                  <c:v>45715</c:v>
                </c:pt>
                <c:pt idx="1520">
                  <c:v>45716</c:v>
                </c:pt>
                <c:pt idx="1521">
                  <c:v>45717</c:v>
                </c:pt>
                <c:pt idx="1522">
                  <c:v>45718</c:v>
                </c:pt>
                <c:pt idx="1523">
                  <c:v>45719</c:v>
                </c:pt>
                <c:pt idx="1524">
                  <c:v>45720</c:v>
                </c:pt>
                <c:pt idx="1525">
                  <c:v>45721</c:v>
                </c:pt>
                <c:pt idx="1526">
                  <c:v>45722</c:v>
                </c:pt>
                <c:pt idx="1527">
                  <c:v>45723</c:v>
                </c:pt>
                <c:pt idx="1528">
                  <c:v>45724</c:v>
                </c:pt>
                <c:pt idx="1529">
                  <c:v>45725</c:v>
                </c:pt>
                <c:pt idx="1530">
                  <c:v>45726</c:v>
                </c:pt>
                <c:pt idx="1531">
                  <c:v>45727</c:v>
                </c:pt>
                <c:pt idx="1532">
                  <c:v>45728</c:v>
                </c:pt>
                <c:pt idx="1533">
                  <c:v>45729</c:v>
                </c:pt>
                <c:pt idx="1534">
                  <c:v>45730</c:v>
                </c:pt>
                <c:pt idx="1535">
                  <c:v>45731</c:v>
                </c:pt>
                <c:pt idx="1536">
                  <c:v>45732</c:v>
                </c:pt>
                <c:pt idx="1537">
                  <c:v>45733</c:v>
                </c:pt>
                <c:pt idx="1538">
                  <c:v>45734</c:v>
                </c:pt>
                <c:pt idx="1539">
                  <c:v>45735</c:v>
                </c:pt>
                <c:pt idx="1540">
                  <c:v>45736</c:v>
                </c:pt>
                <c:pt idx="1541">
                  <c:v>45737</c:v>
                </c:pt>
                <c:pt idx="1542">
                  <c:v>45738</c:v>
                </c:pt>
                <c:pt idx="1543">
                  <c:v>45739</c:v>
                </c:pt>
                <c:pt idx="1544">
                  <c:v>45740</c:v>
                </c:pt>
                <c:pt idx="1545">
                  <c:v>45741</c:v>
                </c:pt>
                <c:pt idx="1546">
                  <c:v>45742</c:v>
                </c:pt>
                <c:pt idx="1547">
                  <c:v>45743</c:v>
                </c:pt>
                <c:pt idx="1548">
                  <c:v>45744</c:v>
                </c:pt>
                <c:pt idx="1549">
                  <c:v>45745</c:v>
                </c:pt>
                <c:pt idx="1550">
                  <c:v>45746</c:v>
                </c:pt>
                <c:pt idx="1551">
                  <c:v>45747</c:v>
                </c:pt>
                <c:pt idx="1552">
                  <c:v>45748</c:v>
                </c:pt>
                <c:pt idx="1553">
                  <c:v>45749</c:v>
                </c:pt>
                <c:pt idx="1554">
                  <c:v>45750</c:v>
                </c:pt>
                <c:pt idx="1555">
                  <c:v>45751</c:v>
                </c:pt>
                <c:pt idx="1556">
                  <c:v>45752</c:v>
                </c:pt>
                <c:pt idx="1557">
                  <c:v>45753</c:v>
                </c:pt>
                <c:pt idx="1558">
                  <c:v>45754</c:v>
                </c:pt>
                <c:pt idx="1559">
                  <c:v>45755</c:v>
                </c:pt>
                <c:pt idx="1560">
                  <c:v>45756</c:v>
                </c:pt>
                <c:pt idx="1561">
                  <c:v>45757</c:v>
                </c:pt>
                <c:pt idx="1562">
                  <c:v>45758</c:v>
                </c:pt>
                <c:pt idx="1563">
                  <c:v>45759</c:v>
                </c:pt>
                <c:pt idx="1564">
                  <c:v>45760</c:v>
                </c:pt>
                <c:pt idx="1565">
                  <c:v>45761</c:v>
                </c:pt>
                <c:pt idx="1566">
                  <c:v>45762</c:v>
                </c:pt>
                <c:pt idx="1567">
                  <c:v>45763</c:v>
                </c:pt>
                <c:pt idx="1568">
                  <c:v>45764</c:v>
                </c:pt>
                <c:pt idx="1569">
                  <c:v>45765</c:v>
                </c:pt>
                <c:pt idx="1570">
                  <c:v>45766</c:v>
                </c:pt>
                <c:pt idx="1571">
                  <c:v>45767</c:v>
                </c:pt>
                <c:pt idx="1572">
                  <c:v>45768</c:v>
                </c:pt>
                <c:pt idx="1573">
                  <c:v>45769</c:v>
                </c:pt>
                <c:pt idx="1574">
                  <c:v>45770</c:v>
                </c:pt>
                <c:pt idx="1575">
                  <c:v>45771</c:v>
                </c:pt>
                <c:pt idx="1576">
                  <c:v>45772</c:v>
                </c:pt>
                <c:pt idx="1577">
                  <c:v>45773</c:v>
                </c:pt>
                <c:pt idx="1578">
                  <c:v>45774</c:v>
                </c:pt>
                <c:pt idx="1579">
                  <c:v>45775</c:v>
                </c:pt>
                <c:pt idx="1580">
                  <c:v>45776</c:v>
                </c:pt>
                <c:pt idx="1581">
                  <c:v>45777</c:v>
                </c:pt>
                <c:pt idx="1582">
                  <c:v>45778</c:v>
                </c:pt>
                <c:pt idx="1583">
                  <c:v>45779</c:v>
                </c:pt>
                <c:pt idx="1584">
                  <c:v>45780</c:v>
                </c:pt>
                <c:pt idx="1585">
                  <c:v>45781</c:v>
                </c:pt>
                <c:pt idx="1586">
                  <c:v>45782</c:v>
                </c:pt>
                <c:pt idx="1587">
                  <c:v>45783</c:v>
                </c:pt>
                <c:pt idx="1588">
                  <c:v>45784</c:v>
                </c:pt>
                <c:pt idx="1589">
                  <c:v>45785</c:v>
                </c:pt>
                <c:pt idx="1590">
                  <c:v>45786</c:v>
                </c:pt>
                <c:pt idx="1591">
                  <c:v>45787</c:v>
                </c:pt>
                <c:pt idx="1592">
                  <c:v>45788</c:v>
                </c:pt>
                <c:pt idx="1593">
                  <c:v>45789</c:v>
                </c:pt>
                <c:pt idx="1594">
                  <c:v>45790</c:v>
                </c:pt>
                <c:pt idx="1595">
                  <c:v>45791</c:v>
                </c:pt>
                <c:pt idx="1596">
                  <c:v>45792</c:v>
                </c:pt>
                <c:pt idx="1597">
                  <c:v>45793</c:v>
                </c:pt>
                <c:pt idx="1598">
                  <c:v>45794</c:v>
                </c:pt>
                <c:pt idx="1599">
                  <c:v>45795</c:v>
                </c:pt>
                <c:pt idx="1600">
                  <c:v>45796</c:v>
                </c:pt>
                <c:pt idx="1601">
                  <c:v>45797</c:v>
                </c:pt>
                <c:pt idx="1602">
                  <c:v>45798</c:v>
                </c:pt>
                <c:pt idx="1603">
                  <c:v>45799</c:v>
                </c:pt>
                <c:pt idx="1604">
                  <c:v>45800</c:v>
                </c:pt>
                <c:pt idx="1605">
                  <c:v>45801</c:v>
                </c:pt>
                <c:pt idx="1606">
                  <c:v>45802</c:v>
                </c:pt>
                <c:pt idx="1607">
                  <c:v>45803</c:v>
                </c:pt>
                <c:pt idx="1608">
                  <c:v>45804</c:v>
                </c:pt>
                <c:pt idx="1609">
                  <c:v>45805</c:v>
                </c:pt>
                <c:pt idx="1610">
                  <c:v>45806</c:v>
                </c:pt>
                <c:pt idx="1611">
                  <c:v>45807</c:v>
                </c:pt>
                <c:pt idx="1612">
                  <c:v>45808</c:v>
                </c:pt>
                <c:pt idx="1613">
                  <c:v>45809</c:v>
                </c:pt>
                <c:pt idx="1614">
                  <c:v>45810</c:v>
                </c:pt>
                <c:pt idx="1615">
                  <c:v>45811</c:v>
                </c:pt>
                <c:pt idx="1616">
                  <c:v>45812</c:v>
                </c:pt>
                <c:pt idx="1617">
                  <c:v>45813</c:v>
                </c:pt>
                <c:pt idx="1618">
                  <c:v>45814</c:v>
                </c:pt>
                <c:pt idx="1619">
                  <c:v>45815</c:v>
                </c:pt>
                <c:pt idx="1620">
                  <c:v>45816</c:v>
                </c:pt>
                <c:pt idx="1621">
                  <c:v>45817</c:v>
                </c:pt>
                <c:pt idx="1622">
                  <c:v>45818</c:v>
                </c:pt>
                <c:pt idx="1623">
                  <c:v>45819</c:v>
                </c:pt>
                <c:pt idx="1624">
                  <c:v>45820</c:v>
                </c:pt>
                <c:pt idx="1625">
                  <c:v>45821</c:v>
                </c:pt>
                <c:pt idx="1626">
                  <c:v>45822</c:v>
                </c:pt>
                <c:pt idx="1627">
                  <c:v>45823</c:v>
                </c:pt>
                <c:pt idx="1628">
                  <c:v>45824</c:v>
                </c:pt>
                <c:pt idx="1629">
                  <c:v>45825</c:v>
                </c:pt>
                <c:pt idx="1630">
                  <c:v>45826</c:v>
                </c:pt>
                <c:pt idx="1631">
                  <c:v>45827</c:v>
                </c:pt>
                <c:pt idx="1632">
                  <c:v>45828</c:v>
                </c:pt>
                <c:pt idx="1633">
                  <c:v>45829</c:v>
                </c:pt>
                <c:pt idx="1634">
                  <c:v>45830</c:v>
                </c:pt>
                <c:pt idx="1635">
                  <c:v>45831</c:v>
                </c:pt>
                <c:pt idx="1636">
                  <c:v>45832</c:v>
                </c:pt>
                <c:pt idx="1637">
                  <c:v>45833</c:v>
                </c:pt>
                <c:pt idx="1638">
                  <c:v>45834</c:v>
                </c:pt>
                <c:pt idx="1639">
                  <c:v>45835</c:v>
                </c:pt>
                <c:pt idx="1640">
                  <c:v>45836</c:v>
                </c:pt>
                <c:pt idx="1641">
                  <c:v>45837</c:v>
                </c:pt>
                <c:pt idx="1642">
                  <c:v>45838</c:v>
                </c:pt>
                <c:pt idx="1643">
                  <c:v>45839</c:v>
                </c:pt>
                <c:pt idx="1644">
                  <c:v>45840</c:v>
                </c:pt>
                <c:pt idx="1645">
                  <c:v>45841</c:v>
                </c:pt>
                <c:pt idx="1646">
                  <c:v>45842</c:v>
                </c:pt>
                <c:pt idx="1647">
                  <c:v>45843</c:v>
                </c:pt>
                <c:pt idx="1648">
                  <c:v>45844</c:v>
                </c:pt>
                <c:pt idx="1649">
                  <c:v>45845</c:v>
                </c:pt>
                <c:pt idx="1650">
                  <c:v>45846</c:v>
                </c:pt>
                <c:pt idx="1651">
                  <c:v>45847</c:v>
                </c:pt>
                <c:pt idx="1652">
                  <c:v>45848</c:v>
                </c:pt>
                <c:pt idx="1653">
                  <c:v>45849</c:v>
                </c:pt>
                <c:pt idx="1654">
                  <c:v>45850</c:v>
                </c:pt>
                <c:pt idx="1655">
                  <c:v>45851</c:v>
                </c:pt>
                <c:pt idx="1656">
                  <c:v>45852</c:v>
                </c:pt>
                <c:pt idx="1657">
                  <c:v>45853</c:v>
                </c:pt>
                <c:pt idx="1658">
                  <c:v>45854</c:v>
                </c:pt>
                <c:pt idx="1659">
                  <c:v>45855</c:v>
                </c:pt>
                <c:pt idx="1660">
                  <c:v>45856</c:v>
                </c:pt>
                <c:pt idx="1661">
                  <c:v>45857</c:v>
                </c:pt>
                <c:pt idx="1662">
                  <c:v>45858</c:v>
                </c:pt>
                <c:pt idx="1663">
                  <c:v>45859</c:v>
                </c:pt>
                <c:pt idx="1664">
                  <c:v>45860</c:v>
                </c:pt>
                <c:pt idx="1665">
                  <c:v>45861</c:v>
                </c:pt>
                <c:pt idx="1666">
                  <c:v>45862</c:v>
                </c:pt>
                <c:pt idx="1667">
                  <c:v>45863</c:v>
                </c:pt>
                <c:pt idx="1668">
                  <c:v>45864</c:v>
                </c:pt>
                <c:pt idx="1669">
                  <c:v>45865</c:v>
                </c:pt>
                <c:pt idx="1670">
                  <c:v>45866</c:v>
                </c:pt>
                <c:pt idx="1671">
                  <c:v>45867</c:v>
                </c:pt>
                <c:pt idx="1672">
                  <c:v>45868</c:v>
                </c:pt>
                <c:pt idx="1673">
                  <c:v>45869</c:v>
                </c:pt>
                <c:pt idx="1674">
                  <c:v>45870</c:v>
                </c:pt>
                <c:pt idx="1675">
                  <c:v>45871</c:v>
                </c:pt>
                <c:pt idx="1676">
                  <c:v>45872</c:v>
                </c:pt>
                <c:pt idx="1677">
                  <c:v>45873</c:v>
                </c:pt>
                <c:pt idx="1678">
                  <c:v>45874</c:v>
                </c:pt>
                <c:pt idx="1679">
                  <c:v>45875</c:v>
                </c:pt>
                <c:pt idx="1680">
                  <c:v>45876</c:v>
                </c:pt>
                <c:pt idx="1681">
                  <c:v>45877</c:v>
                </c:pt>
                <c:pt idx="1682">
                  <c:v>45878</c:v>
                </c:pt>
                <c:pt idx="1683">
                  <c:v>45879</c:v>
                </c:pt>
                <c:pt idx="1684">
                  <c:v>45880</c:v>
                </c:pt>
                <c:pt idx="1685">
                  <c:v>45881</c:v>
                </c:pt>
                <c:pt idx="1686">
                  <c:v>45882</c:v>
                </c:pt>
                <c:pt idx="1687">
                  <c:v>45883</c:v>
                </c:pt>
                <c:pt idx="1688">
                  <c:v>45884</c:v>
                </c:pt>
                <c:pt idx="1689">
                  <c:v>45885</c:v>
                </c:pt>
                <c:pt idx="1690">
                  <c:v>45886</c:v>
                </c:pt>
                <c:pt idx="1691">
                  <c:v>45887</c:v>
                </c:pt>
                <c:pt idx="1692">
                  <c:v>45888</c:v>
                </c:pt>
                <c:pt idx="1693">
                  <c:v>45889</c:v>
                </c:pt>
                <c:pt idx="1694">
                  <c:v>45890</c:v>
                </c:pt>
                <c:pt idx="1695">
                  <c:v>45891</c:v>
                </c:pt>
                <c:pt idx="1696">
                  <c:v>45892</c:v>
                </c:pt>
                <c:pt idx="1697">
                  <c:v>45893</c:v>
                </c:pt>
                <c:pt idx="1698">
                  <c:v>45894</c:v>
                </c:pt>
                <c:pt idx="1699">
                  <c:v>45895</c:v>
                </c:pt>
                <c:pt idx="1700">
                  <c:v>45896</c:v>
                </c:pt>
                <c:pt idx="1701">
                  <c:v>45897</c:v>
                </c:pt>
                <c:pt idx="1702">
                  <c:v>45898</c:v>
                </c:pt>
                <c:pt idx="1703">
                  <c:v>45899</c:v>
                </c:pt>
                <c:pt idx="1704">
                  <c:v>45900</c:v>
                </c:pt>
                <c:pt idx="1705">
                  <c:v>45901</c:v>
                </c:pt>
                <c:pt idx="1706">
                  <c:v>45902</c:v>
                </c:pt>
                <c:pt idx="1707">
                  <c:v>45903</c:v>
                </c:pt>
                <c:pt idx="1708">
                  <c:v>45904</c:v>
                </c:pt>
                <c:pt idx="1709">
                  <c:v>45905</c:v>
                </c:pt>
                <c:pt idx="1710">
                  <c:v>45906</c:v>
                </c:pt>
                <c:pt idx="1711">
                  <c:v>45907</c:v>
                </c:pt>
                <c:pt idx="1712">
                  <c:v>45908</c:v>
                </c:pt>
                <c:pt idx="1713">
                  <c:v>45909</c:v>
                </c:pt>
                <c:pt idx="1714">
                  <c:v>45910</c:v>
                </c:pt>
                <c:pt idx="1715">
                  <c:v>45911</c:v>
                </c:pt>
                <c:pt idx="1716">
                  <c:v>45912</c:v>
                </c:pt>
                <c:pt idx="1717">
                  <c:v>45913</c:v>
                </c:pt>
                <c:pt idx="1718">
                  <c:v>45914</c:v>
                </c:pt>
                <c:pt idx="1719">
                  <c:v>45915</c:v>
                </c:pt>
                <c:pt idx="1720">
                  <c:v>45916</c:v>
                </c:pt>
                <c:pt idx="1721">
                  <c:v>45917</c:v>
                </c:pt>
                <c:pt idx="1722">
                  <c:v>45918</c:v>
                </c:pt>
                <c:pt idx="1723">
                  <c:v>45919</c:v>
                </c:pt>
                <c:pt idx="1724">
                  <c:v>45920</c:v>
                </c:pt>
                <c:pt idx="1725">
                  <c:v>45921</c:v>
                </c:pt>
                <c:pt idx="1726">
                  <c:v>45922</c:v>
                </c:pt>
                <c:pt idx="1727">
                  <c:v>45923</c:v>
                </c:pt>
                <c:pt idx="1728">
                  <c:v>45924</c:v>
                </c:pt>
                <c:pt idx="1729">
                  <c:v>45925</c:v>
                </c:pt>
                <c:pt idx="1730">
                  <c:v>45926</c:v>
                </c:pt>
                <c:pt idx="1731">
                  <c:v>45927</c:v>
                </c:pt>
                <c:pt idx="1732">
                  <c:v>45928</c:v>
                </c:pt>
                <c:pt idx="1733">
                  <c:v>45929</c:v>
                </c:pt>
                <c:pt idx="1734">
                  <c:v>45930</c:v>
                </c:pt>
                <c:pt idx="1735">
                  <c:v>45931</c:v>
                </c:pt>
                <c:pt idx="1736">
                  <c:v>45932</c:v>
                </c:pt>
                <c:pt idx="1737">
                  <c:v>45933</c:v>
                </c:pt>
                <c:pt idx="1738">
                  <c:v>45934</c:v>
                </c:pt>
                <c:pt idx="1739">
                  <c:v>45935</c:v>
                </c:pt>
                <c:pt idx="1740">
                  <c:v>45936</c:v>
                </c:pt>
                <c:pt idx="1741">
                  <c:v>45937</c:v>
                </c:pt>
                <c:pt idx="1742">
                  <c:v>45938</c:v>
                </c:pt>
                <c:pt idx="1743">
                  <c:v>45939</c:v>
                </c:pt>
                <c:pt idx="1744">
                  <c:v>45940</c:v>
                </c:pt>
                <c:pt idx="1745">
                  <c:v>45941</c:v>
                </c:pt>
                <c:pt idx="1746">
                  <c:v>45942</c:v>
                </c:pt>
                <c:pt idx="1747">
                  <c:v>45943</c:v>
                </c:pt>
                <c:pt idx="1748">
                  <c:v>45944</c:v>
                </c:pt>
                <c:pt idx="1749">
                  <c:v>45945</c:v>
                </c:pt>
                <c:pt idx="1750">
                  <c:v>45946</c:v>
                </c:pt>
                <c:pt idx="1751">
                  <c:v>45947</c:v>
                </c:pt>
                <c:pt idx="1752">
                  <c:v>45948</c:v>
                </c:pt>
                <c:pt idx="1753">
                  <c:v>45949</c:v>
                </c:pt>
                <c:pt idx="1754">
                  <c:v>45950</c:v>
                </c:pt>
                <c:pt idx="1755">
                  <c:v>45951</c:v>
                </c:pt>
                <c:pt idx="1756">
                  <c:v>45952</c:v>
                </c:pt>
                <c:pt idx="1757">
                  <c:v>45953</c:v>
                </c:pt>
                <c:pt idx="1758">
                  <c:v>45954</c:v>
                </c:pt>
                <c:pt idx="1759">
                  <c:v>45955</c:v>
                </c:pt>
                <c:pt idx="1760">
                  <c:v>45956</c:v>
                </c:pt>
                <c:pt idx="1761">
                  <c:v>45957</c:v>
                </c:pt>
                <c:pt idx="1762">
                  <c:v>45958</c:v>
                </c:pt>
                <c:pt idx="1763">
                  <c:v>45959</c:v>
                </c:pt>
                <c:pt idx="1764">
                  <c:v>45960</c:v>
                </c:pt>
                <c:pt idx="1765">
                  <c:v>45961</c:v>
                </c:pt>
                <c:pt idx="1766">
                  <c:v>45962</c:v>
                </c:pt>
                <c:pt idx="1767">
                  <c:v>45963</c:v>
                </c:pt>
                <c:pt idx="1768">
                  <c:v>45964</c:v>
                </c:pt>
                <c:pt idx="1769">
                  <c:v>45965</c:v>
                </c:pt>
                <c:pt idx="1770">
                  <c:v>45966</c:v>
                </c:pt>
                <c:pt idx="1771">
                  <c:v>45967</c:v>
                </c:pt>
                <c:pt idx="1772">
                  <c:v>45968</c:v>
                </c:pt>
                <c:pt idx="1773">
                  <c:v>45969</c:v>
                </c:pt>
                <c:pt idx="1774">
                  <c:v>45970</c:v>
                </c:pt>
                <c:pt idx="1775">
                  <c:v>45971</c:v>
                </c:pt>
                <c:pt idx="1776">
                  <c:v>45972</c:v>
                </c:pt>
                <c:pt idx="1777">
                  <c:v>45973</c:v>
                </c:pt>
                <c:pt idx="1778">
                  <c:v>45974</c:v>
                </c:pt>
                <c:pt idx="1779">
                  <c:v>45975</c:v>
                </c:pt>
                <c:pt idx="1780">
                  <c:v>45976</c:v>
                </c:pt>
                <c:pt idx="1781">
                  <c:v>45977</c:v>
                </c:pt>
                <c:pt idx="1782">
                  <c:v>45978</c:v>
                </c:pt>
                <c:pt idx="1783">
                  <c:v>45979</c:v>
                </c:pt>
                <c:pt idx="1784">
                  <c:v>45980</c:v>
                </c:pt>
                <c:pt idx="1785">
                  <c:v>45981</c:v>
                </c:pt>
                <c:pt idx="1786">
                  <c:v>45982</c:v>
                </c:pt>
                <c:pt idx="1787">
                  <c:v>45983</c:v>
                </c:pt>
                <c:pt idx="1788">
                  <c:v>45984</c:v>
                </c:pt>
                <c:pt idx="1789">
                  <c:v>45985</c:v>
                </c:pt>
                <c:pt idx="1790">
                  <c:v>45986</c:v>
                </c:pt>
                <c:pt idx="1791">
                  <c:v>45987</c:v>
                </c:pt>
                <c:pt idx="1792">
                  <c:v>45988</c:v>
                </c:pt>
                <c:pt idx="1793">
                  <c:v>45989</c:v>
                </c:pt>
                <c:pt idx="1794">
                  <c:v>45990</c:v>
                </c:pt>
                <c:pt idx="1795">
                  <c:v>45991</c:v>
                </c:pt>
                <c:pt idx="1796">
                  <c:v>45992</c:v>
                </c:pt>
                <c:pt idx="1797">
                  <c:v>45993</c:v>
                </c:pt>
                <c:pt idx="1798">
                  <c:v>45994</c:v>
                </c:pt>
                <c:pt idx="1799">
                  <c:v>45995</c:v>
                </c:pt>
                <c:pt idx="1800">
                  <c:v>45996</c:v>
                </c:pt>
                <c:pt idx="1801">
                  <c:v>45997</c:v>
                </c:pt>
                <c:pt idx="1802">
                  <c:v>45998</c:v>
                </c:pt>
                <c:pt idx="1803">
                  <c:v>45999</c:v>
                </c:pt>
                <c:pt idx="1804">
                  <c:v>46000</c:v>
                </c:pt>
                <c:pt idx="1805">
                  <c:v>46001</c:v>
                </c:pt>
                <c:pt idx="1806">
                  <c:v>46002</c:v>
                </c:pt>
                <c:pt idx="1807">
                  <c:v>46003</c:v>
                </c:pt>
                <c:pt idx="1808">
                  <c:v>46004</c:v>
                </c:pt>
                <c:pt idx="1809">
                  <c:v>46005</c:v>
                </c:pt>
                <c:pt idx="1810">
                  <c:v>46006</c:v>
                </c:pt>
                <c:pt idx="1811">
                  <c:v>46007</c:v>
                </c:pt>
                <c:pt idx="1812">
                  <c:v>46008</c:v>
                </c:pt>
                <c:pt idx="1813">
                  <c:v>46009</c:v>
                </c:pt>
                <c:pt idx="1814">
                  <c:v>46010</c:v>
                </c:pt>
                <c:pt idx="1815">
                  <c:v>46011</c:v>
                </c:pt>
                <c:pt idx="1816">
                  <c:v>46012</c:v>
                </c:pt>
                <c:pt idx="1817">
                  <c:v>46013</c:v>
                </c:pt>
                <c:pt idx="1818">
                  <c:v>46014</c:v>
                </c:pt>
                <c:pt idx="1819">
                  <c:v>46015</c:v>
                </c:pt>
                <c:pt idx="1820">
                  <c:v>46016</c:v>
                </c:pt>
                <c:pt idx="1821">
                  <c:v>46017</c:v>
                </c:pt>
                <c:pt idx="1822">
                  <c:v>46018</c:v>
                </c:pt>
                <c:pt idx="1823">
                  <c:v>46019</c:v>
                </c:pt>
                <c:pt idx="1824">
                  <c:v>46020</c:v>
                </c:pt>
                <c:pt idx="1825">
                  <c:v>46021</c:v>
                </c:pt>
                <c:pt idx="1826">
                  <c:v>46022</c:v>
                </c:pt>
              </c:numCache>
            </c:numRef>
          </c:cat>
          <c:val>
            <c:numRef>
              <c:f>Sheet1!$D$2:$D$2069</c:f>
              <c:numCache>
                <c:formatCode>0.00%</c:formatCode>
                <c:ptCount val="2068"/>
                <c:pt idx="0">
                  <c:v>0</c:v>
                </c:pt>
                <c:pt idx="1">
                  <c:v>0</c:v>
                </c:pt>
                <c:pt idx="2">
                  <c:v>0</c:v>
                </c:pt>
                <c:pt idx="3">
                  <c:v>0</c:v>
                </c:pt>
                <c:pt idx="4">
                  <c:v>-3.0218687872762473E-3</c:v>
                </c:pt>
                <c:pt idx="5">
                  <c:v>-3.6580516898607131E-3</c:v>
                </c:pt>
                <c:pt idx="6">
                  <c:v>4.4532803180914017E-3</c:v>
                </c:pt>
                <c:pt idx="7">
                  <c:v>1.5904572564612352E-2</c:v>
                </c:pt>
                <c:pt idx="8">
                  <c:v>2.4493041749502995E-2</c:v>
                </c:pt>
                <c:pt idx="9">
                  <c:v>2.4493041749502995E-2</c:v>
                </c:pt>
                <c:pt idx="10">
                  <c:v>2.4493041749502995E-2</c:v>
                </c:pt>
                <c:pt idx="11">
                  <c:v>2.7196819085486938E-2</c:v>
                </c:pt>
                <c:pt idx="12">
                  <c:v>2.8389662027832968E-2</c:v>
                </c:pt>
                <c:pt idx="13">
                  <c:v>2.862823061630209E-2</c:v>
                </c:pt>
                <c:pt idx="14">
                  <c:v>3.2445328031809308E-2</c:v>
                </c:pt>
                <c:pt idx="15">
                  <c:v>2.3538767395626225E-2</c:v>
                </c:pt>
                <c:pt idx="16">
                  <c:v>2.3538767395626225E-2</c:v>
                </c:pt>
                <c:pt idx="17">
                  <c:v>2.3538767395626225E-2</c:v>
                </c:pt>
                <c:pt idx="18">
                  <c:v>2.6958250497017815E-2</c:v>
                </c:pt>
                <c:pt idx="19">
                  <c:v>3.514910536779297E-2</c:v>
                </c:pt>
                <c:pt idx="20">
                  <c:v>4.1988071570576435E-2</c:v>
                </c:pt>
                <c:pt idx="21">
                  <c:v>0.04</c:v>
                </c:pt>
                <c:pt idx="22">
                  <c:v>3.0695825049701853E-2</c:v>
                </c:pt>
                <c:pt idx="23">
                  <c:v>3.0695825049701853E-2</c:v>
                </c:pt>
                <c:pt idx="24">
                  <c:v>3.0695825049701853E-2</c:v>
                </c:pt>
                <c:pt idx="25">
                  <c:v>2.5367793240556723E-2</c:v>
                </c:pt>
                <c:pt idx="26">
                  <c:v>2.9184890656063375E-2</c:v>
                </c:pt>
                <c:pt idx="27">
                  <c:v>1.9324055666003943E-2</c:v>
                </c:pt>
                <c:pt idx="28">
                  <c:v>1.924453280318076E-2</c:v>
                </c:pt>
                <c:pt idx="29">
                  <c:v>6.6003976143140623E-3</c:v>
                </c:pt>
                <c:pt idx="30">
                  <c:v>6.6003976143140623E-3</c:v>
                </c:pt>
                <c:pt idx="31">
                  <c:v>-3.1013916500994298E-3</c:v>
                </c:pt>
                <c:pt idx="32">
                  <c:v>1.3996023856858813E-2</c:v>
                </c:pt>
                <c:pt idx="33">
                  <c:v>3.2047713717693826E-2</c:v>
                </c:pt>
                <c:pt idx="34">
                  <c:v>3.4274353876739667E-2</c:v>
                </c:pt>
                <c:pt idx="35">
                  <c:v>3.7534791252485038E-2</c:v>
                </c:pt>
                <c:pt idx="36">
                  <c:v>3.5864811133200759E-2</c:v>
                </c:pt>
                <c:pt idx="37">
                  <c:v>3.5864811133200759E-2</c:v>
                </c:pt>
                <c:pt idx="38">
                  <c:v>3.5864811133200759E-2</c:v>
                </c:pt>
                <c:pt idx="39">
                  <c:v>4.0397614314115343E-2</c:v>
                </c:pt>
                <c:pt idx="40">
                  <c:v>4.1749502982107313E-2</c:v>
                </c:pt>
                <c:pt idx="41">
                  <c:v>4.1033797216699808E-2</c:v>
                </c:pt>
                <c:pt idx="42">
                  <c:v>4.652087475149088E-2</c:v>
                </c:pt>
                <c:pt idx="43">
                  <c:v>5.3916500994035915E-2</c:v>
                </c:pt>
                <c:pt idx="44">
                  <c:v>5.3916500994035915E-2</c:v>
                </c:pt>
                <c:pt idx="45">
                  <c:v>5.3916500994035915E-2</c:v>
                </c:pt>
                <c:pt idx="46">
                  <c:v>5.9562624254473347E-2</c:v>
                </c:pt>
                <c:pt idx="47">
                  <c:v>6.3459244532803036E-2</c:v>
                </c:pt>
                <c:pt idx="48">
                  <c:v>5.8290258449304418E-2</c:v>
                </c:pt>
                <c:pt idx="49">
                  <c:v>4.2862823061630168E-2</c:v>
                </c:pt>
                <c:pt idx="50">
                  <c:v>4.9304174950298006E-2</c:v>
                </c:pt>
                <c:pt idx="51">
                  <c:v>4.9304174950298006E-2</c:v>
                </c:pt>
                <c:pt idx="52">
                  <c:v>4.9304174950298006E-2</c:v>
                </c:pt>
                <c:pt idx="53">
                  <c:v>3.3717693836978244E-2</c:v>
                </c:pt>
                <c:pt idx="54">
                  <c:v>2.8071570576540809E-2</c:v>
                </c:pt>
                <c:pt idx="55">
                  <c:v>3.1093439363817196E-2</c:v>
                </c:pt>
                <c:pt idx="56">
                  <c:v>2.5367793240556723E-2</c:v>
                </c:pt>
                <c:pt idx="57">
                  <c:v>1.5427435387673967E-2</c:v>
                </c:pt>
                <c:pt idx="58">
                  <c:v>1.5427435387673967E-2</c:v>
                </c:pt>
                <c:pt idx="59">
                  <c:v>1.2882703777335962E-2</c:v>
                </c:pt>
                <c:pt idx="60">
                  <c:v>3.4592445328031685E-2</c:v>
                </c:pt>
                <c:pt idx="61">
                  <c:v>3.2842942345924372E-2</c:v>
                </c:pt>
                <c:pt idx="62">
                  <c:v>2.1948310139164845E-2</c:v>
                </c:pt>
                <c:pt idx="63">
                  <c:v>1.2326043737574536E-2</c:v>
                </c:pt>
                <c:pt idx="64">
                  <c:v>-4.7713717693838477E-4</c:v>
                </c:pt>
                <c:pt idx="65">
                  <c:v>-4.7713717693838477E-4</c:v>
                </c:pt>
                <c:pt idx="66">
                  <c:v>-4.7713717693838477E-4</c:v>
                </c:pt>
                <c:pt idx="67">
                  <c:v>2.727634194831012E-2</c:v>
                </c:pt>
                <c:pt idx="68">
                  <c:v>3.4433399602385749E-2</c:v>
                </c:pt>
                <c:pt idx="69">
                  <c:v>3.3161033797216535E-2</c:v>
                </c:pt>
                <c:pt idx="70">
                  <c:v>4.0556660039761286E-2</c:v>
                </c:pt>
                <c:pt idx="71">
                  <c:v>2.7912524850894443E-2</c:v>
                </c:pt>
                <c:pt idx="72">
                  <c:v>2.7912524850894443E-2</c:v>
                </c:pt>
                <c:pt idx="73">
                  <c:v>2.7912524850894443E-2</c:v>
                </c:pt>
                <c:pt idx="74">
                  <c:v>3.451292246520879E-2</c:v>
                </c:pt>
                <c:pt idx="75">
                  <c:v>4.6202783300198717E-2</c:v>
                </c:pt>
                <c:pt idx="76">
                  <c:v>3.6978131212723753E-2</c:v>
                </c:pt>
                <c:pt idx="77">
                  <c:v>3.6023856858846841E-2</c:v>
                </c:pt>
                <c:pt idx="78">
                  <c:v>2.7833001988071544E-2</c:v>
                </c:pt>
                <c:pt idx="79">
                  <c:v>2.7833001988071544E-2</c:v>
                </c:pt>
                <c:pt idx="80">
                  <c:v>2.7833001988071544E-2</c:v>
                </c:pt>
                <c:pt idx="81">
                  <c:v>3.268389662027843E-2</c:v>
                </c:pt>
                <c:pt idx="82">
                  <c:v>3.8807157057653967E-2</c:v>
                </c:pt>
                <c:pt idx="83">
                  <c:v>3.7057654075546793E-2</c:v>
                </c:pt>
                <c:pt idx="84">
                  <c:v>3.2842942345924372E-2</c:v>
                </c:pt>
                <c:pt idx="85">
                  <c:v>4.5089463220675724E-2</c:v>
                </c:pt>
                <c:pt idx="86">
                  <c:v>4.5089463220675724E-2</c:v>
                </c:pt>
                <c:pt idx="87">
                  <c:v>4.5089463220675724E-2</c:v>
                </c:pt>
                <c:pt idx="88">
                  <c:v>5.0019880715705796E-2</c:v>
                </c:pt>
                <c:pt idx="89">
                  <c:v>5.6540755467196814E-2</c:v>
                </c:pt>
                <c:pt idx="90">
                  <c:v>5.5666003976143227E-2</c:v>
                </c:pt>
                <c:pt idx="91">
                  <c:v>5.5666003976143227E-2</c:v>
                </c:pt>
                <c:pt idx="92">
                  <c:v>5.5666003976143227E-2</c:v>
                </c:pt>
                <c:pt idx="93">
                  <c:v>5.5666003976143227E-2</c:v>
                </c:pt>
                <c:pt idx="94">
                  <c:v>5.5666003976143227E-2</c:v>
                </c:pt>
                <c:pt idx="95">
                  <c:v>5.5666003976143227E-2</c:v>
                </c:pt>
                <c:pt idx="96">
                  <c:v>7.1332007952286322E-2</c:v>
                </c:pt>
                <c:pt idx="97">
                  <c:v>6.2345924453280188E-2</c:v>
                </c:pt>
                <c:pt idx="98">
                  <c:v>6.9343936381709603E-2</c:v>
                </c:pt>
                <c:pt idx="99">
                  <c:v>7.2524850894632356E-2</c:v>
                </c:pt>
                <c:pt idx="100">
                  <c:v>7.2524850894632356E-2</c:v>
                </c:pt>
                <c:pt idx="101">
                  <c:v>7.2524850894632356E-2</c:v>
                </c:pt>
                <c:pt idx="102">
                  <c:v>6.9502982107355823E-2</c:v>
                </c:pt>
                <c:pt idx="103">
                  <c:v>7.5626242544731645E-2</c:v>
                </c:pt>
                <c:pt idx="104">
                  <c:v>7.4592445328031831E-2</c:v>
                </c:pt>
                <c:pt idx="105">
                  <c:v>8.3578528827037674E-2</c:v>
                </c:pt>
                <c:pt idx="106">
                  <c:v>8.5566600397614254E-2</c:v>
                </c:pt>
                <c:pt idx="107">
                  <c:v>8.5566600397614254E-2</c:v>
                </c:pt>
                <c:pt idx="108">
                  <c:v>8.5566600397614254E-2</c:v>
                </c:pt>
                <c:pt idx="109">
                  <c:v>7.8966202783300188E-2</c:v>
                </c:pt>
                <c:pt idx="110">
                  <c:v>6.7514910536779382E-2</c:v>
                </c:pt>
                <c:pt idx="111">
                  <c:v>7.4194831013916621E-2</c:v>
                </c:pt>
                <c:pt idx="112">
                  <c:v>8.4214711729622416E-2</c:v>
                </c:pt>
                <c:pt idx="113">
                  <c:v>8.3817097415506789E-2</c:v>
                </c:pt>
                <c:pt idx="114">
                  <c:v>8.3817097415506789E-2</c:v>
                </c:pt>
                <c:pt idx="115">
                  <c:v>8.3817097415506789E-2</c:v>
                </c:pt>
                <c:pt idx="116">
                  <c:v>8.8031809145129078E-2</c:v>
                </c:pt>
                <c:pt idx="117">
                  <c:v>8.2147117296222663E-2</c:v>
                </c:pt>
                <c:pt idx="118">
                  <c:v>8.1590457256461232E-2</c:v>
                </c:pt>
                <c:pt idx="119">
                  <c:v>7.8091451292246317E-2</c:v>
                </c:pt>
                <c:pt idx="120">
                  <c:v>8.07157057654075E-2</c:v>
                </c:pt>
                <c:pt idx="121">
                  <c:v>8.07157057654075E-2</c:v>
                </c:pt>
                <c:pt idx="122">
                  <c:v>8.07157057654075E-2</c:v>
                </c:pt>
                <c:pt idx="123">
                  <c:v>8.0795228628230548E-2</c:v>
                </c:pt>
                <c:pt idx="124">
                  <c:v>7.0377733598409542E-2</c:v>
                </c:pt>
                <c:pt idx="125">
                  <c:v>0.08</c:v>
                </c:pt>
                <c:pt idx="126">
                  <c:v>7.3797216699801146E-2</c:v>
                </c:pt>
                <c:pt idx="127">
                  <c:v>8.5725646123260474E-2</c:v>
                </c:pt>
                <c:pt idx="128">
                  <c:v>8.5725646123260474E-2</c:v>
                </c:pt>
                <c:pt idx="129">
                  <c:v>8.5725646123260474E-2</c:v>
                </c:pt>
                <c:pt idx="130">
                  <c:v>8.1908548707753534E-2</c:v>
                </c:pt>
                <c:pt idx="131">
                  <c:v>5.8767395626242377E-2</c:v>
                </c:pt>
                <c:pt idx="132">
                  <c:v>5.8926441351888598E-2</c:v>
                </c:pt>
                <c:pt idx="133">
                  <c:v>5.8926441351888598E-2</c:v>
                </c:pt>
                <c:pt idx="134">
                  <c:v>5.8926441351888598E-2</c:v>
                </c:pt>
                <c:pt idx="135">
                  <c:v>5.8926441351888598E-2</c:v>
                </c:pt>
                <c:pt idx="136">
                  <c:v>5.8926441351888598E-2</c:v>
                </c:pt>
                <c:pt idx="137">
                  <c:v>6.5844930417495104E-2</c:v>
                </c:pt>
                <c:pt idx="138">
                  <c:v>6.6560636182902477E-2</c:v>
                </c:pt>
                <c:pt idx="139">
                  <c:v>5.3518886679920288E-2</c:v>
                </c:pt>
                <c:pt idx="140">
                  <c:v>6.9662027833002044E-2</c:v>
                </c:pt>
                <c:pt idx="141">
                  <c:v>7.7932405566600374E-2</c:v>
                </c:pt>
                <c:pt idx="142">
                  <c:v>7.7932405566600374E-2</c:v>
                </c:pt>
                <c:pt idx="143">
                  <c:v>7.7932405566600374E-2</c:v>
                </c:pt>
                <c:pt idx="144">
                  <c:v>7.7932405566600374E-2</c:v>
                </c:pt>
                <c:pt idx="145">
                  <c:v>7.952286282306148E-2</c:v>
                </c:pt>
                <c:pt idx="146">
                  <c:v>7.952286282306148E-2</c:v>
                </c:pt>
                <c:pt idx="147">
                  <c:v>8.2067594433399477E-2</c:v>
                </c:pt>
                <c:pt idx="148">
                  <c:v>8.8906560636182949E-2</c:v>
                </c:pt>
                <c:pt idx="149">
                  <c:v>8.8906560636182949E-2</c:v>
                </c:pt>
                <c:pt idx="150">
                  <c:v>8.8906560636182949E-2</c:v>
                </c:pt>
                <c:pt idx="151">
                  <c:v>8.2147117296222663E-2</c:v>
                </c:pt>
                <c:pt idx="152">
                  <c:v>7.8489065606361944E-2</c:v>
                </c:pt>
                <c:pt idx="153">
                  <c:v>8.2147117296222663E-2</c:v>
                </c:pt>
                <c:pt idx="154">
                  <c:v>8.2306163021868606E-2</c:v>
                </c:pt>
                <c:pt idx="155">
                  <c:v>8.866799204771382E-2</c:v>
                </c:pt>
                <c:pt idx="156">
                  <c:v>8.866799204771382E-2</c:v>
                </c:pt>
                <c:pt idx="157">
                  <c:v>8.866799204771382E-2</c:v>
                </c:pt>
                <c:pt idx="158">
                  <c:v>8.5725646123260474E-2</c:v>
                </c:pt>
                <c:pt idx="159">
                  <c:v>8.3339960238568545E-2</c:v>
                </c:pt>
                <c:pt idx="160">
                  <c:v>8.6202783300198857E-2</c:v>
                </c:pt>
                <c:pt idx="161">
                  <c:v>8.8031809145129078E-2</c:v>
                </c:pt>
                <c:pt idx="162">
                  <c:v>9.7892644135188792E-2</c:v>
                </c:pt>
                <c:pt idx="163">
                  <c:v>9.7892644135188792E-2</c:v>
                </c:pt>
                <c:pt idx="164">
                  <c:v>9.7892644135188792E-2</c:v>
                </c:pt>
                <c:pt idx="165">
                  <c:v>9.8926441351888605E-2</c:v>
                </c:pt>
                <c:pt idx="166">
                  <c:v>0.10266401590457264</c:v>
                </c:pt>
                <c:pt idx="167">
                  <c:v>0.10624254473161045</c:v>
                </c:pt>
                <c:pt idx="168">
                  <c:v>0.11212723658051686</c:v>
                </c:pt>
                <c:pt idx="169">
                  <c:v>0.10942345924453263</c:v>
                </c:pt>
                <c:pt idx="170">
                  <c:v>0.10942345924453263</c:v>
                </c:pt>
                <c:pt idx="171">
                  <c:v>0.10942345924453263</c:v>
                </c:pt>
                <c:pt idx="172">
                  <c:v>0.11045725646123244</c:v>
                </c:pt>
                <c:pt idx="173">
                  <c:v>0.11642147117296205</c:v>
                </c:pt>
                <c:pt idx="174">
                  <c:v>0.11379721669980114</c:v>
                </c:pt>
                <c:pt idx="175">
                  <c:v>0.11912524850894628</c:v>
                </c:pt>
                <c:pt idx="176">
                  <c:v>0.11952286282306161</c:v>
                </c:pt>
                <c:pt idx="177">
                  <c:v>0.11952286282306161</c:v>
                </c:pt>
                <c:pt idx="178">
                  <c:v>0.11952286282306161</c:v>
                </c:pt>
                <c:pt idx="179">
                  <c:v>0.12230616302186874</c:v>
                </c:pt>
                <c:pt idx="180">
                  <c:v>0.12866799204771381</c:v>
                </c:pt>
                <c:pt idx="181">
                  <c:v>0.12493041749502992</c:v>
                </c:pt>
                <c:pt idx="182">
                  <c:v>0.12660039761431391</c:v>
                </c:pt>
                <c:pt idx="183">
                  <c:v>0.1332803180914513</c:v>
                </c:pt>
                <c:pt idx="184">
                  <c:v>0.1332803180914513</c:v>
                </c:pt>
                <c:pt idx="185">
                  <c:v>0.1332803180914513</c:v>
                </c:pt>
                <c:pt idx="186">
                  <c:v>0.13781312127236589</c:v>
                </c:pt>
                <c:pt idx="187">
                  <c:v>0.13701789264413505</c:v>
                </c:pt>
                <c:pt idx="188">
                  <c:v>0.14544731610337963</c:v>
                </c:pt>
                <c:pt idx="189">
                  <c:v>0.12660039761431391</c:v>
                </c:pt>
                <c:pt idx="190">
                  <c:v>0.13606361829025856</c:v>
                </c:pt>
                <c:pt idx="191">
                  <c:v>0.13606361829025856</c:v>
                </c:pt>
                <c:pt idx="192">
                  <c:v>0.13606361829025856</c:v>
                </c:pt>
                <c:pt idx="193">
                  <c:v>0.14433399602385705</c:v>
                </c:pt>
                <c:pt idx="194">
                  <c:v>0.15149105367793253</c:v>
                </c:pt>
                <c:pt idx="195">
                  <c:v>0.15061630218687866</c:v>
                </c:pt>
                <c:pt idx="196">
                  <c:v>0.14727634194831027</c:v>
                </c:pt>
                <c:pt idx="197">
                  <c:v>0.14687872763419477</c:v>
                </c:pt>
                <c:pt idx="198">
                  <c:v>0.14687872763419477</c:v>
                </c:pt>
                <c:pt idx="199">
                  <c:v>0.14687872763419477</c:v>
                </c:pt>
                <c:pt idx="200">
                  <c:v>0.12580516898608352</c:v>
                </c:pt>
                <c:pt idx="201">
                  <c:v>0.13662027833001986</c:v>
                </c:pt>
                <c:pt idx="202">
                  <c:v>0.14139165009940372</c:v>
                </c:pt>
                <c:pt idx="203">
                  <c:v>0.15005964214711739</c:v>
                </c:pt>
                <c:pt idx="204">
                  <c:v>0.16230616302186873</c:v>
                </c:pt>
                <c:pt idx="205">
                  <c:v>0.16230616302186873</c:v>
                </c:pt>
                <c:pt idx="206">
                  <c:v>0.16230616302186873</c:v>
                </c:pt>
                <c:pt idx="207">
                  <c:v>0.15499005964214718</c:v>
                </c:pt>
                <c:pt idx="208">
                  <c:v>0.15339960238568578</c:v>
                </c:pt>
                <c:pt idx="209">
                  <c:v>0.15705765407554664</c:v>
                </c:pt>
                <c:pt idx="210">
                  <c:v>0.1629423459244535</c:v>
                </c:pt>
                <c:pt idx="211">
                  <c:v>0.16612326043737569</c:v>
                </c:pt>
                <c:pt idx="212">
                  <c:v>0.16731610337972172</c:v>
                </c:pt>
                <c:pt idx="213">
                  <c:v>0.16731610337972172</c:v>
                </c:pt>
                <c:pt idx="214">
                  <c:v>0.16842942345924455</c:v>
                </c:pt>
                <c:pt idx="215">
                  <c:v>0.16978131212723638</c:v>
                </c:pt>
                <c:pt idx="216">
                  <c:v>0.17479125248508937</c:v>
                </c:pt>
                <c:pt idx="217">
                  <c:v>0.17836978131212716</c:v>
                </c:pt>
                <c:pt idx="218">
                  <c:v>0.18218687872763412</c:v>
                </c:pt>
                <c:pt idx="219">
                  <c:v>0.18218687872763412</c:v>
                </c:pt>
                <c:pt idx="220">
                  <c:v>0.18218687872763412</c:v>
                </c:pt>
                <c:pt idx="221">
                  <c:v>0.18552683896620281</c:v>
                </c:pt>
                <c:pt idx="222">
                  <c:v>0.18958250497017887</c:v>
                </c:pt>
                <c:pt idx="223">
                  <c:v>0.19133200795228616</c:v>
                </c:pt>
                <c:pt idx="224">
                  <c:v>0.19673956262425449</c:v>
                </c:pt>
                <c:pt idx="225">
                  <c:v>0.19713717693836968</c:v>
                </c:pt>
                <c:pt idx="226">
                  <c:v>0.19713717693836968</c:v>
                </c:pt>
                <c:pt idx="227">
                  <c:v>0.19713717693836968</c:v>
                </c:pt>
                <c:pt idx="228">
                  <c:v>0.1933200795228629</c:v>
                </c:pt>
                <c:pt idx="229">
                  <c:v>0.20445328031809168</c:v>
                </c:pt>
                <c:pt idx="230">
                  <c:v>0.20493041749502994</c:v>
                </c:pt>
                <c:pt idx="231">
                  <c:v>0.19833001988071558</c:v>
                </c:pt>
                <c:pt idx="232">
                  <c:v>0.2067594433399603</c:v>
                </c:pt>
                <c:pt idx="233">
                  <c:v>0.2067594433399603</c:v>
                </c:pt>
                <c:pt idx="234">
                  <c:v>0.2067594433399603</c:v>
                </c:pt>
                <c:pt idx="235">
                  <c:v>0.21288270377733595</c:v>
                </c:pt>
                <c:pt idx="236">
                  <c:v>0.21375745526838968</c:v>
                </c:pt>
                <c:pt idx="237">
                  <c:v>0.21153081510934385</c:v>
                </c:pt>
                <c:pt idx="238">
                  <c:v>0.20755467196819083</c:v>
                </c:pt>
                <c:pt idx="239">
                  <c:v>0.21407554671968171</c:v>
                </c:pt>
                <c:pt idx="240">
                  <c:v>0.21407554671968171</c:v>
                </c:pt>
                <c:pt idx="241">
                  <c:v>0.21407554671968171</c:v>
                </c:pt>
                <c:pt idx="242">
                  <c:v>0.21733598409542737</c:v>
                </c:pt>
                <c:pt idx="243">
                  <c:v>0.21232604373757455</c:v>
                </c:pt>
                <c:pt idx="244">
                  <c:v>0.21232604373757455</c:v>
                </c:pt>
                <c:pt idx="245">
                  <c:v>0.21463220675944356</c:v>
                </c:pt>
                <c:pt idx="246">
                  <c:v>0.21574552683896614</c:v>
                </c:pt>
                <c:pt idx="247">
                  <c:v>0.21574552683896614</c:v>
                </c:pt>
                <c:pt idx="248">
                  <c:v>0.21574552683896614</c:v>
                </c:pt>
                <c:pt idx="249">
                  <c:v>0.22735586481113315</c:v>
                </c:pt>
                <c:pt idx="250">
                  <c:v>0.22353876739562636</c:v>
                </c:pt>
                <c:pt idx="251">
                  <c:v>0.22425447316103359</c:v>
                </c:pt>
                <c:pt idx="252">
                  <c:v>0.22727634194831012</c:v>
                </c:pt>
                <c:pt idx="253">
                  <c:v>0.22099403578528823</c:v>
                </c:pt>
                <c:pt idx="254">
                  <c:v>0.22099403578528823</c:v>
                </c:pt>
                <c:pt idx="255">
                  <c:v>0.22099403578528823</c:v>
                </c:pt>
                <c:pt idx="256">
                  <c:v>0.22218687872763426</c:v>
                </c:pt>
                <c:pt idx="257">
                  <c:v>0.22433399602385692</c:v>
                </c:pt>
                <c:pt idx="258">
                  <c:v>0.22369781312127229</c:v>
                </c:pt>
                <c:pt idx="259">
                  <c:v>0.22401590457256446</c:v>
                </c:pt>
                <c:pt idx="260">
                  <c:v>0.22019880715705753</c:v>
                </c:pt>
                <c:pt idx="261">
                  <c:v>0.22019880715705753</c:v>
                </c:pt>
                <c:pt idx="262">
                  <c:v>0.22019880715705753</c:v>
                </c:pt>
                <c:pt idx="263">
                  <c:v>0.20071570576540765</c:v>
                </c:pt>
                <c:pt idx="264">
                  <c:v>0.20795228628230616</c:v>
                </c:pt>
                <c:pt idx="265">
                  <c:v>0.21662027833002001</c:v>
                </c:pt>
                <c:pt idx="266">
                  <c:v>0.22528827037773369</c:v>
                </c:pt>
                <c:pt idx="267">
                  <c:v>0.22051689860834983</c:v>
                </c:pt>
                <c:pt idx="268">
                  <c:v>0.22051689860834983</c:v>
                </c:pt>
                <c:pt idx="269">
                  <c:v>0.22051689860834983</c:v>
                </c:pt>
                <c:pt idx="270">
                  <c:v>0.2088270377733599</c:v>
                </c:pt>
                <c:pt idx="271">
                  <c:v>0.18282306163021872</c:v>
                </c:pt>
                <c:pt idx="272">
                  <c:v>0.18807157057654081</c:v>
                </c:pt>
                <c:pt idx="273">
                  <c:v>0.17964214711729626</c:v>
                </c:pt>
                <c:pt idx="274">
                  <c:v>0.17383697813121274</c:v>
                </c:pt>
                <c:pt idx="275">
                  <c:v>0.17383697813121274</c:v>
                </c:pt>
                <c:pt idx="276">
                  <c:v>0.17383697813121274</c:v>
                </c:pt>
                <c:pt idx="277">
                  <c:v>0.16429423459244547</c:v>
                </c:pt>
                <c:pt idx="278">
                  <c:v>0.18147117296222645</c:v>
                </c:pt>
                <c:pt idx="279">
                  <c:v>0.17733598409542764</c:v>
                </c:pt>
                <c:pt idx="280">
                  <c:v>0.19610337972167002</c:v>
                </c:pt>
                <c:pt idx="281">
                  <c:v>0.18767395626242547</c:v>
                </c:pt>
                <c:pt idx="282">
                  <c:v>0.18767395626242547</c:v>
                </c:pt>
                <c:pt idx="283">
                  <c:v>0.18767395626242547</c:v>
                </c:pt>
                <c:pt idx="284">
                  <c:v>0.18624254473161031</c:v>
                </c:pt>
                <c:pt idx="285">
                  <c:v>0.18027833001988072</c:v>
                </c:pt>
                <c:pt idx="286">
                  <c:v>0.18361829025844942</c:v>
                </c:pt>
                <c:pt idx="287">
                  <c:v>0.19896620278330032</c:v>
                </c:pt>
                <c:pt idx="288">
                  <c:v>0.21224652087475149</c:v>
                </c:pt>
                <c:pt idx="289">
                  <c:v>0.21224652087475149</c:v>
                </c:pt>
                <c:pt idx="290">
                  <c:v>0.21224652087475149</c:v>
                </c:pt>
                <c:pt idx="291">
                  <c:v>0.20612326043737567</c:v>
                </c:pt>
                <c:pt idx="292">
                  <c:v>0.21693836978131201</c:v>
                </c:pt>
                <c:pt idx="293">
                  <c:v>0.22051689860834983</c:v>
                </c:pt>
                <c:pt idx="294">
                  <c:v>0.22584493041749495</c:v>
                </c:pt>
                <c:pt idx="295">
                  <c:v>0.23594433399602366</c:v>
                </c:pt>
                <c:pt idx="296">
                  <c:v>0.23594433399602366</c:v>
                </c:pt>
                <c:pt idx="297">
                  <c:v>0.23594433399602366</c:v>
                </c:pt>
                <c:pt idx="298">
                  <c:v>0.23801192842942356</c:v>
                </c:pt>
                <c:pt idx="299">
                  <c:v>0.24341948310139189</c:v>
                </c:pt>
                <c:pt idx="300">
                  <c:v>0.2329224652087474</c:v>
                </c:pt>
                <c:pt idx="301">
                  <c:v>0.22679920477137189</c:v>
                </c:pt>
                <c:pt idx="302">
                  <c:v>0.23729622266401576</c:v>
                </c:pt>
                <c:pt idx="303">
                  <c:v>0.23729622266401576</c:v>
                </c:pt>
                <c:pt idx="304">
                  <c:v>0.24047713717693853</c:v>
                </c:pt>
                <c:pt idx="305">
                  <c:v>0.24095427435387676</c:v>
                </c:pt>
                <c:pt idx="306">
                  <c:v>0.24636182902584494</c:v>
                </c:pt>
                <c:pt idx="307">
                  <c:v>0.23992047713717682</c:v>
                </c:pt>
                <c:pt idx="308">
                  <c:v>0.2502584493041749</c:v>
                </c:pt>
                <c:pt idx="309">
                  <c:v>0.2504174950298213</c:v>
                </c:pt>
                <c:pt idx="310">
                  <c:v>0.2504174950298213</c:v>
                </c:pt>
                <c:pt idx="311">
                  <c:v>0.2504174950298213</c:v>
                </c:pt>
                <c:pt idx="312">
                  <c:v>0.25447316103379719</c:v>
                </c:pt>
                <c:pt idx="313">
                  <c:v>0.25439363817097416</c:v>
                </c:pt>
                <c:pt idx="314">
                  <c:v>0.26003976143141144</c:v>
                </c:pt>
                <c:pt idx="315">
                  <c:v>0.25717693836978128</c:v>
                </c:pt>
                <c:pt idx="316">
                  <c:v>0.26759443339960254</c:v>
                </c:pt>
                <c:pt idx="317">
                  <c:v>0.26759443339960254</c:v>
                </c:pt>
                <c:pt idx="318">
                  <c:v>0.26759443339960254</c:v>
                </c:pt>
                <c:pt idx="319">
                  <c:v>0.27856858846918486</c:v>
                </c:pt>
                <c:pt idx="320">
                  <c:v>0.28437375745526822</c:v>
                </c:pt>
                <c:pt idx="321">
                  <c:v>0.28707753479125242</c:v>
                </c:pt>
                <c:pt idx="322">
                  <c:v>0.28333996023856856</c:v>
                </c:pt>
                <c:pt idx="323">
                  <c:v>0.2912922465208746</c:v>
                </c:pt>
                <c:pt idx="324">
                  <c:v>0.2912922465208746</c:v>
                </c:pt>
                <c:pt idx="325">
                  <c:v>0.2912922465208746</c:v>
                </c:pt>
                <c:pt idx="326">
                  <c:v>0.29630218687872767</c:v>
                </c:pt>
                <c:pt idx="327">
                  <c:v>0.26942345924453276</c:v>
                </c:pt>
                <c:pt idx="328">
                  <c:v>0.27801192842942357</c:v>
                </c:pt>
                <c:pt idx="329">
                  <c:v>0.28365805168986069</c:v>
                </c:pt>
                <c:pt idx="330">
                  <c:v>0.25940357852882712</c:v>
                </c:pt>
                <c:pt idx="331">
                  <c:v>0.25940357852882712</c:v>
                </c:pt>
                <c:pt idx="332">
                  <c:v>0.25940357852882712</c:v>
                </c:pt>
                <c:pt idx="333">
                  <c:v>0.26258449304174958</c:v>
                </c:pt>
                <c:pt idx="334">
                  <c:v>0.24516898608349919</c:v>
                </c:pt>
                <c:pt idx="335">
                  <c:v>0.25495029821073573</c:v>
                </c:pt>
                <c:pt idx="336">
                  <c:v>0.24612326043737581</c:v>
                </c:pt>
                <c:pt idx="337">
                  <c:v>0.24071570576540766</c:v>
                </c:pt>
                <c:pt idx="338">
                  <c:v>0.24071570576540766</c:v>
                </c:pt>
                <c:pt idx="339">
                  <c:v>0.24071570576540766</c:v>
                </c:pt>
                <c:pt idx="340">
                  <c:v>0.25296222664015899</c:v>
                </c:pt>
                <c:pt idx="341">
                  <c:v>0.28413518886679923</c:v>
                </c:pt>
                <c:pt idx="342">
                  <c:v>0.27578528827037774</c:v>
                </c:pt>
                <c:pt idx="343">
                  <c:v>0.28159045725646109</c:v>
                </c:pt>
                <c:pt idx="344">
                  <c:v>0.27872763419483104</c:v>
                </c:pt>
                <c:pt idx="345">
                  <c:v>0.27872763419483104</c:v>
                </c:pt>
                <c:pt idx="346">
                  <c:v>0.27872763419483104</c:v>
                </c:pt>
                <c:pt idx="347">
                  <c:v>0.28087475149105356</c:v>
                </c:pt>
                <c:pt idx="348">
                  <c:v>0.26170974155069571</c:v>
                </c:pt>
                <c:pt idx="349">
                  <c:v>0.26854870775347917</c:v>
                </c:pt>
                <c:pt idx="350">
                  <c:v>0.28302186878727636</c:v>
                </c:pt>
                <c:pt idx="351">
                  <c:v>0.27491053677932414</c:v>
                </c:pt>
                <c:pt idx="352">
                  <c:v>0.27491053677932414</c:v>
                </c:pt>
                <c:pt idx="353">
                  <c:v>0.27491053677932414</c:v>
                </c:pt>
                <c:pt idx="354">
                  <c:v>0.24628230616302191</c:v>
                </c:pt>
                <c:pt idx="355">
                  <c:v>0.25288270377733596</c:v>
                </c:pt>
                <c:pt idx="356">
                  <c:v>0.26353876739562621</c:v>
                </c:pt>
                <c:pt idx="357">
                  <c:v>0.27705765407554678</c:v>
                </c:pt>
                <c:pt idx="358">
                  <c:v>0.27705765407554678</c:v>
                </c:pt>
                <c:pt idx="359">
                  <c:v>0.27705765407554678</c:v>
                </c:pt>
                <c:pt idx="360">
                  <c:v>0.27705765407554678</c:v>
                </c:pt>
                <c:pt idx="361">
                  <c:v>0.28397614314115316</c:v>
                </c:pt>
                <c:pt idx="362">
                  <c:v>0.29240556660039774</c:v>
                </c:pt>
                <c:pt idx="363">
                  <c:v>0.29065606361829055</c:v>
                </c:pt>
                <c:pt idx="364">
                  <c:v>0.29367793240556667</c:v>
                </c:pt>
                <c:pt idx="365">
                  <c:v>0.28564612326043715</c:v>
                </c:pt>
                <c:pt idx="366">
                  <c:v>0.28564612326043715</c:v>
                </c:pt>
                <c:pt idx="367">
                  <c:v>0.28564612326043715</c:v>
                </c:pt>
                <c:pt idx="368">
                  <c:v>0.28294234592445322</c:v>
                </c:pt>
                <c:pt idx="369">
                  <c:v>0.28333996023856856</c:v>
                </c:pt>
                <c:pt idx="370">
                  <c:v>0.28302186878727636</c:v>
                </c:pt>
                <c:pt idx="371">
                  <c:v>0.26719681908548693</c:v>
                </c:pt>
                <c:pt idx="372">
                  <c:v>0.24986083499005957</c:v>
                </c:pt>
                <c:pt idx="373">
                  <c:v>0.24986083499005957</c:v>
                </c:pt>
                <c:pt idx="374">
                  <c:v>0.24986083499005957</c:v>
                </c:pt>
                <c:pt idx="375">
                  <c:v>0.22640159045725652</c:v>
                </c:pt>
                <c:pt idx="376">
                  <c:v>0.23809145129224646</c:v>
                </c:pt>
                <c:pt idx="377">
                  <c:v>0.24516898608349919</c:v>
                </c:pt>
                <c:pt idx="378">
                  <c:v>0.23729622266401576</c:v>
                </c:pt>
                <c:pt idx="379">
                  <c:v>0.22163021868787269</c:v>
                </c:pt>
                <c:pt idx="380">
                  <c:v>0.22163021868787269</c:v>
                </c:pt>
                <c:pt idx="381">
                  <c:v>0.22163021868787269</c:v>
                </c:pt>
                <c:pt idx="382">
                  <c:v>0.22568588469184875</c:v>
                </c:pt>
                <c:pt idx="383">
                  <c:v>0.20954274353876742</c:v>
                </c:pt>
                <c:pt idx="384">
                  <c:v>0.21240556660039772</c:v>
                </c:pt>
                <c:pt idx="385">
                  <c:v>0.2217892644135189</c:v>
                </c:pt>
                <c:pt idx="386">
                  <c:v>0.19666003976143132</c:v>
                </c:pt>
                <c:pt idx="387">
                  <c:v>0.19666003976143132</c:v>
                </c:pt>
                <c:pt idx="388">
                  <c:v>0.19666003976143132</c:v>
                </c:pt>
                <c:pt idx="389">
                  <c:v>0.1611133200795227</c:v>
                </c:pt>
                <c:pt idx="390">
                  <c:v>0.1610337972166998</c:v>
                </c:pt>
                <c:pt idx="391">
                  <c:v>0.16970178926441348</c:v>
                </c:pt>
                <c:pt idx="392">
                  <c:v>0.17534791252485094</c:v>
                </c:pt>
                <c:pt idx="393">
                  <c:v>0.16333996023856856</c:v>
                </c:pt>
                <c:pt idx="394">
                  <c:v>0.16333996023856856</c:v>
                </c:pt>
                <c:pt idx="395">
                  <c:v>0.16333996023856856</c:v>
                </c:pt>
                <c:pt idx="396">
                  <c:v>0.19586481113320089</c:v>
                </c:pt>
                <c:pt idx="397">
                  <c:v>0.19363817097415506</c:v>
                </c:pt>
                <c:pt idx="398">
                  <c:v>0.2096222664015906</c:v>
                </c:pt>
                <c:pt idx="399">
                  <c:v>0.18544731610337961</c:v>
                </c:pt>
                <c:pt idx="400">
                  <c:v>0.15729622266401605</c:v>
                </c:pt>
                <c:pt idx="401">
                  <c:v>0.15729622266401605</c:v>
                </c:pt>
                <c:pt idx="402">
                  <c:v>0.15729622266401605</c:v>
                </c:pt>
                <c:pt idx="403">
                  <c:v>0.16214711729622253</c:v>
                </c:pt>
                <c:pt idx="404">
                  <c:v>0.15705765407554664</c:v>
                </c:pt>
                <c:pt idx="405">
                  <c:v>0.17662027833001986</c:v>
                </c:pt>
                <c:pt idx="406">
                  <c:v>0.16994035785288261</c:v>
                </c:pt>
                <c:pt idx="407">
                  <c:v>0.16071570576540764</c:v>
                </c:pt>
                <c:pt idx="408">
                  <c:v>0.16071570576540764</c:v>
                </c:pt>
                <c:pt idx="409">
                  <c:v>0.16071570576540764</c:v>
                </c:pt>
                <c:pt idx="410">
                  <c:v>0.14409542743538764</c:v>
                </c:pt>
                <c:pt idx="411">
                  <c:v>0.15491053677932398</c:v>
                </c:pt>
                <c:pt idx="412">
                  <c:v>0.14910536779324063</c:v>
                </c:pt>
                <c:pt idx="413">
                  <c:v>0.14783300198807153</c:v>
                </c:pt>
                <c:pt idx="414">
                  <c:v>0.1343936381709743</c:v>
                </c:pt>
                <c:pt idx="415">
                  <c:v>0.1343936381709743</c:v>
                </c:pt>
                <c:pt idx="416">
                  <c:v>0.1343936381709743</c:v>
                </c:pt>
                <c:pt idx="417">
                  <c:v>0.12445328031809154</c:v>
                </c:pt>
                <c:pt idx="418">
                  <c:v>0.12278330019880727</c:v>
                </c:pt>
                <c:pt idx="419">
                  <c:v>0.12318091451292261</c:v>
                </c:pt>
                <c:pt idx="420">
                  <c:v>0.11228628230616294</c:v>
                </c:pt>
                <c:pt idx="421">
                  <c:v>0.13685884691848899</c:v>
                </c:pt>
                <c:pt idx="422">
                  <c:v>0.13685884691848899</c:v>
                </c:pt>
                <c:pt idx="423">
                  <c:v>0.13685884691848899</c:v>
                </c:pt>
                <c:pt idx="424">
                  <c:v>0.13662027833001986</c:v>
                </c:pt>
                <c:pt idx="425">
                  <c:v>0.13121272365805153</c:v>
                </c:pt>
                <c:pt idx="426">
                  <c:v>0.13789264413518892</c:v>
                </c:pt>
                <c:pt idx="427">
                  <c:v>0.1320874751491054</c:v>
                </c:pt>
                <c:pt idx="428" formatCode="0.0%">
                  <c:v>0.11483101391650095</c:v>
                </c:pt>
                <c:pt idx="429" formatCode="0.0%">
                  <c:v>0.11483101391650095</c:v>
                </c:pt>
                <c:pt idx="430" formatCode="0.0%">
                  <c:v>0.11483101391650095</c:v>
                </c:pt>
                <c:pt idx="431" formatCode="0.0%">
                  <c:v>9.7574552683896629E-2</c:v>
                </c:pt>
                <c:pt idx="432" formatCode="0.0%">
                  <c:v>7.7932405566600374E-2</c:v>
                </c:pt>
                <c:pt idx="433" formatCode="0.0%">
                  <c:v>9.9005964214711639E-2</c:v>
                </c:pt>
                <c:pt idx="434" formatCode="0.0%">
                  <c:v>9.0099403578528983E-2</c:v>
                </c:pt>
                <c:pt idx="435" formatCode="0.0%">
                  <c:v>0.10528827037773354</c:v>
                </c:pt>
                <c:pt idx="436" formatCode="0.0%">
                  <c:v>0.10528827037773354</c:v>
                </c:pt>
                <c:pt idx="437" formatCode="0.0%">
                  <c:v>0.10528827037773354</c:v>
                </c:pt>
                <c:pt idx="438" formatCode="0.0%">
                  <c:v>0.10632206759443336</c:v>
                </c:pt>
                <c:pt idx="439" formatCode="0.0%">
                  <c:v>0.10497017892644124</c:v>
                </c:pt>
                <c:pt idx="440" formatCode="0.0%">
                  <c:v>0.13765407554671966</c:v>
                </c:pt>
                <c:pt idx="441" formatCode="0.0%">
                  <c:v>0.14186878727634195</c:v>
                </c:pt>
                <c:pt idx="442" formatCode="0.0%">
                  <c:v>0.15697813121272361</c:v>
                </c:pt>
                <c:pt idx="443" formatCode="0.0%">
                  <c:v>0.15697813121272361</c:v>
                </c:pt>
                <c:pt idx="444" formatCode="0.0%">
                  <c:v>0.15697813121272361</c:v>
                </c:pt>
                <c:pt idx="445" formatCode="0.0%">
                  <c:v>0.16508946322067586</c:v>
                </c:pt>
                <c:pt idx="446" formatCode="0.0%">
                  <c:v>0.17638170974155074</c:v>
                </c:pt>
                <c:pt idx="447" formatCode="0.0%">
                  <c:v>0.16819085487077529</c:v>
                </c:pt>
                <c:pt idx="448" formatCode="0.0%">
                  <c:v>0.16532803180914499</c:v>
                </c:pt>
                <c:pt idx="449" formatCode="0.0%">
                  <c:v>0.16341948310139173</c:v>
                </c:pt>
                <c:pt idx="450" formatCode="0.0%">
                  <c:v>0.16341948310139173</c:v>
                </c:pt>
                <c:pt idx="451" formatCode="0.0%">
                  <c:v>0.16341948310139173</c:v>
                </c:pt>
                <c:pt idx="452" formatCode="0.0%">
                  <c:v>0.17216699801192845</c:v>
                </c:pt>
                <c:pt idx="453" formatCode="0.0%">
                  <c:v>0.18735586481113331</c:v>
                </c:pt>
                <c:pt idx="454" formatCode="0.0%">
                  <c:v>0.18369781312127231</c:v>
                </c:pt>
                <c:pt idx="455" formatCode="0.0%">
                  <c:v>0.17654075546719666</c:v>
                </c:pt>
                <c:pt idx="456" formatCode="0.0%">
                  <c:v>0.18775347912524865</c:v>
                </c:pt>
                <c:pt idx="457" formatCode="0.0%">
                  <c:v>0.18775347912524865</c:v>
                </c:pt>
                <c:pt idx="458" formatCode="0.0%">
                  <c:v>0.18775347912524865</c:v>
                </c:pt>
                <c:pt idx="459" formatCode="0.0%">
                  <c:v>0.19673956262425449</c:v>
                </c:pt>
                <c:pt idx="460" formatCode="0.0%">
                  <c:v>0.19872763419483122</c:v>
                </c:pt>
                <c:pt idx="461" formatCode="0.0%">
                  <c:v>0.1759840954274354</c:v>
                </c:pt>
                <c:pt idx="462" formatCode="0.0%">
                  <c:v>0.18163021868787282</c:v>
                </c:pt>
                <c:pt idx="463" formatCode="0.0%">
                  <c:v>0.1933200795228629</c:v>
                </c:pt>
                <c:pt idx="464" formatCode="0.0%">
                  <c:v>0.1933200795228629</c:v>
                </c:pt>
                <c:pt idx="465" formatCode="0.0%">
                  <c:v>0.1933200795228629</c:v>
                </c:pt>
                <c:pt idx="466" formatCode="0.0%">
                  <c:v>0.17009940357852885</c:v>
                </c:pt>
                <c:pt idx="467" formatCode="0.0%">
                  <c:v>0.16182902584493036</c:v>
                </c:pt>
                <c:pt idx="468" formatCode="0.0%">
                  <c:v>0.16015904572564607</c:v>
                </c:pt>
                <c:pt idx="469" formatCode="0.0%">
                  <c:v>0.16015904572564607</c:v>
                </c:pt>
                <c:pt idx="470" formatCode="0.0%">
                  <c:v>0.16015904572564607</c:v>
                </c:pt>
                <c:pt idx="471" formatCode="0.0%">
                  <c:v>0.16015904572564607</c:v>
                </c:pt>
                <c:pt idx="472" formatCode="0.0%">
                  <c:v>0.16015904572564607</c:v>
                </c:pt>
                <c:pt idx="473" formatCode="0.0%">
                  <c:v>0.16015904572564607</c:v>
                </c:pt>
                <c:pt idx="474" formatCode="0.0%">
                  <c:v>0.15658051689860827</c:v>
                </c:pt>
                <c:pt idx="475" formatCode="0.0%">
                  <c:v>0.17335984095427448</c:v>
                </c:pt>
                <c:pt idx="476" formatCode="0.0%">
                  <c:v>0.17805168986083486</c:v>
                </c:pt>
                <c:pt idx="477" formatCode="0.0%">
                  <c:v>0.14966202783300189</c:v>
                </c:pt>
                <c:pt idx="478" formatCode="0.0%">
                  <c:v>0.14966202783300189</c:v>
                </c:pt>
                <c:pt idx="479" formatCode="0.0%">
                  <c:v>0.14966202783300189</c:v>
                </c:pt>
                <c:pt idx="480" formatCode="0.0%">
                  <c:v>0.12882703777335977</c:v>
                </c:pt>
                <c:pt idx="481" formatCode="0.0%">
                  <c:v>0.12469184890656067</c:v>
                </c:pt>
                <c:pt idx="482" formatCode="0.0%">
                  <c:v>0.13391650099403576</c:v>
                </c:pt>
                <c:pt idx="483" formatCode="0.0%">
                  <c:v>0.14584493041749511</c:v>
                </c:pt>
                <c:pt idx="484" formatCode="0.0%">
                  <c:v>0.15403578528827042</c:v>
                </c:pt>
                <c:pt idx="485" formatCode="0.0%">
                  <c:v>0.14194831013916498</c:v>
                </c:pt>
                <c:pt idx="486" formatCode="0.0%">
                  <c:v>0.14194831013916498</c:v>
                </c:pt>
                <c:pt idx="487" formatCode="0.0%">
                  <c:v>0.1333598409542745</c:v>
                </c:pt>
                <c:pt idx="488" formatCode="0.0%">
                  <c:v>0.13280318091451293</c:v>
                </c:pt>
                <c:pt idx="489" formatCode="0.0%">
                  <c:v>0.12524850894632195</c:v>
                </c:pt>
                <c:pt idx="490" formatCode="0.0%">
                  <c:v>0.13057654075546707</c:v>
                </c:pt>
                <c:pt idx="491" formatCode="0.0%">
                  <c:v>9.9403578528826989E-2</c:v>
                </c:pt>
                <c:pt idx="492" formatCode="0.0%">
                  <c:v>9.9403578528826989E-2</c:v>
                </c:pt>
                <c:pt idx="493" formatCode="0.0%">
                  <c:v>9.9403578528826989E-2</c:v>
                </c:pt>
                <c:pt idx="494" formatCode="0.0%">
                  <c:v>7.2206759443340041E-2</c:v>
                </c:pt>
                <c:pt idx="495" formatCode="0.0%">
                  <c:v>6.974155069582523E-2</c:v>
                </c:pt>
                <c:pt idx="496" formatCode="0.0%">
                  <c:v>7.8807157057654106E-2</c:v>
                </c:pt>
                <c:pt idx="497" formatCode="0.0%">
                  <c:v>7.7534791252485039E-2</c:v>
                </c:pt>
                <c:pt idx="498" formatCode="0.0%">
                  <c:v>7.7534791252485039E-2</c:v>
                </c:pt>
                <c:pt idx="499" formatCode="0.0%">
                  <c:v>7.7534791252485039E-2</c:v>
                </c:pt>
                <c:pt idx="500" formatCode="0.0%">
                  <c:v>7.7534791252485039E-2</c:v>
                </c:pt>
                <c:pt idx="501" formatCode="0.0%">
                  <c:v>9.6858846918489269E-2</c:v>
                </c:pt>
                <c:pt idx="502" formatCode="0.0%">
                  <c:v>0.10425447316103402</c:v>
                </c:pt>
                <c:pt idx="503" formatCode="0.0%">
                  <c:v>0.10441351888667995</c:v>
                </c:pt>
                <c:pt idx="504" formatCode="0.0%">
                  <c:v>8.1749502982107314E-2</c:v>
                </c:pt>
                <c:pt idx="505" formatCode="0.0%">
                  <c:v>8.8747514910536729E-2</c:v>
                </c:pt>
                <c:pt idx="506" formatCode="0.0%">
                  <c:v>8.8747514910536729E-2</c:v>
                </c:pt>
                <c:pt idx="507" formatCode="0.0%">
                  <c:v>8.8747514910536729E-2</c:v>
                </c:pt>
                <c:pt idx="508" formatCode="0.0%">
                  <c:v>9.2485089463220482E-2</c:v>
                </c:pt>
                <c:pt idx="509" formatCode="0.0%">
                  <c:v>7.8091451292246317E-2</c:v>
                </c:pt>
                <c:pt idx="510" formatCode="0.0%">
                  <c:v>8.8747514910536729E-2</c:v>
                </c:pt>
                <c:pt idx="511" formatCode="0.0%">
                  <c:v>8.8747514910536729E-2</c:v>
                </c:pt>
                <c:pt idx="512" formatCode="0.0%">
                  <c:v>8.8747514910536729E-2</c:v>
                </c:pt>
                <c:pt idx="513" formatCode="0.0%">
                  <c:v>8.8747514910536729E-2</c:v>
                </c:pt>
                <c:pt idx="514" formatCode="0.0%">
                  <c:v>8.8747514910536729E-2</c:v>
                </c:pt>
                <c:pt idx="515" formatCode="0.0%">
                  <c:v>0.13590457256461236</c:v>
                </c:pt>
                <c:pt idx="516" formatCode="0.0%">
                  <c:v>0.13574552683896626</c:v>
                </c:pt>
                <c:pt idx="517" formatCode="0.0%">
                  <c:v>0.12628230616302175</c:v>
                </c:pt>
                <c:pt idx="518" formatCode="0.0%">
                  <c:v>0.12699801192842955</c:v>
                </c:pt>
                <c:pt idx="519" formatCode="0.0%">
                  <c:v>0.12811133200795241</c:v>
                </c:pt>
                <c:pt idx="520" formatCode="0.0%">
                  <c:v>0.12811133200795241</c:v>
                </c:pt>
                <c:pt idx="521" formatCode="0.0%">
                  <c:v>0.12811133200795241</c:v>
                </c:pt>
                <c:pt idx="522" formatCode="0.0%">
                  <c:v>0.12811133200795241</c:v>
                </c:pt>
                <c:pt idx="523" formatCode="0.0%">
                  <c:v>0.1351093439363818</c:v>
                </c:pt>
                <c:pt idx="524" formatCode="0.0%">
                  <c:v>0.13168986083499007</c:v>
                </c:pt>
                <c:pt idx="525" formatCode="0.0%">
                  <c:v>0.12453280318091459</c:v>
                </c:pt>
                <c:pt idx="526" formatCode="0.0%">
                  <c:v>9.3200795228628272E-2</c:v>
                </c:pt>
                <c:pt idx="527" formatCode="0.0%">
                  <c:v>9.3200795228628272E-2</c:v>
                </c:pt>
                <c:pt idx="528" formatCode="0.0%">
                  <c:v>9.3200795228628272E-2</c:v>
                </c:pt>
                <c:pt idx="529" formatCode="0.0%">
                  <c:v>6.2584493041749595E-2</c:v>
                </c:pt>
                <c:pt idx="530" formatCode="0.0%">
                  <c:v>5.3121272365805224E-2</c:v>
                </c:pt>
                <c:pt idx="531" formatCode="0.0%">
                  <c:v>6.3856858846918663E-2</c:v>
                </c:pt>
                <c:pt idx="532" formatCode="0.0%">
                  <c:v>3.1729622266401664E-2</c:v>
                </c:pt>
                <c:pt idx="533" formatCode="0.0%">
                  <c:v>3.1729622266401664E-2</c:v>
                </c:pt>
                <c:pt idx="534" formatCode="0.0%">
                  <c:v>3.1729622266401664E-2</c:v>
                </c:pt>
                <c:pt idx="535" formatCode="0.0%">
                  <c:v>3.1729622266401664E-2</c:v>
                </c:pt>
                <c:pt idx="536" formatCode="0.0%">
                  <c:v>3.1968190854870786E-2</c:v>
                </c:pt>
                <c:pt idx="537" formatCode="0.0%">
                  <c:v>4.516898608349891E-2</c:v>
                </c:pt>
                <c:pt idx="538" formatCode="0.0%">
                  <c:v>4.1272365805169076E-2</c:v>
                </c:pt>
                <c:pt idx="539" formatCode="0.0%">
                  <c:v>4.8270377733598477E-2</c:v>
                </c:pt>
                <c:pt idx="540" formatCode="0.0%">
                  <c:v>7.2127236580516729E-2</c:v>
                </c:pt>
                <c:pt idx="541" formatCode="0.0%">
                  <c:v>7.2127236580516729E-2</c:v>
                </c:pt>
                <c:pt idx="542" formatCode="0.0%">
                  <c:v>7.2127236580516729E-2</c:v>
                </c:pt>
                <c:pt idx="543" formatCode="0.0%">
                  <c:v>7.8330019880715723E-2</c:v>
                </c:pt>
                <c:pt idx="544" formatCode="0.0%">
                  <c:v>8.1192842942346036E-2</c:v>
                </c:pt>
                <c:pt idx="545" formatCode="0.0%">
                  <c:v>6.6083499005964233E-2</c:v>
                </c:pt>
                <c:pt idx="546" formatCode="0.0%">
                  <c:v>6.2107355864811066E-2</c:v>
                </c:pt>
                <c:pt idx="547" formatCode="0.0%">
                  <c:v>6.4254473161034012E-2</c:v>
                </c:pt>
                <c:pt idx="548" formatCode="0.0%">
                  <c:v>6.4254473161034012E-2</c:v>
                </c:pt>
                <c:pt idx="549" formatCode="0.0%">
                  <c:v>6.4254473161034012E-2</c:v>
                </c:pt>
                <c:pt idx="550" formatCode="0.0%">
                  <c:v>6.9423459244532637E-2</c:v>
                </c:pt>
                <c:pt idx="551" formatCode="0.0%">
                  <c:v>6.8946322067594393E-2</c:v>
                </c:pt>
                <c:pt idx="552" formatCode="0.0%">
                  <c:v>9.1292246520874726E-2</c:v>
                </c:pt>
                <c:pt idx="553" formatCode="0.0%">
                  <c:v>0.11093439363817083</c:v>
                </c:pt>
                <c:pt idx="554" formatCode="0.0%">
                  <c:v>0.11681908548707738</c:v>
                </c:pt>
                <c:pt idx="555" formatCode="0.0%">
                  <c:v>0.11681908548707738</c:v>
                </c:pt>
                <c:pt idx="556" formatCode="0.0%">
                  <c:v>0.11681908548707738</c:v>
                </c:pt>
                <c:pt idx="557" formatCode="0.0%">
                  <c:v>0.11538767395626223</c:v>
                </c:pt>
                <c:pt idx="558" formatCode="0.0%">
                  <c:v>0.11387673956262417</c:v>
                </c:pt>
                <c:pt idx="559" formatCode="0.0%">
                  <c:v>9.988071570576551E-2</c:v>
                </c:pt>
                <c:pt idx="560" formatCode="0.0%">
                  <c:v>9.3836978131212737E-2</c:v>
                </c:pt>
                <c:pt idx="561" formatCode="0.0%">
                  <c:v>0.12000000000000015</c:v>
                </c:pt>
                <c:pt idx="562" formatCode="0.0%">
                  <c:v>0.12000000000000015</c:v>
                </c:pt>
                <c:pt idx="563" formatCode="0.0%">
                  <c:v>0.12000000000000015</c:v>
                </c:pt>
                <c:pt idx="564" formatCode="0.0%">
                  <c:v>0.11570576540755483</c:v>
                </c:pt>
                <c:pt idx="565" formatCode="0.0%">
                  <c:v>0.12047713717693838</c:v>
                </c:pt>
                <c:pt idx="566" formatCode="0.0%">
                  <c:v>0.13852882703777339</c:v>
                </c:pt>
                <c:pt idx="567" formatCode="0.0%">
                  <c:v>0.14846918489065586</c:v>
                </c:pt>
                <c:pt idx="568" formatCode="0.0%">
                  <c:v>0.15586481113320075</c:v>
                </c:pt>
                <c:pt idx="569" formatCode="0.0%">
                  <c:v>0.15586481113320075</c:v>
                </c:pt>
                <c:pt idx="570" formatCode="0.0%">
                  <c:v>0.15586481113320075</c:v>
                </c:pt>
                <c:pt idx="571" formatCode="0.0%">
                  <c:v>0.14528827037773367</c:v>
                </c:pt>
                <c:pt idx="572" formatCode="0.0%">
                  <c:v>0.15300198807157073</c:v>
                </c:pt>
                <c:pt idx="573" formatCode="0.0%">
                  <c:v>0.16731610337972172</c:v>
                </c:pt>
                <c:pt idx="574" formatCode="0.0%">
                  <c:v>0.18632206759443348</c:v>
                </c:pt>
                <c:pt idx="575" formatCode="0.0%">
                  <c:v>0.20429423459244517</c:v>
                </c:pt>
                <c:pt idx="576" formatCode="0.0%">
                  <c:v>0.20429423459244517</c:v>
                </c:pt>
                <c:pt idx="577" formatCode="0.0%">
                  <c:v>0.20763419483101417</c:v>
                </c:pt>
                <c:pt idx="578" formatCode="0.0%">
                  <c:v>0.20318091451292261</c:v>
                </c:pt>
                <c:pt idx="579" formatCode="0.0%">
                  <c:v>0.19634194831013915</c:v>
                </c:pt>
                <c:pt idx="580" formatCode="0.0%">
                  <c:v>0.20230616302186874</c:v>
                </c:pt>
                <c:pt idx="581" formatCode="0.0%">
                  <c:v>0.20421471172962227</c:v>
                </c:pt>
                <c:pt idx="582" formatCode="0.0%">
                  <c:v>0.20166998011928455</c:v>
                </c:pt>
                <c:pt idx="583" formatCode="0.0%">
                  <c:v>0.20166998011928455</c:v>
                </c:pt>
                <c:pt idx="584" formatCode="0.0%">
                  <c:v>0.20166998011928455</c:v>
                </c:pt>
                <c:pt idx="585" formatCode="0.0%">
                  <c:v>0.20755467196819083</c:v>
                </c:pt>
                <c:pt idx="586" formatCode="0.0%">
                  <c:v>0.18990059642147103</c:v>
                </c:pt>
                <c:pt idx="587" formatCode="0.0%">
                  <c:v>0.19801192842942356</c:v>
                </c:pt>
                <c:pt idx="588" formatCode="0.0%">
                  <c:v>0.20644135188866813</c:v>
                </c:pt>
                <c:pt idx="589" formatCode="0.0%">
                  <c:v>0.21574552683896614</c:v>
                </c:pt>
                <c:pt idx="590" formatCode="0.0%">
                  <c:v>0.21574552683896614</c:v>
                </c:pt>
                <c:pt idx="591" formatCode="0.0%">
                  <c:v>0.21574552683896614</c:v>
                </c:pt>
                <c:pt idx="592" formatCode="0.0%">
                  <c:v>0.22894632206759438</c:v>
                </c:pt>
                <c:pt idx="593" formatCode="0.0%">
                  <c:v>0.22767395626242545</c:v>
                </c:pt>
                <c:pt idx="594" formatCode="0.0%">
                  <c:v>0.21948310139165003</c:v>
                </c:pt>
                <c:pt idx="595" formatCode="0.0%">
                  <c:v>0.2225844930417496</c:v>
                </c:pt>
                <c:pt idx="596" formatCode="0.0%">
                  <c:v>0.21876739562624237</c:v>
                </c:pt>
                <c:pt idx="597" formatCode="0.0%">
                  <c:v>0.21876739562624237</c:v>
                </c:pt>
                <c:pt idx="598" formatCode="0.0%">
                  <c:v>0.21876739562624237</c:v>
                </c:pt>
                <c:pt idx="599" formatCode="0.0%">
                  <c:v>0.20644135188866813</c:v>
                </c:pt>
                <c:pt idx="600" formatCode="0.0%">
                  <c:v>0.19260437375745526</c:v>
                </c:pt>
                <c:pt idx="601" formatCode="0.0%">
                  <c:v>0.19554671968190845</c:v>
                </c:pt>
                <c:pt idx="602" formatCode="0.0%">
                  <c:v>0.2054870775347912</c:v>
                </c:pt>
                <c:pt idx="603" formatCode="0.0%">
                  <c:v>0.18910536779324061</c:v>
                </c:pt>
                <c:pt idx="604" formatCode="0.0%">
                  <c:v>0.18910536779324061</c:v>
                </c:pt>
                <c:pt idx="605" formatCode="0.0%">
                  <c:v>0.18910536779324061</c:v>
                </c:pt>
                <c:pt idx="606" formatCode="0.0%">
                  <c:v>0.16055666003976143</c:v>
                </c:pt>
                <c:pt idx="607" formatCode="0.0%">
                  <c:v>0.15268389662027815</c:v>
                </c:pt>
                <c:pt idx="608" formatCode="0.0%">
                  <c:v>0.13972166998011915</c:v>
                </c:pt>
                <c:pt idx="609" formatCode="0.0%">
                  <c:v>0.13097415506958243</c:v>
                </c:pt>
                <c:pt idx="610" formatCode="0.0%">
                  <c:v>0.1492644135188867</c:v>
                </c:pt>
                <c:pt idx="611" formatCode="0.0%">
                  <c:v>0.1492644135188867</c:v>
                </c:pt>
                <c:pt idx="612" formatCode="0.0%">
                  <c:v>0.1492644135188867</c:v>
                </c:pt>
                <c:pt idx="613" formatCode="0.0%">
                  <c:v>0.13924453280318091</c:v>
                </c:pt>
                <c:pt idx="614" formatCode="0.0%">
                  <c:v>0.14592445328031814</c:v>
                </c:pt>
                <c:pt idx="615" formatCode="0.0%">
                  <c:v>0.14139165009940372</c:v>
                </c:pt>
                <c:pt idx="616" formatCode="0.0%">
                  <c:v>0.16127236580516893</c:v>
                </c:pt>
                <c:pt idx="617" formatCode="0.0%">
                  <c:v>0.17320079522862827</c:v>
                </c:pt>
                <c:pt idx="618" formatCode="0.0%">
                  <c:v>0.17320079522862827</c:v>
                </c:pt>
                <c:pt idx="619" formatCode="0.0%">
                  <c:v>0.17320079522862827</c:v>
                </c:pt>
                <c:pt idx="620" formatCode="0.0%">
                  <c:v>0.17892644135188873</c:v>
                </c:pt>
                <c:pt idx="621" formatCode="0.0%">
                  <c:v>0.1608747514910536</c:v>
                </c:pt>
                <c:pt idx="622" formatCode="0.0%">
                  <c:v>0.15300198807157073</c:v>
                </c:pt>
                <c:pt idx="623" formatCode="0.0%">
                  <c:v>0.13980119284294232</c:v>
                </c:pt>
                <c:pt idx="624" formatCode="0.0%">
                  <c:v>0.12198807157057658</c:v>
                </c:pt>
                <c:pt idx="625" formatCode="0.0%">
                  <c:v>0.12198807157057658</c:v>
                </c:pt>
                <c:pt idx="626" formatCode="0.0%">
                  <c:v>0.12198807157057658</c:v>
                </c:pt>
                <c:pt idx="627" formatCode="0.0%">
                  <c:v>0.1211133200795227</c:v>
                </c:pt>
                <c:pt idx="628" formatCode="0.0%">
                  <c:v>0.11530815109343934</c:v>
                </c:pt>
                <c:pt idx="629" formatCode="0.0%">
                  <c:v>0.13129224652087473</c:v>
                </c:pt>
                <c:pt idx="630" formatCode="0.0%">
                  <c:v>9.9483101391649884E-2</c:v>
                </c:pt>
                <c:pt idx="631" formatCode="0.0%">
                  <c:v>8.9145129224652064E-2</c:v>
                </c:pt>
                <c:pt idx="632" formatCode="0.0%">
                  <c:v>8.9145129224652064E-2</c:v>
                </c:pt>
                <c:pt idx="633" formatCode="0.0%">
                  <c:v>8.9145129224652064E-2</c:v>
                </c:pt>
                <c:pt idx="634" formatCode="0.0%">
                  <c:v>9.63021868787277E-2</c:v>
                </c:pt>
                <c:pt idx="635" formatCode="0.0%">
                  <c:v>9.5666003976143235E-2</c:v>
                </c:pt>
                <c:pt idx="636" formatCode="0.0%">
                  <c:v>8.8827037773359763E-2</c:v>
                </c:pt>
                <c:pt idx="637" formatCode="0.0%">
                  <c:v>7.3240556660039854E-2</c:v>
                </c:pt>
                <c:pt idx="638" formatCode="0.0%">
                  <c:v>7.0854870775347786E-2</c:v>
                </c:pt>
                <c:pt idx="639" formatCode="0.0%">
                  <c:v>7.0854870775347786E-2</c:v>
                </c:pt>
                <c:pt idx="640" formatCode="0.0%">
                  <c:v>7.0854870775347786E-2</c:v>
                </c:pt>
                <c:pt idx="641" formatCode="0.0%">
                  <c:v>8.5009940357852823E-2</c:v>
                </c:pt>
                <c:pt idx="642" formatCode="0.0%">
                  <c:v>0.11236580516898599</c:v>
                </c:pt>
                <c:pt idx="643" formatCode="0.0%">
                  <c:v>0.11188866799204761</c:v>
                </c:pt>
                <c:pt idx="644" formatCode="0.0%">
                  <c:v>0.1211133200795227</c:v>
                </c:pt>
                <c:pt idx="645" formatCode="0.0%">
                  <c:v>9.5188866799204699E-2</c:v>
                </c:pt>
                <c:pt idx="646" formatCode="0.0%">
                  <c:v>9.5188866799204699E-2</c:v>
                </c:pt>
                <c:pt idx="647" formatCode="0.0%">
                  <c:v>9.5188866799204699E-2</c:v>
                </c:pt>
                <c:pt idx="648" formatCode="0.0%">
                  <c:v>8.3817097415506789E-2</c:v>
                </c:pt>
                <c:pt idx="649" formatCode="0.0%">
                  <c:v>6.6481113320079568E-2</c:v>
                </c:pt>
                <c:pt idx="650" formatCode="0.0%">
                  <c:v>6.5447316103379768E-2</c:v>
                </c:pt>
                <c:pt idx="651" formatCode="0.0%">
                  <c:v>5.2087475149105417E-2</c:v>
                </c:pt>
                <c:pt idx="652" formatCode="0.0%">
                  <c:v>7.6739562624254354E-2</c:v>
                </c:pt>
                <c:pt idx="653" formatCode="0.0%">
                  <c:v>7.6739562624254354E-2</c:v>
                </c:pt>
                <c:pt idx="654" formatCode="0.0%">
                  <c:v>7.6739562624254354E-2</c:v>
                </c:pt>
                <c:pt idx="655" formatCode="0.0%">
                  <c:v>7.9363817097415398E-2</c:v>
                </c:pt>
                <c:pt idx="656" formatCode="0.0%">
                  <c:v>9.6381709741550733E-2</c:v>
                </c:pt>
                <c:pt idx="657" formatCode="0.0%">
                  <c:v>8.5566600397614254E-2</c:v>
                </c:pt>
                <c:pt idx="658" formatCode="0.0%">
                  <c:v>8.7793240556659949E-2</c:v>
                </c:pt>
                <c:pt idx="659" formatCode="0.0%">
                  <c:v>7.6341948310139005E-2</c:v>
                </c:pt>
                <c:pt idx="660" formatCode="0.0%">
                  <c:v>7.6341948310139005E-2</c:v>
                </c:pt>
                <c:pt idx="661" formatCode="0.0%">
                  <c:v>7.6341948310139005E-2</c:v>
                </c:pt>
                <c:pt idx="662" formatCode="0.0%">
                  <c:v>9.6540755467196676E-2</c:v>
                </c:pt>
                <c:pt idx="663" formatCode="0.0%">
                  <c:v>0.10751491053677938</c:v>
                </c:pt>
                <c:pt idx="664" formatCode="0.0%">
                  <c:v>0.11642147117296205</c:v>
                </c:pt>
                <c:pt idx="665" formatCode="0.0%">
                  <c:v>0.10918489065606352</c:v>
                </c:pt>
                <c:pt idx="666" formatCode="0.0%">
                  <c:v>0.12174950298210746</c:v>
                </c:pt>
                <c:pt idx="667" formatCode="0.0%">
                  <c:v>0.12174950298210746</c:v>
                </c:pt>
                <c:pt idx="668" formatCode="0.0%">
                  <c:v>0.12174950298210746</c:v>
                </c:pt>
                <c:pt idx="669" formatCode="0.0%">
                  <c:v>0.1334393638170974</c:v>
                </c:pt>
                <c:pt idx="670" formatCode="0.0%">
                  <c:v>0.13041749502982114</c:v>
                </c:pt>
                <c:pt idx="671" formatCode="0.0%">
                  <c:v>0.12596421471172975</c:v>
                </c:pt>
                <c:pt idx="672" formatCode="0.0%">
                  <c:v>0.1092644135188867</c:v>
                </c:pt>
                <c:pt idx="673" formatCode="0.0%">
                  <c:v>0.10671968190854855</c:v>
                </c:pt>
                <c:pt idx="674" formatCode="0.0%">
                  <c:v>0.10671968190854855</c:v>
                </c:pt>
                <c:pt idx="675" formatCode="0.0%">
                  <c:v>0.10671968190854855</c:v>
                </c:pt>
                <c:pt idx="676" formatCode="0.0%">
                  <c:v>0.11204771371769383</c:v>
                </c:pt>
                <c:pt idx="677" formatCode="0.0%">
                  <c:v>0.13057654075546707</c:v>
                </c:pt>
                <c:pt idx="678" formatCode="0.0%">
                  <c:v>0.12318091451292261</c:v>
                </c:pt>
                <c:pt idx="679" formatCode="0.0%">
                  <c:v>0.15689860834990044</c:v>
                </c:pt>
                <c:pt idx="680" formatCode="0.0%">
                  <c:v>0.17447316103379734</c:v>
                </c:pt>
                <c:pt idx="681" formatCode="0.0%">
                  <c:v>0.17447316103379734</c:v>
                </c:pt>
                <c:pt idx="682" formatCode="0.0%">
                  <c:v>0.17447316103379734</c:v>
                </c:pt>
                <c:pt idx="683" formatCode="0.0%">
                  <c:v>0.17200795228628224</c:v>
                </c:pt>
                <c:pt idx="684" formatCode="0.0%">
                  <c:v>0.17335984095427448</c:v>
                </c:pt>
                <c:pt idx="685" formatCode="0.0%">
                  <c:v>0.15992047713717697</c:v>
                </c:pt>
                <c:pt idx="686" formatCode="0.0%">
                  <c:v>0.14966202783300189</c:v>
                </c:pt>
                <c:pt idx="687" formatCode="0.0%">
                  <c:v>0.1647713717693837</c:v>
                </c:pt>
                <c:pt idx="688" formatCode="0.0%">
                  <c:v>0.1647713717693837</c:v>
                </c:pt>
                <c:pt idx="689" formatCode="0.0%">
                  <c:v>0.1647713717693837</c:v>
                </c:pt>
                <c:pt idx="690" formatCode="0.0%">
                  <c:v>0.17550695825049686</c:v>
                </c:pt>
                <c:pt idx="691" formatCode="0.0%">
                  <c:v>0.1756660039761431</c:v>
                </c:pt>
                <c:pt idx="692" formatCode="0.0%">
                  <c:v>0.18664015904572565</c:v>
                </c:pt>
                <c:pt idx="693" formatCode="0.0%">
                  <c:v>0.18807157057654081</c:v>
                </c:pt>
                <c:pt idx="694" formatCode="0.0%">
                  <c:v>0.18377733598409549</c:v>
                </c:pt>
                <c:pt idx="695" formatCode="0.0%">
                  <c:v>0.18377733598409549</c:v>
                </c:pt>
                <c:pt idx="696" formatCode="0.0%">
                  <c:v>0.18377733598409549</c:v>
                </c:pt>
                <c:pt idx="697" formatCode="0.0%">
                  <c:v>0.17836978131212716</c:v>
                </c:pt>
                <c:pt idx="698" formatCode="0.0%">
                  <c:v>0.16962226640159045</c:v>
                </c:pt>
                <c:pt idx="699" formatCode="0.0%">
                  <c:v>0.19761431411530822</c:v>
                </c:pt>
                <c:pt idx="700" formatCode="0.0%">
                  <c:v>0.1896620278330019</c:v>
                </c:pt>
                <c:pt idx="701" formatCode="0.0%">
                  <c:v>0.18163021868787282</c:v>
                </c:pt>
                <c:pt idx="702" formatCode="0.0%">
                  <c:v>0.18163021868787282</c:v>
                </c:pt>
                <c:pt idx="703" formatCode="0.0%">
                  <c:v>0.18163021868787282</c:v>
                </c:pt>
                <c:pt idx="704" formatCode="0.0%">
                  <c:v>0.17502982107355863</c:v>
                </c:pt>
                <c:pt idx="705" formatCode="0.0%">
                  <c:v>0.16182902584493036</c:v>
                </c:pt>
                <c:pt idx="706" formatCode="0.0%">
                  <c:v>0.1627037773359841</c:v>
                </c:pt>
                <c:pt idx="707" formatCode="0.0%">
                  <c:v>0.16151093439363834</c:v>
                </c:pt>
                <c:pt idx="708" formatCode="0.0%">
                  <c:v>0.16326043737574567</c:v>
                </c:pt>
                <c:pt idx="709" formatCode="0.0%">
                  <c:v>0.16326043737574567</c:v>
                </c:pt>
                <c:pt idx="710" formatCode="0.0%">
                  <c:v>0.16326043737574567</c:v>
                </c:pt>
                <c:pt idx="711" formatCode="0.0%">
                  <c:v>0.16461232604373749</c:v>
                </c:pt>
                <c:pt idx="712" formatCode="0.0%">
                  <c:v>0.18353876739562636</c:v>
                </c:pt>
                <c:pt idx="713" formatCode="0.0%">
                  <c:v>0.18369781312127231</c:v>
                </c:pt>
                <c:pt idx="714" formatCode="0.0%">
                  <c:v>0.14441351888667994</c:v>
                </c:pt>
                <c:pt idx="715" formatCode="0.0%">
                  <c:v>0.12890656063618294</c:v>
                </c:pt>
                <c:pt idx="716" formatCode="0.0%">
                  <c:v>0.12890656063618294</c:v>
                </c:pt>
                <c:pt idx="717" formatCode="0.0%">
                  <c:v>0.12890656063618294</c:v>
                </c:pt>
                <c:pt idx="718" formatCode="0.0%">
                  <c:v>0.12890656063618294</c:v>
                </c:pt>
                <c:pt idx="719" formatCode="0.0%">
                  <c:v>0.12294234592445336</c:v>
                </c:pt>
                <c:pt idx="720" formatCode="0.0%">
                  <c:v>0.13821073558648095</c:v>
                </c:pt>
                <c:pt idx="721" formatCode="0.0%">
                  <c:v>0.12286282306163017</c:v>
                </c:pt>
                <c:pt idx="722" formatCode="0.0%">
                  <c:v>0.12087475149105359</c:v>
                </c:pt>
                <c:pt idx="723" formatCode="0.0%">
                  <c:v>0.12087475149105359</c:v>
                </c:pt>
                <c:pt idx="724" formatCode="0.0%">
                  <c:v>0.12087475149105359</c:v>
                </c:pt>
                <c:pt idx="725" formatCode="0.0%">
                  <c:v>0.12087475149105359</c:v>
                </c:pt>
                <c:pt idx="726" formatCode="0.0%">
                  <c:v>0.12437375745526837</c:v>
                </c:pt>
                <c:pt idx="727" formatCode="0.0%">
                  <c:v>0.12397614314115302</c:v>
                </c:pt>
                <c:pt idx="728" formatCode="0.0%">
                  <c:v>0.12954274353876727</c:v>
                </c:pt>
                <c:pt idx="729" formatCode="0.0%">
                  <c:v>0.11729622266401592</c:v>
                </c:pt>
                <c:pt idx="730" formatCode="0.0%">
                  <c:v>0.12007952286282304</c:v>
                </c:pt>
                <c:pt idx="731" formatCode="0.0%">
                  <c:v>0.12007952286282304</c:v>
                </c:pt>
                <c:pt idx="732" formatCode="0.0%">
                  <c:v>0.12437375745526837</c:v>
                </c:pt>
                <c:pt idx="733" formatCode="0.0%">
                  <c:v>0.13614314115308163</c:v>
                </c:pt>
                <c:pt idx="734" formatCode="0.0%">
                  <c:v>0.13924453280318091</c:v>
                </c:pt>
                <c:pt idx="735" formatCode="0.0%">
                  <c:v>0.13677932405566579</c:v>
                </c:pt>
                <c:pt idx="736" formatCode="0.0%">
                  <c:v>0.13940357852882698</c:v>
                </c:pt>
                <c:pt idx="737" formatCode="0.0%">
                  <c:v>0.13940357852882698</c:v>
                </c:pt>
                <c:pt idx="738" formatCode="0.0%">
                  <c:v>0.13940357852882698</c:v>
                </c:pt>
                <c:pt idx="739" formatCode="0.0%">
                  <c:v>0.15053677932405576</c:v>
                </c:pt>
                <c:pt idx="740" formatCode="0.0%">
                  <c:v>0.14910536779324063</c:v>
                </c:pt>
                <c:pt idx="741" formatCode="0.0%">
                  <c:v>0.15753479125248518</c:v>
                </c:pt>
                <c:pt idx="742" formatCode="0.0%">
                  <c:v>0.16238568588469179</c:v>
                </c:pt>
                <c:pt idx="743" formatCode="0.0%">
                  <c:v>0.1626242544731609</c:v>
                </c:pt>
                <c:pt idx="744" formatCode="0.0%">
                  <c:v>0.1626242544731609</c:v>
                </c:pt>
                <c:pt idx="745" formatCode="0.0%">
                  <c:v>0.1626242544731609</c:v>
                </c:pt>
                <c:pt idx="746" formatCode="0.0%">
                  <c:v>0.16970178926441348</c:v>
                </c:pt>
                <c:pt idx="747" formatCode="0.0%">
                  <c:v>0.17200795228628224</c:v>
                </c:pt>
                <c:pt idx="748" formatCode="0.0%">
                  <c:v>0.17646123260437377</c:v>
                </c:pt>
                <c:pt idx="749" formatCode="0.0%">
                  <c:v>0.15594433399602409</c:v>
                </c:pt>
                <c:pt idx="750" formatCode="0.0%">
                  <c:v>0.15880715705765411</c:v>
                </c:pt>
                <c:pt idx="751" formatCode="0.0%">
                  <c:v>0.15880715705765411</c:v>
                </c:pt>
                <c:pt idx="752" formatCode="0.0%">
                  <c:v>0.15880715705765411</c:v>
                </c:pt>
                <c:pt idx="753" formatCode="0.0%">
                  <c:v>0.17129224652087457</c:v>
                </c:pt>
                <c:pt idx="754" formatCode="0.0%">
                  <c:v>0.17105367793240547</c:v>
                </c:pt>
                <c:pt idx="755" formatCode="0.0%">
                  <c:v>0.15713717693836984</c:v>
                </c:pt>
                <c:pt idx="756" formatCode="0.0%">
                  <c:v>0.17312127236580538</c:v>
                </c:pt>
                <c:pt idx="757" formatCode="0.0%">
                  <c:v>0.17701789264413506</c:v>
                </c:pt>
                <c:pt idx="758" formatCode="0.0%">
                  <c:v>0.17701789264413506</c:v>
                </c:pt>
                <c:pt idx="759" formatCode="0.0%">
                  <c:v>0.17701789264413506</c:v>
                </c:pt>
                <c:pt idx="760" formatCode="0.0%">
                  <c:v>0.17320079522862827</c:v>
                </c:pt>
                <c:pt idx="761" formatCode="0.0%">
                  <c:v>0.18250497017892628</c:v>
                </c:pt>
                <c:pt idx="762" formatCode="0.0%">
                  <c:v>0.17876739562624253</c:v>
                </c:pt>
                <c:pt idx="763" formatCode="0.0%">
                  <c:v>0.20405566600397607</c:v>
                </c:pt>
                <c:pt idx="764" formatCode="0.0%">
                  <c:v>0.20898608349900599</c:v>
                </c:pt>
                <c:pt idx="765" formatCode="0.0%">
                  <c:v>0.20898608349900599</c:v>
                </c:pt>
                <c:pt idx="766" formatCode="0.0%">
                  <c:v>0.20898608349900599</c:v>
                </c:pt>
                <c:pt idx="767" formatCode="0.0%">
                  <c:v>0.20652087475149103</c:v>
                </c:pt>
                <c:pt idx="768" formatCode="0.0%">
                  <c:v>0.2029423459244532</c:v>
                </c:pt>
                <c:pt idx="769" formatCode="0.0%">
                  <c:v>0.21383697813121258</c:v>
                </c:pt>
                <c:pt idx="770" formatCode="0.0%">
                  <c:v>0.21296222664015901</c:v>
                </c:pt>
                <c:pt idx="771" formatCode="0.0%">
                  <c:v>0.20103379721669981</c:v>
                </c:pt>
                <c:pt idx="772" formatCode="0.0%">
                  <c:v>0.20103379721669981</c:v>
                </c:pt>
                <c:pt idx="773" formatCode="0.0%">
                  <c:v>0.20103379721669981</c:v>
                </c:pt>
                <c:pt idx="774" formatCode="0.0%">
                  <c:v>0.21399602385685881</c:v>
                </c:pt>
                <c:pt idx="775" formatCode="0.0%">
                  <c:v>0.21335984095427449</c:v>
                </c:pt>
                <c:pt idx="776" formatCode="0.0%">
                  <c:v>0.220596421471173</c:v>
                </c:pt>
                <c:pt idx="777" formatCode="0.0%">
                  <c:v>0.2221073558648112</c:v>
                </c:pt>
                <c:pt idx="778" formatCode="0.0%">
                  <c:v>0.20906560636182903</c:v>
                </c:pt>
                <c:pt idx="779" formatCode="0.0%">
                  <c:v>0.20906560636182903</c:v>
                </c:pt>
                <c:pt idx="780" formatCode="0.0%">
                  <c:v>0.20906560636182903</c:v>
                </c:pt>
                <c:pt idx="781" formatCode="0.0%">
                  <c:v>0.21089463220675952</c:v>
                </c:pt>
                <c:pt idx="782" formatCode="0.0%">
                  <c:v>0.20087475149105358</c:v>
                </c:pt>
                <c:pt idx="783" formatCode="0.0%">
                  <c:v>0.19856858846918485</c:v>
                </c:pt>
                <c:pt idx="784" formatCode="0.0%">
                  <c:v>0.20278330019880714</c:v>
                </c:pt>
                <c:pt idx="785" formatCode="0.0%">
                  <c:v>0.19165009940357863</c:v>
                </c:pt>
                <c:pt idx="786" formatCode="0.0%">
                  <c:v>0.19165009940357863</c:v>
                </c:pt>
                <c:pt idx="787" formatCode="0.0%">
                  <c:v>0.19165009940357863</c:v>
                </c:pt>
                <c:pt idx="788" formatCode="0.0%">
                  <c:v>0.19944333996023872</c:v>
                </c:pt>
                <c:pt idx="789" formatCode="0.0%">
                  <c:v>0.19713717693836968</c:v>
                </c:pt>
                <c:pt idx="790" formatCode="0.0%">
                  <c:v>0.19419483101391635</c:v>
                </c:pt>
                <c:pt idx="791" formatCode="0.0%">
                  <c:v>0.1918091451292247</c:v>
                </c:pt>
                <c:pt idx="792" formatCode="0.0%">
                  <c:v>0.21264413518886685</c:v>
                </c:pt>
                <c:pt idx="793" formatCode="0.0%">
                  <c:v>0.21264413518886685</c:v>
                </c:pt>
                <c:pt idx="794" formatCode="0.0%">
                  <c:v>0.21264413518886685</c:v>
                </c:pt>
                <c:pt idx="795" formatCode="0.0%">
                  <c:v>0.21773359840954271</c:v>
                </c:pt>
                <c:pt idx="796" formatCode="0.0%">
                  <c:v>0.20978131212723652</c:v>
                </c:pt>
                <c:pt idx="797" formatCode="0.0%">
                  <c:v>0.2073956262425449</c:v>
                </c:pt>
                <c:pt idx="798" formatCode="0.0%">
                  <c:v>0.21526838966202774</c:v>
                </c:pt>
                <c:pt idx="799" formatCode="0.0%">
                  <c:v>0.17550695825049686</c:v>
                </c:pt>
                <c:pt idx="800" formatCode="0.0%">
                  <c:v>0.17550695825049686</c:v>
                </c:pt>
                <c:pt idx="801" formatCode="0.0%">
                  <c:v>0.17550695825049686</c:v>
                </c:pt>
                <c:pt idx="802" formatCode="0.0%">
                  <c:v>0.16461232604373749</c:v>
                </c:pt>
                <c:pt idx="803" formatCode="0.0%">
                  <c:v>0.17797216699801183</c:v>
                </c:pt>
                <c:pt idx="804" formatCode="0.0%">
                  <c:v>0.16397614314115302</c:v>
                </c:pt>
                <c:pt idx="805" formatCode="0.0%">
                  <c:v>0.18067594433399606</c:v>
                </c:pt>
                <c:pt idx="806" formatCode="0.0%">
                  <c:v>0.16803180914512922</c:v>
                </c:pt>
                <c:pt idx="807" formatCode="0.0%">
                  <c:v>0.16803180914512922</c:v>
                </c:pt>
                <c:pt idx="808" formatCode="0.0%">
                  <c:v>0.16803180914512922</c:v>
                </c:pt>
                <c:pt idx="809" formatCode="0.0%">
                  <c:v>0.17089463220675952</c:v>
                </c:pt>
                <c:pt idx="810" formatCode="0.0%">
                  <c:v>0.17510934393638181</c:v>
                </c:pt>
                <c:pt idx="811" formatCode="0.0%">
                  <c:v>0.18178926441351906</c:v>
                </c:pt>
                <c:pt idx="812" formatCode="0.0%">
                  <c:v>0.17439363817097431</c:v>
                </c:pt>
                <c:pt idx="813" formatCode="0.0%">
                  <c:v>0.16683896620278318</c:v>
                </c:pt>
                <c:pt idx="814" formatCode="0.0%">
                  <c:v>0.16683896620278318</c:v>
                </c:pt>
                <c:pt idx="815" formatCode="0.0%">
                  <c:v>0.16683896620278318</c:v>
                </c:pt>
                <c:pt idx="816" formatCode="0.0%">
                  <c:v>0.17646123260437377</c:v>
                </c:pt>
                <c:pt idx="817" formatCode="0.0%">
                  <c:v>0.16803180914512922</c:v>
                </c:pt>
                <c:pt idx="818" formatCode="0.0%">
                  <c:v>0.18075546719681895</c:v>
                </c:pt>
                <c:pt idx="819" formatCode="0.0%">
                  <c:v>0.18934393638170974</c:v>
                </c:pt>
                <c:pt idx="820" formatCode="0.0%">
                  <c:v>0.20564612326043744</c:v>
                </c:pt>
                <c:pt idx="821" formatCode="0.0%">
                  <c:v>0.20564612326043744</c:v>
                </c:pt>
                <c:pt idx="822" formatCode="0.0%">
                  <c:v>0.20564612326043744</c:v>
                </c:pt>
                <c:pt idx="823" formatCode="0.0%">
                  <c:v>0.19602385685884699</c:v>
                </c:pt>
                <c:pt idx="824" formatCode="0.0%">
                  <c:v>0.19141153081510923</c:v>
                </c:pt>
                <c:pt idx="825" formatCode="0.0%">
                  <c:v>0.18393638170974141</c:v>
                </c:pt>
                <c:pt idx="826" formatCode="0.0%">
                  <c:v>0.18393638170974141</c:v>
                </c:pt>
                <c:pt idx="827" formatCode="0.0%">
                  <c:v>0.18393638170974141</c:v>
                </c:pt>
                <c:pt idx="828" formatCode="0.0%">
                  <c:v>0.18393638170974141</c:v>
                </c:pt>
                <c:pt idx="829" formatCode="0.0%">
                  <c:v>0.18393638170974141</c:v>
                </c:pt>
                <c:pt idx="830" formatCode="0.0%">
                  <c:v>0.18393638170974141</c:v>
                </c:pt>
                <c:pt idx="831" formatCode="0.0%">
                  <c:v>0.19292246520874726</c:v>
                </c:pt>
                <c:pt idx="832" formatCode="0.0%">
                  <c:v>0.19459244532803183</c:v>
                </c:pt>
                <c:pt idx="833" formatCode="0.0%">
                  <c:v>0.1940357852882704</c:v>
                </c:pt>
                <c:pt idx="834" formatCode="0.0%">
                  <c:v>0.20063618290258448</c:v>
                </c:pt>
                <c:pt idx="835" formatCode="0.0%">
                  <c:v>0.20063618290258448</c:v>
                </c:pt>
                <c:pt idx="836" formatCode="0.0%">
                  <c:v>0.20063618290258448</c:v>
                </c:pt>
                <c:pt idx="837" formatCode="0.0%">
                  <c:v>0.20500994035785297</c:v>
                </c:pt>
                <c:pt idx="838" formatCode="0.0%">
                  <c:v>0.20771371769383706</c:v>
                </c:pt>
                <c:pt idx="839" formatCode="0.0%">
                  <c:v>0.20516898608349904</c:v>
                </c:pt>
                <c:pt idx="840" formatCode="0.0%">
                  <c:v>0.20691848906560636</c:v>
                </c:pt>
                <c:pt idx="841" formatCode="0.0%">
                  <c:v>0.2069980119284294</c:v>
                </c:pt>
                <c:pt idx="842" formatCode="0.0%">
                  <c:v>0.2069980119284294</c:v>
                </c:pt>
                <c:pt idx="843" formatCode="0.0%">
                  <c:v>0.2069980119284294</c:v>
                </c:pt>
                <c:pt idx="844" formatCode="0.0%">
                  <c:v>0.2067594433399603</c:v>
                </c:pt>
                <c:pt idx="845" formatCode="0.0%">
                  <c:v>0.19880715705765412</c:v>
                </c:pt>
                <c:pt idx="846" formatCode="0.0%">
                  <c:v>0.18155069582504993</c:v>
                </c:pt>
                <c:pt idx="847" formatCode="0.0%">
                  <c:v>0.17638170974155074</c:v>
                </c:pt>
                <c:pt idx="848" formatCode="0.0%">
                  <c:v>0.1914910536779324</c:v>
                </c:pt>
                <c:pt idx="849" formatCode="0.0%">
                  <c:v>0.1914910536779324</c:v>
                </c:pt>
                <c:pt idx="850" formatCode="0.0%">
                  <c:v>0.19570576540755469</c:v>
                </c:pt>
                <c:pt idx="851" formatCode="0.0%">
                  <c:v>0.2054870775347912</c:v>
                </c:pt>
                <c:pt idx="852" formatCode="0.0%">
                  <c:v>0.18679920477137174</c:v>
                </c:pt>
                <c:pt idx="853" formatCode="0.0%">
                  <c:v>0.19602385685884699</c:v>
                </c:pt>
                <c:pt idx="854" formatCode="0.0%">
                  <c:v>0.18306163021868799</c:v>
                </c:pt>
                <c:pt idx="855" formatCode="0.0%">
                  <c:v>0.18306163021868799</c:v>
                </c:pt>
                <c:pt idx="856" formatCode="0.0%">
                  <c:v>0.18306163021868799</c:v>
                </c:pt>
                <c:pt idx="857" formatCode="0.0%">
                  <c:v>0.18306163021868799</c:v>
                </c:pt>
                <c:pt idx="858" formatCode="0.0%">
                  <c:v>0.19355864811133203</c:v>
                </c:pt>
                <c:pt idx="859" formatCode="0.0%">
                  <c:v>0.18990059642147103</c:v>
                </c:pt>
                <c:pt idx="860" formatCode="0.0%">
                  <c:v>0.19316103379721666</c:v>
                </c:pt>
                <c:pt idx="861" formatCode="0.0%">
                  <c:v>0.20031809145129231</c:v>
                </c:pt>
                <c:pt idx="862" formatCode="0.0%">
                  <c:v>0.2047713717693837</c:v>
                </c:pt>
                <c:pt idx="863" formatCode="0.0%">
                  <c:v>0.2047713717693837</c:v>
                </c:pt>
                <c:pt idx="864" formatCode="0.0%">
                  <c:v>0.2047713717693837</c:v>
                </c:pt>
                <c:pt idx="865" formatCode="0.0%">
                  <c:v>0.20636182902584493</c:v>
                </c:pt>
                <c:pt idx="866" formatCode="0.0%">
                  <c:v>0.20230616302186874</c:v>
                </c:pt>
                <c:pt idx="867" formatCode="0.0%">
                  <c:v>0.205328031809145</c:v>
                </c:pt>
                <c:pt idx="868" formatCode="0.0%">
                  <c:v>0.205328031809145</c:v>
                </c:pt>
                <c:pt idx="869" formatCode="0.0%">
                  <c:v>0.205328031809145</c:v>
                </c:pt>
                <c:pt idx="870" formatCode="0.0%">
                  <c:v>0.205328031809145</c:v>
                </c:pt>
                <c:pt idx="871" formatCode="0.0%">
                  <c:v>0.205328031809145</c:v>
                </c:pt>
                <c:pt idx="872" formatCode="0.0%">
                  <c:v>0.22640159045725652</c:v>
                </c:pt>
                <c:pt idx="873" formatCode="0.0%">
                  <c:v>0.2203578528827039</c:v>
                </c:pt>
                <c:pt idx="874" formatCode="0.0%">
                  <c:v>0.19085487077534793</c:v>
                </c:pt>
                <c:pt idx="875" formatCode="0.0%">
                  <c:v>0.20087475149105358</c:v>
                </c:pt>
                <c:pt idx="876" formatCode="0.0%">
                  <c:v>0.2201192842942345</c:v>
                </c:pt>
                <c:pt idx="877" formatCode="0.0%">
                  <c:v>0.2201192842942345</c:v>
                </c:pt>
                <c:pt idx="878" formatCode="0.0%">
                  <c:v>0.2201192842942345</c:v>
                </c:pt>
                <c:pt idx="879" formatCode="0.0%">
                  <c:v>0.2201192842942345</c:v>
                </c:pt>
                <c:pt idx="880" formatCode="0.0%">
                  <c:v>0.21161033797216716</c:v>
                </c:pt>
                <c:pt idx="881" formatCode="0.0%">
                  <c:v>0.20620278330019887</c:v>
                </c:pt>
                <c:pt idx="882" formatCode="0.0%">
                  <c:v>0.20938369781312133</c:v>
                </c:pt>
                <c:pt idx="883" formatCode="0.0%">
                  <c:v>0.22950298210735595</c:v>
                </c:pt>
                <c:pt idx="884" formatCode="0.0%">
                  <c:v>0.22950298210735595</c:v>
                </c:pt>
                <c:pt idx="885" formatCode="0.0%">
                  <c:v>0.22950298210735595</c:v>
                </c:pt>
                <c:pt idx="886" formatCode="0.0%">
                  <c:v>0.22950298210735595</c:v>
                </c:pt>
                <c:pt idx="887" formatCode="0.0%">
                  <c:v>0.2355467196819086</c:v>
                </c:pt>
                <c:pt idx="888" formatCode="0.0%">
                  <c:v>0.22902584493041772</c:v>
                </c:pt>
                <c:pt idx="889" formatCode="0.0%">
                  <c:v>0.22353876739562636</c:v>
                </c:pt>
                <c:pt idx="890" formatCode="0.0%">
                  <c:v>0.22671968190854869</c:v>
                </c:pt>
                <c:pt idx="891" formatCode="0.0%">
                  <c:v>0.22671968190854869</c:v>
                </c:pt>
                <c:pt idx="892" formatCode="0.0%">
                  <c:v>0.22671968190854869</c:v>
                </c:pt>
                <c:pt idx="893" formatCode="0.0%">
                  <c:v>0.23029821073558665</c:v>
                </c:pt>
                <c:pt idx="894" formatCode="0.0%">
                  <c:v>0.24135188866799198</c:v>
                </c:pt>
                <c:pt idx="895" formatCode="0.0%">
                  <c:v>0.24477137176938385</c:v>
                </c:pt>
                <c:pt idx="896" formatCode="0.0%">
                  <c:v>0.23777335984095443</c:v>
                </c:pt>
                <c:pt idx="897" formatCode="0.0%">
                  <c:v>0.24723658051689854</c:v>
                </c:pt>
                <c:pt idx="898" formatCode="0.0%">
                  <c:v>0.24723658051689854</c:v>
                </c:pt>
                <c:pt idx="899" formatCode="0.0%">
                  <c:v>0.24723658051689854</c:v>
                </c:pt>
                <c:pt idx="900" formatCode="0.0%">
                  <c:v>0.23188866799204774</c:v>
                </c:pt>
                <c:pt idx="901" formatCode="0.0%">
                  <c:v>0.22504970178926456</c:v>
                </c:pt>
                <c:pt idx="902" formatCode="0.0%">
                  <c:v>0.22163021868787269</c:v>
                </c:pt>
                <c:pt idx="903" formatCode="0.0%">
                  <c:v>0.21964214711729624</c:v>
                </c:pt>
                <c:pt idx="904" formatCode="0.0%">
                  <c:v>0.22314115308151103</c:v>
                </c:pt>
                <c:pt idx="905" formatCode="0.0%">
                  <c:v>0.22314115308151103</c:v>
                </c:pt>
                <c:pt idx="906" formatCode="0.0%">
                  <c:v>0.22314115308151103</c:v>
                </c:pt>
                <c:pt idx="907" formatCode="0.0%">
                  <c:v>0.22544731610337962</c:v>
                </c:pt>
                <c:pt idx="908" formatCode="0.0%">
                  <c:v>0.21972166998011913</c:v>
                </c:pt>
                <c:pt idx="909" formatCode="0.0%">
                  <c:v>0.23530815109343933</c:v>
                </c:pt>
                <c:pt idx="910" formatCode="0.0%">
                  <c:v>0.23928429423459249</c:v>
                </c:pt>
                <c:pt idx="911" formatCode="0.0%">
                  <c:v>0.25821073558648111</c:v>
                </c:pt>
                <c:pt idx="912" formatCode="0.0%">
                  <c:v>0.25821073558648111</c:v>
                </c:pt>
                <c:pt idx="913" formatCode="0.0%">
                  <c:v>0.25821073558648111</c:v>
                </c:pt>
                <c:pt idx="914" formatCode="0.0%">
                  <c:v>0.25407554671968186</c:v>
                </c:pt>
                <c:pt idx="915" formatCode="0.0%">
                  <c:v>0.25550695825049702</c:v>
                </c:pt>
                <c:pt idx="916" formatCode="0.0%">
                  <c:v>0.25097415506958254</c:v>
                </c:pt>
                <c:pt idx="917" formatCode="0.0%">
                  <c:v>0.23284294234592437</c:v>
                </c:pt>
                <c:pt idx="918" formatCode="0.0%">
                  <c:v>0.22656063618290262</c:v>
                </c:pt>
                <c:pt idx="919" formatCode="0.0%">
                  <c:v>0.22656063618290262</c:v>
                </c:pt>
                <c:pt idx="920" formatCode="0.0%">
                  <c:v>0.22656063618290262</c:v>
                </c:pt>
                <c:pt idx="921" formatCode="0.0%">
                  <c:v>0.22743538767395635</c:v>
                </c:pt>
                <c:pt idx="922" formatCode="0.0%">
                  <c:v>0.23260437375745524</c:v>
                </c:pt>
                <c:pt idx="923" formatCode="0.0%">
                  <c:v>0.24166998011928414</c:v>
                </c:pt>
                <c:pt idx="924" formatCode="0.0%">
                  <c:v>0.23848906560636179</c:v>
                </c:pt>
                <c:pt idx="925" formatCode="0.0%">
                  <c:v>0.23681908548707753</c:v>
                </c:pt>
                <c:pt idx="926" formatCode="0.0%">
                  <c:v>0.23681908548707753</c:v>
                </c:pt>
                <c:pt idx="927" formatCode="0.0%">
                  <c:v>0.23681908548707753</c:v>
                </c:pt>
                <c:pt idx="928" formatCode="0.0%">
                  <c:v>0.23864811133200775</c:v>
                </c:pt>
                <c:pt idx="929" formatCode="0.0%">
                  <c:v>0.24103379721669982</c:v>
                </c:pt>
                <c:pt idx="930" formatCode="0.0%">
                  <c:v>0.25137176938369793</c:v>
                </c:pt>
                <c:pt idx="931" formatCode="0.0%">
                  <c:v>0.25049701789264417</c:v>
                </c:pt>
                <c:pt idx="932" formatCode="0.0%">
                  <c:v>0.25574552683896612</c:v>
                </c:pt>
                <c:pt idx="933" formatCode="0.0%">
                  <c:v>0.25574552683896612</c:v>
                </c:pt>
                <c:pt idx="934" formatCode="0.0%">
                  <c:v>0.25574552683896612</c:v>
                </c:pt>
                <c:pt idx="935" formatCode="0.0%">
                  <c:v>0.25916500994035802</c:v>
                </c:pt>
                <c:pt idx="936" formatCode="0.0%">
                  <c:v>0.26958250497017899</c:v>
                </c:pt>
                <c:pt idx="937" formatCode="0.0%">
                  <c:v>0.25908548707753498</c:v>
                </c:pt>
                <c:pt idx="938" formatCode="0.0%">
                  <c:v>0.27546719681908544</c:v>
                </c:pt>
                <c:pt idx="939" formatCode="0.0%">
                  <c:v>0.26560636182902586</c:v>
                </c:pt>
                <c:pt idx="940" formatCode="0.0%">
                  <c:v>0.26560636182902586</c:v>
                </c:pt>
                <c:pt idx="941" formatCode="0.0%">
                  <c:v>0.26560636182902586</c:v>
                </c:pt>
                <c:pt idx="942" formatCode="0.0%">
                  <c:v>0.26489065606361833</c:v>
                </c:pt>
                <c:pt idx="943" formatCode="0.0%">
                  <c:v>0.26298210735586464</c:v>
                </c:pt>
                <c:pt idx="944" formatCode="0.0%">
                  <c:v>0.25272365805168989</c:v>
                </c:pt>
                <c:pt idx="945" formatCode="0.0%">
                  <c:v>0.24031809145129229</c:v>
                </c:pt>
                <c:pt idx="946" formatCode="0.0%">
                  <c:v>0.23960238568588466</c:v>
                </c:pt>
                <c:pt idx="947" formatCode="0.0%">
                  <c:v>0.23960238568588466</c:v>
                </c:pt>
                <c:pt idx="948" formatCode="0.0%">
                  <c:v>0.23960238568588466</c:v>
                </c:pt>
                <c:pt idx="949" formatCode="0.0%">
                  <c:v>0.24437375745526821</c:v>
                </c:pt>
                <c:pt idx="950" formatCode="0.0%">
                  <c:v>0.23530815109343933</c:v>
                </c:pt>
                <c:pt idx="951" formatCode="0.0%">
                  <c:v>0.23928429423459249</c:v>
                </c:pt>
                <c:pt idx="952" formatCode="0.0%">
                  <c:v>0.24707753479125244</c:v>
                </c:pt>
                <c:pt idx="953" formatCode="0.0%">
                  <c:v>0.23316103379721681</c:v>
                </c:pt>
                <c:pt idx="954" formatCode="0.0%">
                  <c:v>0.23316103379721681</c:v>
                </c:pt>
                <c:pt idx="955" formatCode="0.0%">
                  <c:v>0.23316103379721681</c:v>
                </c:pt>
                <c:pt idx="956" formatCode="0.0%">
                  <c:v>0.24222664015904585</c:v>
                </c:pt>
                <c:pt idx="957" formatCode="0.0%">
                  <c:v>0.22767395626242545</c:v>
                </c:pt>
                <c:pt idx="958" formatCode="0.0%">
                  <c:v>0.22934393638170975</c:v>
                </c:pt>
                <c:pt idx="959" formatCode="0.0%">
                  <c:v>0.22019880715705753</c:v>
                </c:pt>
                <c:pt idx="960" formatCode="0.0%">
                  <c:v>0.21049701789264419</c:v>
                </c:pt>
                <c:pt idx="961" formatCode="0.0%">
                  <c:v>0.21049701789264419</c:v>
                </c:pt>
                <c:pt idx="962" formatCode="0.0%">
                  <c:v>0.21049701789264419</c:v>
                </c:pt>
                <c:pt idx="963" formatCode="0.0%">
                  <c:v>0.21097415506958256</c:v>
                </c:pt>
                <c:pt idx="964" formatCode="0.0%">
                  <c:v>0.21940357852882714</c:v>
                </c:pt>
                <c:pt idx="965" formatCode="0.0%">
                  <c:v>0.22815109343936385</c:v>
                </c:pt>
                <c:pt idx="966" formatCode="0.0%">
                  <c:v>0.22854870775347919</c:v>
                </c:pt>
                <c:pt idx="967" formatCode="0.0%">
                  <c:v>0.22489065606361833</c:v>
                </c:pt>
                <c:pt idx="968" formatCode="0.0%">
                  <c:v>0.22489065606361833</c:v>
                </c:pt>
                <c:pt idx="969" formatCode="0.0%">
                  <c:v>0.22489065606361833</c:v>
                </c:pt>
                <c:pt idx="970" formatCode="0.0%">
                  <c:v>0.24071570576540766</c:v>
                </c:pt>
                <c:pt idx="971" formatCode="0.0%">
                  <c:v>0.24755467196819098</c:v>
                </c:pt>
                <c:pt idx="972" formatCode="0.0%">
                  <c:v>0.2508946322067595</c:v>
                </c:pt>
                <c:pt idx="973" formatCode="0.0%">
                  <c:v>0.25383697813121259</c:v>
                </c:pt>
                <c:pt idx="974" formatCode="0.0%">
                  <c:v>0.26147117296222661</c:v>
                </c:pt>
                <c:pt idx="975" formatCode="0.0%">
                  <c:v>0.26147117296222661</c:v>
                </c:pt>
                <c:pt idx="976" formatCode="0.0%">
                  <c:v>0.26147117296222661</c:v>
                </c:pt>
                <c:pt idx="977" formatCode="0.0%">
                  <c:v>0.26170974155069571</c:v>
                </c:pt>
                <c:pt idx="978" formatCode="0.0%">
                  <c:v>0.26433399602385693</c:v>
                </c:pt>
                <c:pt idx="979" formatCode="0.0%">
                  <c:v>0.25526838966202775</c:v>
                </c:pt>
                <c:pt idx="980" formatCode="0.0%">
                  <c:v>0.25192842942345933</c:v>
                </c:pt>
                <c:pt idx="981" formatCode="0.0%">
                  <c:v>0.25161033797216675</c:v>
                </c:pt>
                <c:pt idx="982" formatCode="0.0%">
                  <c:v>0.25161033797216675</c:v>
                </c:pt>
                <c:pt idx="983" formatCode="0.0%">
                  <c:v>0.25161033797216675</c:v>
                </c:pt>
                <c:pt idx="984" formatCode="0.0%">
                  <c:v>0.24898608349900614</c:v>
                </c:pt>
                <c:pt idx="985" formatCode="0.0%">
                  <c:v>0.2504174950298213</c:v>
                </c:pt>
                <c:pt idx="986" formatCode="0.0%">
                  <c:v>0.2497017892644135</c:v>
                </c:pt>
                <c:pt idx="987" formatCode="0.0%">
                  <c:v>0.26083499005964228</c:v>
                </c:pt>
                <c:pt idx="988" formatCode="0.0%">
                  <c:v>0.25964214711729627</c:v>
                </c:pt>
                <c:pt idx="989" formatCode="0.0%">
                  <c:v>0.25964214711729627</c:v>
                </c:pt>
                <c:pt idx="990" formatCode="0.0%">
                  <c:v>0.25964214711729627</c:v>
                </c:pt>
                <c:pt idx="991" formatCode="0.0%">
                  <c:v>0.24771371769383704</c:v>
                </c:pt>
                <c:pt idx="992" formatCode="0.0%">
                  <c:v>0.23745526838966227</c:v>
                </c:pt>
                <c:pt idx="993" formatCode="0.0%">
                  <c:v>0.24683896620278317</c:v>
                </c:pt>
                <c:pt idx="994" formatCode="0.0%">
                  <c:v>0.22640159045725652</c:v>
                </c:pt>
                <c:pt idx="995" formatCode="0.0%">
                  <c:v>0.22330019880715724</c:v>
                </c:pt>
                <c:pt idx="996" formatCode="0.0%">
                  <c:v>0.22330019880715724</c:v>
                </c:pt>
                <c:pt idx="997" formatCode="0.0%">
                  <c:v>0.22330019880715724</c:v>
                </c:pt>
                <c:pt idx="998" formatCode="0.0%">
                  <c:v>0.21876739562624237</c:v>
                </c:pt>
                <c:pt idx="999" formatCode="0.0%">
                  <c:v>0.21495029821073558</c:v>
                </c:pt>
                <c:pt idx="1000" formatCode="0.0%">
                  <c:v>0.21375745526838968</c:v>
                </c:pt>
                <c:pt idx="1001" formatCode="0.0%">
                  <c:v>0.2195626242544732</c:v>
                </c:pt>
                <c:pt idx="1002" formatCode="0.0%">
                  <c:v>0.22640159045725652</c:v>
                </c:pt>
                <c:pt idx="1003" formatCode="0.0%">
                  <c:v>0.21868787276341933</c:v>
                </c:pt>
                <c:pt idx="1004" formatCode="0.0%">
                  <c:v>0.21868787276341933</c:v>
                </c:pt>
                <c:pt idx="1005" formatCode="0.0%">
                  <c:v>0.21622266401590465</c:v>
                </c:pt>
                <c:pt idx="1006" formatCode="0.0%">
                  <c:v>0.21017892644135189</c:v>
                </c:pt>
                <c:pt idx="1007" formatCode="0.0%">
                  <c:v>0.20588469184890643</c:v>
                </c:pt>
                <c:pt idx="1008" formatCode="0.0%">
                  <c:v>0.20660039761431406</c:v>
                </c:pt>
                <c:pt idx="1009" formatCode="0.0%">
                  <c:v>0.21145129224652082</c:v>
                </c:pt>
                <c:pt idx="1010" formatCode="0.0%">
                  <c:v>0.21145129224652082</c:v>
                </c:pt>
                <c:pt idx="1011" formatCode="0.0%">
                  <c:v>0.21145129224652082</c:v>
                </c:pt>
                <c:pt idx="1012" formatCode="0.0%">
                  <c:v>0.21335984095427449</c:v>
                </c:pt>
                <c:pt idx="1013" formatCode="0.0%">
                  <c:v>0.23252485089463221</c:v>
                </c:pt>
                <c:pt idx="1014" formatCode="0.0%">
                  <c:v>0.22854870775347919</c:v>
                </c:pt>
                <c:pt idx="1015" formatCode="0.0%">
                  <c:v>0.2363419483101393</c:v>
                </c:pt>
                <c:pt idx="1016" formatCode="0.0%">
                  <c:v>0.22369781312127229</c:v>
                </c:pt>
                <c:pt idx="1017" formatCode="0.0%">
                  <c:v>0.22369781312127229</c:v>
                </c:pt>
                <c:pt idx="1018" formatCode="0.0%">
                  <c:v>0.22369781312127229</c:v>
                </c:pt>
                <c:pt idx="1019" formatCode="0.0%">
                  <c:v>0.22998011928429407</c:v>
                </c:pt>
                <c:pt idx="1020" formatCode="0.0%">
                  <c:v>0.21741550695825068</c:v>
                </c:pt>
                <c:pt idx="1021" formatCode="0.0%">
                  <c:v>0.20564612326043744</c:v>
                </c:pt>
                <c:pt idx="1022" formatCode="0.0%">
                  <c:v>0.19300198807157073</c:v>
                </c:pt>
                <c:pt idx="1023" formatCode="0.0%">
                  <c:v>0.17439363817097431</c:v>
                </c:pt>
                <c:pt idx="1024" formatCode="0.0%">
                  <c:v>0.17439363817097431</c:v>
                </c:pt>
                <c:pt idx="1025" formatCode="0.0%">
                  <c:v>0.17439363817097431</c:v>
                </c:pt>
                <c:pt idx="1026" formatCode="0.0%">
                  <c:v>0.16906560636182902</c:v>
                </c:pt>
                <c:pt idx="1027" formatCode="0.0%">
                  <c:v>0.17487077534791268</c:v>
                </c:pt>
                <c:pt idx="1028" formatCode="0.0%">
                  <c:v>0.16842942345924455</c:v>
                </c:pt>
                <c:pt idx="1029" formatCode="0.0%">
                  <c:v>0.16715705765407576</c:v>
                </c:pt>
                <c:pt idx="1030" formatCode="0.0%">
                  <c:v>0.15483101391650095</c:v>
                </c:pt>
                <c:pt idx="1031" formatCode="0.0%">
                  <c:v>0.15483101391650095</c:v>
                </c:pt>
                <c:pt idx="1032" formatCode="0.0%">
                  <c:v>0.15483101391650095</c:v>
                </c:pt>
                <c:pt idx="1033" formatCode="0.0%">
                  <c:v>0.15475149105367805</c:v>
                </c:pt>
                <c:pt idx="1034" formatCode="0.0%">
                  <c:v>0.17351888667992044</c:v>
                </c:pt>
                <c:pt idx="1035" formatCode="0.0%">
                  <c:v>0.18019880715705766</c:v>
                </c:pt>
                <c:pt idx="1036" formatCode="0.0%">
                  <c:v>0.18918489065606367</c:v>
                </c:pt>
                <c:pt idx="1037" formatCode="0.0%">
                  <c:v>0.19753479125248519</c:v>
                </c:pt>
                <c:pt idx="1038" formatCode="0.0%">
                  <c:v>0.19753479125248519</c:v>
                </c:pt>
                <c:pt idx="1039" formatCode="0.0%">
                  <c:v>0.19753479125248519</c:v>
                </c:pt>
                <c:pt idx="1040" formatCode="0.0%">
                  <c:v>0.19324055666003986</c:v>
                </c:pt>
                <c:pt idx="1041" formatCode="0.0%">
                  <c:v>0.20079522862823068</c:v>
                </c:pt>
                <c:pt idx="1042" formatCode="0.0%">
                  <c:v>0.20079522862823068</c:v>
                </c:pt>
                <c:pt idx="1043" formatCode="0.0%">
                  <c:v>0.2047713717693837</c:v>
                </c:pt>
                <c:pt idx="1044" formatCode="0.0%">
                  <c:v>0.20087475149105358</c:v>
                </c:pt>
                <c:pt idx="1045" formatCode="0.0%">
                  <c:v>0.20087475149105358</c:v>
                </c:pt>
                <c:pt idx="1046" formatCode="0.0%">
                  <c:v>0.20087475149105358</c:v>
                </c:pt>
                <c:pt idx="1047" formatCode="0.0%">
                  <c:v>0.20866799204771369</c:v>
                </c:pt>
                <c:pt idx="1048" formatCode="0.0%">
                  <c:v>0.22441351888667982</c:v>
                </c:pt>
                <c:pt idx="1049" formatCode="0.0%">
                  <c:v>0.22608349900596436</c:v>
                </c:pt>
                <c:pt idx="1050" formatCode="0.0%">
                  <c:v>0.21940357852882714</c:v>
                </c:pt>
                <c:pt idx="1051" formatCode="0.0%">
                  <c:v>0.21988071570576537</c:v>
                </c:pt>
                <c:pt idx="1052" formatCode="0.0%">
                  <c:v>0.21988071570576537</c:v>
                </c:pt>
                <c:pt idx="1053" formatCode="0.0%">
                  <c:v>0.21988071570576537</c:v>
                </c:pt>
                <c:pt idx="1054" formatCode="0.0%">
                  <c:v>0.21662027833002001</c:v>
                </c:pt>
                <c:pt idx="1055" formatCode="0.0%">
                  <c:v>0.22337972166998013</c:v>
                </c:pt>
                <c:pt idx="1056" formatCode="0.0%">
                  <c:v>0.23976143141153089</c:v>
                </c:pt>
                <c:pt idx="1057" formatCode="0.0%">
                  <c:v>0.23514910536779327</c:v>
                </c:pt>
                <c:pt idx="1058" formatCode="0.0%">
                  <c:v>0.23681908548707753</c:v>
                </c:pt>
                <c:pt idx="1059" formatCode="0.0%">
                  <c:v>0.23681908548707753</c:v>
                </c:pt>
                <c:pt idx="1060" formatCode="0.0%">
                  <c:v>0.23681908548707753</c:v>
                </c:pt>
                <c:pt idx="1061" formatCode="0.0%">
                  <c:v>0.2363419483101393</c:v>
                </c:pt>
                <c:pt idx="1062" formatCode="0.0%">
                  <c:v>0.23069582504970171</c:v>
                </c:pt>
                <c:pt idx="1063" formatCode="0.0%">
                  <c:v>0.23729622266401576</c:v>
                </c:pt>
                <c:pt idx="1064" formatCode="0.0%">
                  <c:v>0.24477137176938385</c:v>
                </c:pt>
                <c:pt idx="1065" formatCode="0.0%">
                  <c:v>0.25168986083499006</c:v>
                </c:pt>
                <c:pt idx="1066" formatCode="0.0%">
                  <c:v>0.25168986083499006</c:v>
                </c:pt>
                <c:pt idx="1067" formatCode="0.0%">
                  <c:v>0.25168986083499006</c:v>
                </c:pt>
                <c:pt idx="1068" formatCode="0.0%">
                  <c:v>0.24842942345924457</c:v>
                </c:pt>
                <c:pt idx="1069" formatCode="0.0%">
                  <c:v>0.24477137176938385</c:v>
                </c:pt>
                <c:pt idx="1070" formatCode="0.0%">
                  <c:v>0.2533598409542745</c:v>
                </c:pt>
                <c:pt idx="1071" formatCode="0.0%">
                  <c:v>0.25033797216699782</c:v>
                </c:pt>
                <c:pt idx="1072" formatCode="0.0%">
                  <c:v>0.25296222664015899</c:v>
                </c:pt>
                <c:pt idx="1073" formatCode="0.0%">
                  <c:v>0.25296222664015899</c:v>
                </c:pt>
                <c:pt idx="1074" formatCode="0.0%">
                  <c:v>0.25296222664015899</c:v>
                </c:pt>
                <c:pt idx="1075" formatCode="0.0%">
                  <c:v>0.26679920477137187</c:v>
                </c:pt>
                <c:pt idx="1076" formatCode="0.0%">
                  <c:v>0.27284294234592438</c:v>
                </c:pt>
                <c:pt idx="1077" formatCode="0.0%">
                  <c:v>0.27634194831013931</c:v>
                </c:pt>
                <c:pt idx="1078" formatCode="0.0%">
                  <c:v>0.2786481113320079</c:v>
                </c:pt>
                <c:pt idx="1079" formatCode="0.0%">
                  <c:v>0.28413518886679923</c:v>
                </c:pt>
                <c:pt idx="1080" formatCode="0.0%">
                  <c:v>0.28413518886679923</c:v>
                </c:pt>
                <c:pt idx="1081" formatCode="0.0%">
                  <c:v>0.28413518886679923</c:v>
                </c:pt>
                <c:pt idx="1082" formatCode="0.0%">
                  <c:v>0.27793240556660037</c:v>
                </c:pt>
                <c:pt idx="1083" formatCode="0.0%">
                  <c:v>0.28182902584493036</c:v>
                </c:pt>
                <c:pt idx="1084" formatCode="0.0%">
                  <c:v>0.28540755467196816</c:v>
                </c:pt>
                <c:pt idx="1085" formatCode="0.0%">
                  <c:v>0.28151093439363817</c:v>
                </c:pt>
                <c:pt idx="1086" formatCode="0.0%">
                  <c:v>0.28803180914512921</c:v>
                </c:pt>
                <c:pt idx="1087" formatCode="0.0%">
                  <c:v>0.28803180914512921</c:v>
                </c:pt>
                <c:pt idx="1088" formatCode="0.0%">
                  <c:v>0.28803180914512921</c:v>
                </c:pt>
                <c:pt idx="1089" formatCode="0.0%">
                  <c:v>0.28803180914512921</c:v>
                </c:pt>
                <c:pt idx="1090" formatCode="0.0%">
                  <c:v>0.28803180914512921</c:v>
                </c:pt>
                <c:pt idx="1091" formatCode="0.0%">
                  <c:v>0.28190854870775328</c:v>
                </c:pt>
                <c:pt idx="1092" formatCode="0.0%">
                  <c:v>0.28644135188866815</c:v>
                </c:pt>
                <c:pt idx="1093" formatCode="0.0%">
                  <c:v>0.290417495029821</c:v>
                </c:pt>
                <c:pt idx="1094" formatCode="0.0%">
                  <c:v>0.290417495029821</c:v>
                </c:pt>
                <c:pt idx="1095" formatCode="0.0%">
                  <c:v>0.28970178926441348</c:v>
                </c:pt>
                <c:pt idx="1096" formatCode="0.0%">
                  <c:v>0.28970178926441348</c:v>
                </c:pt>
                <c:pt idx="1097" formatCode="0.0%">
                  <c:v>0.28747514910536781</c:v>
                </c:pt>
                <c:pt idx="1098" formatCode="0.0%">
                  <c:v>0.27586481113320077</c:v>
                </c:pt>
                <c:pt idx="1099" formatCode="0.0%">
                  <c:v>0.27316103379721651</c:v>
                </c:pt>
                <c:pt idx="1100" formatCode="0.0%">
                  <c:v>0.26838966202783299</c:v>
                </c:pt>
                <c:pt idx="1101" formatCode="0.0%">
                  <c:v>0.26838966202783299</c:v>
                </c:pt>
                <c:pt idx="1102" formatCode="0.0%">
                  <c:v>0.26838966202783299</c:v>
                </c:pt>
                <c:pt idx="1103" formatCode="0.0%">
                  <c:v>0.27133200795228629</c:v>
                </c:pt>
                <c:pt idx="1104" formatCode="0.0%">
                  <c:v>0.28238568588469176</c:v>
                </c:pt>
                <c:pt idx="1105" formatCode="0.0%">
                  <c:v>0.27705765407554678</c:v>
                </c:pt>
                <c:pt idx="1106" formatCode="0.0%">
                  <c:v>0.28246520874751496</c:v>
                </c:pt>
                <c:pt idx="1107" formatCode="0.0%">
                  <c:v>0.29097415506958269</c:v>
                </c:pt>
                <c:pt idx="1108" formatCode="0.0%">
                  <c:v>0.29097415506958269</c:v>
                </c:pt>
                <c:pt idx="1109" formatCode="0.0%">
                  <c:v>0.29097415506958269</c:v>
                </c:pt>
                <c:pt idx="1110" formatCode="0.0%">
                  <c:v>0.29065606361829055</c:v>
                </c:pt>
                <c:pt idx="1111" formatCode="0.0%">
                  <c:v>0.29566600397614307</c:v>
                </c:pt>
                <c:pt idx="1112" formatCode="0.0%">
                  <c:v>0.28397614314115316</c:v>
                </c:pt>
                <c:pt idx="1113" formatCode="0.0%">
                  <c:v>0.28986083499005955</c:v>
                </c:pt>
                <c:pt idx="1114" formatCode="0.0%">
                  <c:v>0.29622266401590452</c:v>
                </c:pt>
                <c:pt idx="1115" formatCode="0.0%">
                  <c:v>0.29622266401590452</c:v>
                </c:pt>
                <c:pt idx="1116" formatCode="0.0%">
                  <c:v>0.29622266401590452</c:v>
                </c:pt>
                <c:pt idx="1117" formatCode="0.0%">
                  <c:v>0.31117296222664009</c:v>
                </c:pt>
                <c:pt idx="1118" formatCode="0.0%">
                  <c:v>0.30926441351888656</c:v>
                </c:pt>
                <c:pt idx="1119" formatCode="0.0%">
                  <c:v>0.31610337972167002</c:v>
                </c:pt>
                <c:pt idx="1120" formatCode="0.0%">
                  <c:v>0.32310139165009927</c:v>
                </c:pt>
                <c:pt idx="1121" formatCode="0.0%">
                  <c:v>0.32811133200795239</c:v>
                </c:pt>
                <c:pt idx="1122" formatCode="0.0%">
                  <c:v>0.32811133200795239</c:v>
                </c:pt>
                <c:pt idx="1123" formatCode="0.0%">
                  <c:v>0.32811133200795239</c:v>
                </c:pt>
                <c:pt idx="1124" formatCode="0.0%">
                  <c:v>0.32994035785288278</c:v>
                </c:pt>
                <c:pt idx="1125" formatCode="0.0%">
                  <c:v>0.3413916500994037</c:v>
                </c:pt>
                <c:pt idx="1126" formatCode="0.0%">
                  <c:v>0.32795228628230633</c:v>
                </c:pt>
                <c:pt idx="1127" formatCode="0.0%">
                  <c:v>0.33399602385685884</c:v>
                </c:pt>
                <c:pt idx="1128" formatCode="0.0%">
                  <c:v>0.34600397614314088</c:v>
                </c:pt>
                <c:pt idx="1129" formatCode="0.0%">
                  <c:v>0.34600397614314088</c:v>
                </c:pt>
                <c:pt idx="1130" formatCode="0.0%">
                  <c:v>0.34600397614314088</c:v>
                </c:pt>
                <c:pt idx="1131" formatCode="0.0%">
                  <c:v>0.34791252485089447</c:v>
                </c:pt>
                <c:pt idx="1132" formatCode="0.0%">
                  <c:v>0.3526043737574554</c:v>
                </c:pt>
                <c:pt idx="1133" formatCode="0.0%">
                  <c:v>0.35888667992047713</c:v>
                </c:pt>
                <c:pt idx="1134" formatCode="0.0%">
                  <c:v>0.35085487077534794</c:v>
                </c:pt>
                <c:pt idx="1135" formatCode="0.0%">
                  <c:v>0.3504572564612326</c:v>
                </c:pt>
                <c:pt idx="1136" formatCode="0.0%">
                  <c:v>0.3504572564612326</c:v>
                </c:pt>
                <c:pt idx="1137" formatCode="0.0%">
                  <c:v>0.3504572564612326</c:v>
                </c:pt>
                <c:pt idx="1138" formatCode="0.0%">
                  <c:v>0.35753479125248505</c:v>
                </c:pt>
                <c:pt idx="1139" formatCode="0.0%">
                  <c:v>0.34401590457256448</c:v>
                </c:pt>
                <c:pt idx="1140" formatCode="0.0%">
                  <c:v>0.35196819085487052</c:v>
                </c:pt>
                <c:pt idx="1141" formatCode="0.0%">
                  <c:v>0.36349900596421464</c:v>
                </c:pt>
                <c:pt idx="1142" formatCode="0.0%">
                  <c:v>0.37176938369781309</c:v>
                </c:pt>
                <c:pt idx="1143" formatCode="0.0%">
                  <c:v>0.37176938369781309</c:v>
                </c:pt>
                <c:pt idx="1144" formatCode="0.0%">
                  <c:v>0.37176938369781309</c:v>
                </c:pt>
                <c:pt idx="1145" formatCode="0.0%">
                  <c:v>0.37033797216699782</c:v>
                </c:pt>
                <c:pt idx="1146" formatCode="0.0%">
                  <c:v>0.35936381709741538</c:v>
                </c:pt>
                <c:pt idx="1147" formatCode="0.0%">
                  <c:v>0.35880715705765398</c:v>
                </c:pt>
                <c:pt idx="1148" formatCode="0.0%">
                  <c:v>0.38186878727634194</c:v>
                </c:pt>
                <c:pt idx="1149" formatCode="0.0%">
                  <c:v>0.38632206759443333</c:v>
                </c:pt>
                <c:pt idx="1150" formatCode="0.0%">
                  <c:v>0.38632206759443333</c:v>
                </c:pt>
                <c:pt idx="1151" formatCode="0.0%">
                  <c:v>0.38632206759443333</c:v>
                </c:pt>
                <c:pt idx="1152" formatCode="0.0%">
                  <c:v>0.38107355864811127</c:v>
                </c:pt>
                <c:pt idx="1153" formatCode="0.0%">
                  <c:v>0.3800397614314116</c:v>
                </c:pt>
                <c:pt idx="1154" formatCode="0.0%">
                  <c:v>0.38337972166998013</c:v>
                </c:pt>
                <c:pt idx="1155" formatCode="0.0%">
                  <c:v>0.38982107355864826</c:v>
                </c:pt>
                <c:pt idx="1156" formatCode="0.0%">
                  <c:v>0.39642147117296217</c:v>
                </c:pt>
                <c:pt idx="1157" formatCode="0.0%">
                  <c:v>0.39642147117296217</c:v>
                </c:pt>
                <c:pt idx="1158" formatCode="0.0%">
                  <c:v>0.39642147117296217</c:v>
                </c:pt>
                <c:pt idx="1159" formatCode="0.0%">
                  <c:v>0.40031809145129216</c:v>
                </c:pt>
                <c:pt idx="1160" formatCode="0.0%">
                  <c:v>0.39109343936381719</c:v>
                </c:pt>
                <c:pt idx="1161" formatCode="0.0%">
                  <c:v>0.39149105367793224</c:v>
                </c:pt>
                <c:pt idx="1162" formatCode="0.0%">
                  <c:v>0.4004771371769385</c:v>
                </c:pt>
                <c:pt idx="1163" formatCode="0.0%">
                  <c:v>0.40341948310139147</c:v>
                </c:pt>
                <c:pt idx="1164" formatCode="0.0%">
                  <c:v>0.40341948310139147</c:v>
                </c:pt>
                <c:pt idx="1165" formatCode="0.0%">
                  <c:v>0.40341948310139147</c:v>
                </c:pt>
                <c:pt idx="1166" formatCode="0.0%">
                  <c:v>0.39188866799204758</c:v>
                </c:pt>
                <c:pt idx="1167" formatCode="0.0%">
                  <c:v>0.40381709741550681</c:v>
                </c:pt>
                <c:pt idx="1168" formatCode="0.0%">
                  <c:v>0.40182902584493035</c:v>
                </c:pt>
                <c:pt idx="1169" formatCode="0.0%">
                  <c:v>0.40159045725646136</c:v>
                </c:pt>
                <c:pt idx="1170" formatCode="0.0%">
                  <c:v>0.39395626242544723</c:v>
                </c:pt>
                <c:pt idx="1171" formatCode="0.0%">
                  <c:v>0.39395626242544723</c:v>
                </c:pt>
                <c:pt idx="1172" formatCode="0.0%">
                  <c:v>0.39395626242544723</c:v>
                </c:pt>
                <c:pt idx="1173" formatCode="0.0%">
                  <c:v>0.39880715705765424</c:v>
                </c:pt>
                <c:pt idx="1174" formatCode="0.0%">
                  <c:v>0.40246520874751524</c:v>
                </c:pt>
                <c:pt idx="1175" formatCode="0.0%">
                  <c:v>0.40620278330019888</c:v>
                </c:pt>
                <c:pt idx="1176" formatCode="0.0%">
                  <c:v>0.4230616302186877</c:v>
                </c:pt>
                <c:pt idx="1177" formatCode="0.0%">
                  <c:v>0.41884691848906558</c:v>
                </c:pt>
                <c:pt idx="1178" formatCode="0.0%">
                  <c:v>0.41884691848906558</c:v>
                </c:pt>
                <c:pt idx="1179" formatCode="0.0%">
                  <c:v>0.41884691848906558</c:v>
                </c:pt>
                <c:pt idx="1180" formatCode="0.0%">
                  <c:v>0.40882703777335988</c:v>
                </c:pt>
                <c:pt idx="1181" formatCode="0.0%">
                  <c:v>0.40683896620278348</c:v>
                </c:pt>
                <c:pt idx="1182" formatCode="0.0%">
                  <c:v>0.411848906560636</c:v>
                </c:pt>
                <c:pt idx="1183" formatCode="0.0%">
                  <c:v>0.411848906560636</c:v>
                </c:pt>
                <c:pt idx="1184" formatCode="0.0%">
                  <c:v>0.411848906560636</c:v>
                </c:pt>
                <c:pt idx="1185" formatCode="0.0%">
                  <c:v>0.411848906560636</c:v>
                </c:pt>
                <c:pt idx="1186" formatCode="0.0%">
                  <c:v>0.4194831013916499</c:v>
                </c:pt>
                <c:pt idx="1187" formatCode="0.0%">
                  <c:v>0.4194831013916499</c:v>
                </c:pt>
                <c:pt idx="1188" formatCode="0.0%">
                  <c:v>0.40302186878727642</c:v>
                </c:pt>
                <c:pt idx="1189" formatCode="0.0%">
                  <c:v>0.4</c:v>
                </c:pt>
                <c:pt idx="1190" formatCode="0.0%">
                  <c:v>0.4046918489065604</c:v>
                </c:pt>
                <c:pt idx="1191" formatCode="0.0%">
                  <c:v>0.39411530815109358</c:v>
                </c:pt>
                <c:pt idx="1192" formatCode="0.0%">
                  <c:v>0.39411530815109358</c:v>
                </c:pt>
                <c:pt idx="1193" formatCode="0.0%">
                  <c:v>0.39411530815109358</c:v>
                </c:pt>
                <c:pt idx="1194" formatCode="0.0%">
                  <c:v>0.39729622266401604</c:v>
                </c:pt>
                <c:pt idx="1195" formatCode="0.0%">
                  <c:v>0.38807157057654079</c:v>
                </c:pt>
                <c:pt idx="1196" formatCode="0.0%">
                  <c:v>0.39475149105367791</c:v>
                </c:pt>
                <c:pt idx="1197" formatCode="0.0%">
                  <c:v>0.39013916500994045</c:v>
                </c:pt>
                <c:pt idx="1198" formatCode="0.0%">
                  <c:v>0.39252485089463252</c:v>
                </c:pt>
                <c:pt idx="1199" formatCode="0.0%">
                  <c:v>0.39252485089463252</c:v>
                </c:pt>
                <c:pt idx="1200" formatCode="0.0%">
                  <c:v>0.39252485089463252</c:v>
                </c:pt>
                <c:pt idx="1201" formatCode="0.0%">
                  <c:v>0.39244532803180932</c:v>
                </c:pt>
                <c:pt idx="1202" formatCode="0.0%">
                  <c:v>0.37558648111331988</c:v>
                </c:pt>
                <c:pt idx="1203" formatCode="0.0%">
                  <c:v>0.37184890656063602</c:v>
                </c:pt>
                <c:pt idx="1204" formatCode="0.0%">
                  <c:v>0.36930417495029816</c:v>
                </c:pt>
                <c:pt idx="1205" formatCode="0.0%">
                  <c:v>0.36151093439363818</c:v>
                </c:pt>
                <c:pt idx="1206" formatCode="0.0%">
                  <c:v>0.36151093439363818</c:v>
                </c:pt>
                <c:pt idx="1207" formatCode="0.0%">
                  <c:v>0.36151093439363818</c:v>
                </c:pt>
                <c:pt idx="1208" formatCode="0.0%">
                  <c:v>0.36485089463220677</c:v>
                </c:pt>
                <c:pt idx="1209" formatCode="0.0%">
                  <c:v>0.37550695825049701</c:v>
                </c:pt>
                <c:pt idx="1210" formatCode="0.0%">
                  <c:v>0.37709741550695808</c:v>
                </c:pt>
                <c:pt idx="1211" formatCode="0.0%">
                  <c:v>0.36493041749502964</c:v>
                </c:pt>
                <c:pt idx="1212" formatCode="0.0%">
                  <c:v>0.38767395626242546</c:v>
                </c:pt>
                <c:pt idx="1213" formatCode="0.0%">
                  <c:v>0.38767395626242546</c:v>
                </c:pt>
                <c:pt idx="1214" formatCode="0.0%">
                  <c:v>0.38767395626242546</c:v>
                </c:pt>
                <c:pt idx="1215" formatCode="0.0%">
                  <c:v>0.38743538767395619</c:v>
                </c:pt>
                <c:pt idx="1216" formatCode="0.0%">
                  <c:v>0.37288270377733596</c:v>
                </c:pt>
                <c:pt idx="1217" formatCode="0.0%">
                  <c:v>0.36970178926441377</c:v>
                </c:pt>
                <c:pt idx="1218" formatCode="0.0%">
                  <c:v>0.36596421471172957</c:v>
                </c:pt>
                <c:pt idx="1219" formatCode="0.0%">
                  <c:v>0.37296222664015916</c:v>
                </c:pt>
                <c:pt idx="1220" formatCode="0.0%">
                  <c:v>0.37296222664015916</c:v>
                </c:pt>
                <c:pt idx="1221" formatCode="0.0%">
                  <c:v>0.37296222664015916</c:v>
                </c:pt>
                <c:pt idx="1222" formatCode="0.0%">
                  <c:v>0.38393638170974159</c:v>
                </c:pt>
                <c:pt idx="1223" formatCode="0.0%">
                  <c:v>0.39403578528827038</c:v>
                </c:pt>
                <c:pt idx="1224" formatCode="0.0%">
                  <c:v>0.3962624254473161</c:v>
                </c:pt>
                <c:pt idx="1225" formatCode="0.0%">
                  <c:v>0.3962624254473161</c:v>
                </c:pt>
                <c:pt idx="1226" formatCode="0.0%">
                  <c:v>0.3962624254473161</c:v>
                </c:pt>
                <c:pt idx="1227" formatCode="0.0%">
                  <c:v>0.3962624254473161</c:v>
                </c:pt>
                <c:pt idx="1228" formatCode="0.0%">
                  <c:v>0.3962624254473161</c:v>
                </c:pt>
                <c:pt idx="1229" formatCode="0.0%">
                  <c:v>0.41057654075546707</c:v>
                </c:pt>
                <c:pt idx="1230" formatCode="0.0%">
                  <c:v>0.40938369781312106</c:v>
                </c:pt>
                <c:pt idx="1231" formatCode="0.0%">
                  <c:v>0.41821073558648098</c:v>
                </c:pt>
                <c:pt idx="1232" formatCode="0.0%">
                  <c:v>0.42648111332007943</c:v>
                </c:pt>
                <c:pt idx="1233" formatCode="0.0%">
                  <c:v>0.42011928429423478</c:v>
                </c:pt>
                <c:pt idx="1234" formatCode="0.0%">
                  <c:v>0.42011928429423478</c:v>
                </c:pt>
                <c:pt idx="1235" formatCode="0.0%">
                  <c:v>0.42011928429423478</c:v>
                </c:pt>
                <c:pt idx="1236" formatCode="0.0%">
                  <c:v>0.42011928429423478</c:v>
                </c:pt>
                <c:pt idx="1237" formatCode="0.0%">
                  <c:v>0.42640159045725651</c:v>
                </c:pt>
                <c:pt idx="1238" formatCode="0.0%">
                  <c:v>0.43419483101391648</c:v>
                </c:pt>
                <c:pt idx="1239" formatCode="0.0%">
                  <c:v>0.43602385685884715</c:v>
                </c:pt>
                <c:pt idx="1240" formatCode="0.0%">
                  <c:v>0.42815109343936369</c:v>
                </c:pt>
                <c:pt idx="1241" formatCode="0.0%">
                  <c:v>0.42815109343936369</c:v>
                </c:pt>
                <c:pt idx="1242" formatCode="0.0%">
                  <c:v>0.42815109343936369</c:v>
                </c:pt>
                <c:pt idx="1243" formatCode="0.0%">
                  <c:v>0.43029821073558649</c:v>
                </c:pt>
                <c:pt idx="1244" formatCode="0.0%">
                  <c:v>0.42059642147117271</c:v>
                </c:pt>
                <c:pt idx="1245" formatCode="0.0%">
                  <c:v>0.4132007952286284</c:v>
                </c:pt>
                <c:pt idx="1246" formatCode="0.0%">
                  <c:v>0.40660039761431394</c:v>
                </c:pt>
                <c:pt idx="1247" formatCode="0.0%">
                  <c:v>0.41375745526838953</c:v>
                </c:pt>
                <c:pt idx="1248" formatCode="0.0%">
                  <c:v>0.41375745526838953</c:v>
                </c:pt>
                <c:pt idx="1249" formatCode="0.0%">
                  <c:v>0.41375745526838953</c:v>
                </c:pt>
                <c:pt idx="1250" formatCode="0.0%">
                  <c:v>0.41216699801192846</c:v>
                </c:pt>
                <c:pt idx="1251" formatCode="0.0%">
                  <c:v>0.40850894632206775</c:v>
                </c:pt>
                <c:pt idx="1252" formatCode="0.0%">
                  <c:v>0.40850894632206775</c:v>
                </c:pt>
                <c:pt idx="1253" formatCode="0.0%">
                  <c:v>0.43013916500994043</c:v>
                </c:pt>
                <c:pt idx="1254" formatCode="0.0%">
                  <c:v>0.43928429423459248</c:v>
                </c:pt>
                <c:pt idx="1255" formatCode="0.0%">
                  <c:v>0.43928429423459248</c:v>
                </c:pt>
                <c:pt idx="1256" formatCode="0.0%">
                  <c:v>0.43928429423459248</c:v>
                </c:pt>
                <c:pt idx="1257" formatCode="0.0%">
                  <c:v>0.43546719681908541</c:v>
                </c:pt>
                <c:pt idx="1258" formatCode="0.0%">
                  <c:v>0.43443339960238575</c:v>
                </c:pt>
                <c:pt idx="1259" formatCode="0.0%">
                  <c:v>0.44349900596421465</c:v>
                </c:pt>
                <c:pt idx="1260" formatCode="0.0%">
                  <c:v>0.4378528827037772</c:v>
                </c:pt>
                <c:pt idx="1261" formatCode="0.0%">
                  <c:v>0.4379324055666004</c:v>
                </c:pt>
                <c:pt idx="1262" formatCode="0.0%">
                  <c:v>0.4379324055666004</c:v>
                </c:pt>
                <c:pt idx="1263" formatCode="0.0%">
                  <c:v>0.4379324055666004</c:v>
                </c:pt>
                <c:pt idx="1264" formatCode="0.0%">
                  <c:v>0.43530815109343934</c:v>
                </c:pt>
                <c:pt idx="1265" formatCode="0.0%">
                  <c:v>0.44803180914512919</c:v>
                </c:pt>
                <c:pt idx="1266" formatCode="0.0%">
                  <c:v>0.45145129224652097</c:v>
                </c:pt>
                <c:pt idx="1267" formatCode="0.0%">
                  <c:v>0.45431411530815125</c:v>
                </c:pt>
                <c:pt idx="1268" formatCode="0.0%">
                  <c:v>0.45598409542743551</c:v>
                </c:pt>
                <c:pt idx="1269" formatCode="0.0%">
                  <c:v>0.45598409542743551</c:v>
                </c:pt>
                <c:pt idx="1270" formatCode="0.0%">
                  <c:v>0.45598409542743551</c:v>
                </c:pt>
                <c:pt idx="1271" formatCode="0.0%">
                  <c:v>0.45964214711729623</c:v>
                </c:pt>
                <c:pt idx="1272" formatCode="0.0%">
                  <c:v>0.4527236580516899</c:v>
                </c:pt>
                <c:pt idx="1273" formatCode="0.0%">
                  <c:v>0.44556660039761453</c:v>
                </c:pt>
                <c:pt idx="1274" formatCode="0.0%">
                  <c:v>0.44564612326043745</c:v>
                </c:pt>
                <c:pt idx="1275" formatCode="0.0%">
                  <c:v>0.44612326043737566</c:v>
                </c:pt>
                <c:pt idx="1276" formatCode="0.0%">
                  <c:v>0.44612326043737566</c:v>
                </c:pt>
                <c:pt idx="1277" formatCode="0.0%">
                  <c:v>0.43522862823061614</c:v>
                </c:pt>
                <c:pt idx="1278" formatCode="0.0%">
                  <c:v>0.42974155069582509</c:v>
                </c:pt>
                <c:pt idx="1279" formatCode="0.0%">
                  <c:v>0.42767395626242544</c:v>
                </c:pt>
                <c:pt idx="1280" formatCode="0.0%">
                  <c:v>0.42854870775347903</c:v>
                </c:pt>
                <c:pt idx="1281" formatCode="0.0%">
                  <c:v>0.43332007952286289</c:v>
                </c:pt>
                <c:pt idx="1282" formatCode="0.0%">
                  <c:v>0.42560636182902611</c:v>
                </c:pt>
                <c:pt idx="1283" formatCode="0.0%">
                  <c:v>0.42560636182902611</c:v>
                </c:pt>
                <c:pt idx="1284" formatCode="0.0%">
                  <c:v>0.42560636182902611</c:v>
                </c:pt>
                <c:pt idx="1285" formatCode="0.0%">
                  <c:v>0.43506958250497008</c:v>
                </c:pt>
                <c:pt idx="1286" formatCode="0.0%">
                  <c:v>0.43363817097415508</c:v>
                </c:pt>
                <c:pt idx="1287" formatCode="0.0%">
                  <c:v>0.4315705765407557</c:v>
                </c:pt>
                <c:pt idx="1288" formatCode="0.0%">
                  <c:v>0.4429423459244532</c:v>
                </c:pt>
                <c:pt idx="1289" formatCode="0.0%">
                  <c:v>0.44882703777335992</c:v>
                </c:pt>
                <c:pt idx="1290" formatCode="0.0%">
                  <c:v>0.44882703777335992</c:v>
                </c:pt>
                <c:pt idx="1291" formatCode="0.0%">
                  <c:v>0.44882703777335992</c:v>
                </c:pt>
                <c:pt idx="1292" formatCode="0.0%">
                  <c:v>0.44691848906560611</c:v>
                </c:pt>
                <c:pt idx="1293" formatCode="0.0%">
                  <c:v>0.45153081510934412</c:v>
                </c:pt>
                <c:pt idx="1294" formatCode="0.0%">
                  <c:v>0.43928429423459248</c:v>
                </c:pt>
                <c:pt idx="1295" formatCode="0.0%">
                  <c:v>0.43864811133200787</c:v>
                </c:pt>
                <c:pt idx="1296" formatCode="0.0%">
                  <c:v>0.42266401590457264</c:v>
                </c:pt>
                <c:pt idx="1297" formatCode="0.0%">
                  <c:v>0.42266401590457264</c:v>
                </c:pt>
                <c:pt idx="1298" formatCode="0.0%">
                  <c:v>0.42266401590457264</c:v>
                </c:pt>
                <c:pt idx="1299" formatCode="0.0%">
                  <c:v>0.43856858846918501</c:v>
                </c:pt>
                <c:pt idx="1300" formatCode="0.0%">
                  <c:v>0.45129224652087485</c:v>
                </c:pt>
                <c:pt idx="1301" formatCode="0.0%">
                  <c:v>0.43825049701789254</c:v>
                </c:pt>
                <c:pt idx="1302" formatCode="0.0%">
                  <c:v>0.42600397614314117</c:v>
                </c:pt>
                <c:pt idx="1303" formatCode="0.0%">
                  <c:v>0.43825049701789254</c:v>
                </c:pt>
                <c:pt idx="1304" formatCode="0.0%">
                  <c:v>0.43825049701789254</c:v>
                </c:pt>
                <c:pt idx="1305" formatCode="0.0%">
                  <c:v>0.43825049701789254</c:v>
                </c:pt>
                <c:pt idx="1306" formatCode="0.0%">
                  <c:v>0.4429423459244532</c:v>
                </c:pt>
                <c:pt idx="1307" formatCode="0.0%">
                  <c:v>0.44946322067594424</c:v>
                </c:pt>
                <c:pt idx="1308" formatCode="0.0%">
                  <c:v>0.46489065606361835</c:v>
                </c:pt>
                <c:pt idx="1309" formatCode="0.0%">
                  <c:v>0.45940357852882696</c:v>
                </c:pt>
                <c:pt idx="1310" formatCode="0.0%">
                  <c:v>0.40636182902584495</c:v>
                </c:pt>
                <c:pt idx="1311" formatCode="0.0%">
                  <c:v>0.40636182902584495</c:v>
                </c:pt>
                <c:pt idx="1312" formatCode="0.0%">
                  <c:v>0.40636182902584495</c:v>
                </c:pt>
                <c:pt idx="1313" formatCode="0.0%">
                  <c:v>0.37232604373757455</c:v>
                </c:pt>
                <c:pt idx="1314" formatCode="0.0%">
                  <c:v>0.39785288270377722</c:v>
                </c:pt>
                <c:pt idx="1315" formatCode="0.0%">
                  <c:v>0.40787276341948286</c:v>
                </c:pt>
                <c:pt idx="1316" formatCode="0.0%">
                  <c:v>0.40453280318091456</c:v>
                </c:pt>
                <c:pt idx="1317" formatCode="0.0%">
                  <c:v>0.40739562624254461</c:v>
                </c:pt>
                <c:pt idx="1318" formatCode="0.0%">
                  <c:v>0.40739562624254461</c:v>
                </c:pt>
                <c:pt idx="1319" formatCode="0.0%">
                  <c:v>0.40739562624254461</c:v>
                </c:pt>
                <c:pt idx="1320" formatCode="0.0%">
                  <c:v>0.4119284294234592</c:v>
                </c:pt>
                <c:pt idx="1321" formatCode="0.0%">
                  <c:v>0.41709741550695811</c:v>
                </c:pt>
                <c:pt idx="1322" formatCode="0.0%">
                  <c:v>0.41375745526838953</c:v>
                </c:pt>
                <c:pt idx="1323" formatCode="0.0%">
                  <c:v>0.43848906560636181</c:v>
                </c:pt>
                <c:pt idx="1324" formatCode="0.0%">
                  <c:v>0.44174950298210747</c:v>
                </c:pt>
                <c:pt idx="1325" formatCode="0.0%">
                  <c:v>0.44174950298210747</c:v>
                </c:pt>
                <c:pt idx="1326" formatCode="0.0%">
                  <c:v>0.44174950298210747</c:v>
                </c:pt>
                <c:pt idx="1327" formatCode="0.0%">
                  <c:v>0.44222664015904573</c:v>
                </c:pt>
                <c:pt idx="1328" formatCode="0.0%">
                  <c:v>0.44548707753479133</c:v>
                </c:pt>
                <c:pt idx="1329" formatCode="0.0%">
                  <c:v>0.44803180914512919</c:v>
                </c:pt>
                <c:pt idx="1330" formatCode="0.0%">
                  <c:v>0.45455268389662024</c:v>
                </c:pt>
                <c:pt idx="1331" formatCode="0.0%">
                  <c:v>0.44938369781312104</c:v>
                </c:pt>
                <c:pt idx="1332" formatCode="0.0%">
                  <c:v>0.44938369781312104</c:v>
                </c:pt>
                <c:pt idx="1333" formatCode="0.0%">
                  <c:v>0.44938369781312104</c:v>
                </c:pt>
                <c:pt idx="1334" formatCode="0.0%">
                  <c:v>0.45121272365805198</c:v>
                </c:pt>
                <c:pt idx="1335" formatCode="0.0%">
                  <c:v>0.45224652087475137</c:v>
                </c:pt>
                <c:pt idx="1336" formatCode="0.0%">
                  <c:v>0.46075546719681909</c:v>
                </c:pt>
                <c:pt idx="1337" formatCode="0.0%">
                  <c:v>0.47968190854870757</c:v>
                </c:pt>
                <c:pt idx="1338" formatCode="0.0%">
                  <c:v>0.48143141153081503</c:v>
                </c:pt>
                <c:pt idx="1339" formatCode="0.0%">
                  <c:v>0.4824652087475147</c:v>
                </c:pt>
                <c:pt idx="1340" formatCode="0.0%">
                  <c:v>0.4824652087475147</c:v>
                </c:pt>
                <c:pt idx="1341" formatCode="0.0%">
                  <c:v>0.48302186878727638</c:v>
                </c:pt>
                <c:pt idx="1342" formatCode="0.0%">
                  <c:v>0.4716500994035786</c:v>
                </c:pt>
                <c:pt idx="1343" formatCode="0.0%">
                  <c:v>0.45821073558648096</c:v>
                </c:pt>
                <c:pt idx="1344" formatCode="0.0%">
                  <c:v>0.45001988071570592</c:v>
                </c:pt>
                <c:pt idx="1345" formatCode="0.0%">
                  <c:v>0.43610337972167001</c:v>
                </c:pt>
                <c:pt idx="1346" formatCode="0.0%">
                  <c:v>0.43610337972167001</c:v>
                </c:pt>
                <c:pt idx="1347" formatCode="0.0%">
                  <c:v>0.43610337972167001</c:v>
                </c:pt>
                <c:pt idx="1348" formatCode="0.0%">
                  <c:v>0.45137176938369777</c:v>
                </c:pt>
                <c:pt idx="1349" formatCode="0.0%">
                  <c:v>0.45908548707753483</c:v>
                </c:pt>
                <c:pt idx="1350" formatCode="0.0%">
                  <c:v>0.44667992047713712</c:v>
                </c:pt>
                <c:pt idx="1351" formatCode="0.0%">
                  <c:v>0.47005964214711754</c:v>
                </c:pt>
                <c:pt idx="1352" formatCode="0.0%">
                  <c:v>0.48135188866799211</c:v>
                </c:pt>
                <c:pt idx="1353" formatCode="0.0%">
                  <c:v>0.48135188866799211</c:v>
                </c:pt>
                <c:pt idx="1354" formatCode="0.0%">
                  <c:v>0.48135188866799211</c:v>
                </c:pt>
                <c:pt idx="1355" formatCode="0.0%">
                  <c:v>0.47968190854870757</c:v>
                </c:pt>
                <c:pt idx="1356" formatCode="0.0%">
                  <c:v>0.48755467196819097</c:v>
                </c:pt>
                <c:pt idx="1357" formatCode="0.0%">
                  <c:v>0.47626242544731612</c:v>
                </c:pt>
                <c:pt idx="1358" formatCode="0.0%">
                  <c:v>0.49256461232604354</c:v>
                </c:pt>
                <c:pt idx="1359" formatCode="0.0%">
                  <c:v>0.48023856858846925</c:v>
                </c:pt>
                <c:pt idx="1360" formatCode="0.0%">
                  <c:v>0.48023856858846925</c:v>
                </c:pt>
                <c:pt idx="1361" formatCode="0.0%">
                  <c:v>0.48023856858846925</c:v>
                </c:pt>
                <c:pt idx="1362" formatCode="0.0%">
                  <c:v>0.48747514910536777</c:v>
                </c:pt>
                <c:pt idx="1363" formatCode="0.0%">
                  <c:v>0.48636182902584496</c:v>
                </c:pt>
                <c:pt idx="1364" formatCode="0.0%">
                  <c:v>0.48429423459244558</c:v>
                </c:pt>
                <c:pt idx="1365" formatCode="0.0%">
                  <c:v>0.49980119284294233</c:v>
                </c:pt>
                <c:pt idx="1366" formatCode="0.0%">
                  <c:v>0.50671968190854866</c:v>
                </c:pt>
                <c:pt idx="1367" formatCode="0.0%">
                  <c:v>0.50671968190854866</c:v>
                </c:pt>
                <c:pt idx="1368" formatCode="0.0%">
                  <c:v>0.50671968190854866</c:v>
                </c:pt>
                <c:pt idx="1369" formatCode="0.0%">
                  <c:v>0.4963817097415506</c:v>
                </c:pt>
                <c:pt idx="1370" formatCode="0.0%">
                  <c:v>0.49312127236580522</c:v>
                </c:pt>
                <c:pt idx="1371" formatCode="0.0%">
                  <c:v>0.49558648111331993</c:v>
                </c:pt>
                <c:pt idx="1372" formatCode="0.0%">
                  <c:v>0.4866003976143139</c:v>
                </c:pt>
                <c:pt idx="1373" formatCode="0.0%">
                  <c:v>0.48755467196819097</c:v>
                </c:pt>
                <c:pt idx="1374" formatCode="0.0%">
                  <c:v>0.48755467196819097</c:v>
                </c:pt>
                <c:pt idx="1375" formatCode="0.0%">
                  <c:v>0.48755467196819097</c:v>
                </c:pt>
                <c:pt idx="1376" formatCode="0.0%">
                  <c:v>0.48453280318091457</c:v>
                </c:pt>
                <c:pt idx="1377" formatCode="0.0%">
                  <c:v>0.48842942345924428</c:v>
                </c:pt>
                <c:pt idx="1378" formatCode="0.0%">
                  <c:v>0.50170974155069592</c:v>
                </c:pt>
                <c:pt idx="1379" formatCode="0.0%">
                  <c:v>0.50727634194831017</c:v>
                </c:pt>
                <c:pt idx="1380" formatCode="0.0%">
                  <c:v>0.51268389662027825</c:v>
                </c:pt>
                <c:pt idx="1381" formatCode="0.0%">
                  <c:v>0.51268389662027825</c:v>
                </c:pt>
                <c:pt idx="1382" formatCode="0.0%">
                  <c:v>0.51268389662027825</c:v>
                </c:pt>
                <c:pt idx="1383" formatCode="0.0%">
                  <c:v>0.52445328031809135</c:v>
                </c:pt>
                <c:pt idx="1384" formatCode="0.0%">
                  <c:v>0.52477137176938382</c:v>
                </c:pt>
                <c:pt idx="1385" formatCode="0.0%">
                  <c:v>0.51355864811133212</c:v>
                </c:pt>
                <c:pt idx="1386" formatCode="0.0%">
                  <c:v>0.52723658051689848</c:v>
                </c:pt>
                <c:pt idx="1387" formatCode="0.0%">
                  <c:v>0.52373757455268388</c:v>
                </c:pt>
                <c:pt idx="1388" formatCode="0.0%">
                  <c:v>0.52373757455268388</c:v>
                </c:pt>
                <c:pt idx="1389" formatCode="0.0%">
                  <c:v>0.52373757455268388</c:v>
                </c:pt>
                <c:pt idx="1390" formatCode="0.0%">
                  <c:v>0.51984095427435395</c:v>
                </c:pt>
                <c:pt idx="1391" formatCode="0.0%">
                  <c:v>0.5106958250497019</c:v>
                </c:pt>
                <c:pt idx="1392" formatCode="0.0%">
                  <c:v>0.50656063618290259</c:v>
                </c:pt>
                <c:pt idx="1393" formatCode="0.0%">
                  <c:v>0.50314115308151119</c:v>
                </c:pt>
                <c:pt idx="1394" formatCode="0.0%">
                  <c:v>0.50266401590457266</c:v>
                </c:pt>
                <c:pt idx="1395" formatCode="0.0%">
                  <c:v>0.50266401590457266</c:v>
                </c:pt>
                <c:pt idx="1396" formatCode="0.0%">
                  <c:v>0.50266401590457266</c:v>
                </c:pt>
                <c:pt idx="1397" formatCode="0.0%">
                  <c:v>0.50314115308151119</c:v>
                </c:pt>
                <c:pt idx="1398" formatCode="0.0%">
                  <c:v>0.50536779324055658</c:v>
                </c:pt>
                <c:pt idx="1399" formatCode="0.0%">
                  <c:v>0.49502982107355875</c:v>
                </c:pt>
                <c:pt idx="1400" formatCode="0.0%">
                  <c:v>0.46099403578528808</c:v>
                </c:pt>
                <c:pt idx="1401" formatCode="0.0%">
                  <c:v>0.47729622266401606</c:v>
                </c:pt>
                <c:pt idx="1402" formatCode="0.0%">
                  <c:v>0.47729622266401606</c:v>
                </c:pt>
                <c:pt idx="1403" formatCode="0.0%">
                  <c:v>0.47729622266401606</c:v>
                </c:pt>
                <c:pt idx="1404" formatCode="0.0%">
                  <c:v>0.46982107355864799</c:v>
                </c:pt>
                <c:pt idx="1405" formatCode="0.0%">
                  <c:v>0.47483101391650107</c:v>
                </c:pt>
                <c:pt idx="1406" formatCode="0.0%">
                  <c:v>0.50656063618290259</c:v>
                </c:pt>
                <c:pt idx="1407" formatCode="0.0%">
                  <c:v>0.50910536779324078</c:v>
                </c:pt>
                <c:pt idx="1408" formatCode="0.0%">
                  <c:v>0.51920477137176935</c:v>
                </c:pt>
                <c:pt idx="1409" formatCode="0.0%">
                  <c:v>0.51920477137176935</c:v>
                </c:pt>
                <c:pt idx="1410" formatCode="0.0%">
                  <c:v>0.51920477137176935</c:v>
                </c:pt>
                <c:pt idx="1411" formatCode="0.0%">
                  <c:v>0.5300198807157056</c:v>
                </c:pt>
                <c:pt idx="1412" formatCode="0.0%">
                  <c:v>0.51864811133200783</c:v>
                </c:pt>
                <c:pt idx="1413" formatCode="0.0%">
                  <c:v>0.5078330019880718</c:v>
                </c:pt>
                <c:pt idx="1414" formatCode="0.0%">
                  <c:v>0.51236580516898611</c:v>
                </c:pt>
                <c:pt idx="1415" formatCode="0.0%">
                  <c:v>0.48866799204771383</c:v>
                </c:pt>
                <c:pt idx="1416" formatCode="0.0%">
                  <c:v>0.48866799204771383</c:v>
                </c:pt>
                <c:pt idx="1417" formatCode="0.0%">
                  <c:v>0.48866799204771383</c:v>
                </c:pt>
                <c:pt idx="1418" formatCode="0.0%">
                  <c:v>0.48683896620278316</c:v>
                </c:pt>
                <c:pt idx="1419" formatCode="0.0%">
                  <c:v>0.48333996023856857</c:v>
                </c:pt>
                <c:pt idx="1420" formatCode="0.0%">
                  <c:v>0.49176938369781309</c:v>
                </c:pt>
                <c:pt idx="1421" formatCode="0.0%">
                  <c:v>0.50163021868787294</c:v>
                </c:pt>
                <c:pt idx="1422" formatCode="0.0%">
                  <c:v>0.5331212723658052</c:v>
                </c:pt>
                <c:pt idx="1423" formatCode="0.0%">
                  <c:v>0.5331212723658052</c:v>
                </c:pt>
                <c:pt idx="1424" formatCode="0.0%">
                  <c:v>0.5331212723658052</c:v>
                </c:pt>
                <c:pt idx="1425" formatCode="0.0%">
                  <c:v>0.52803180914512926</c:v>
                </c:pt>
                <c:pt idx="1426" formatCode="0.0%">
                  <c:v>0.52771371769383701</c:v>
                </c:pt>
                <c:pt idx="1427" formatCode="0.0%">
                  <c:v>0.52182902584493063</c:v>
                </c:pt>
                <c:pt idx="1428" formatCode="0.0%">
                  <c:v>0.52787276341948308</c:v>
                </c:pt>
                <c:pt idx="1429" formatCode="0.0%">
                  <c:v>0.53097415506958268</c:v>
                </c:pt>
                <c:pt idx="1430" formatCode="0.0%">
                  <c:v>0.53081510934393639</c:v>
                </c:pt>
                <c:pt idx="1431" formatCode="0.0%">
                  <c:v>0.53081510934393639</c:v>
                </c:pt>
                <c:pt idx="1432" formatCode="0.0%">
                  <c:v>0.54226640159045725</c:v>
                </c:pt>
                <c:pt idx="1433" formatCode="0.0%">
                  <c:v>0.54178926441351904</c:v>
                </c:pt>
                <c:pt idx="1434" formatCode="0.0%">
                  <c:v>0.55013916500994042</c:v>
                </c:pt>
                <c:pt idx="1435" formatCode="0.0%">
                  <c:v>0.54226640159045725</c:v>
                </c:pt>
                <c:pt idx="1436" formatCode="0.0%">
                  <c:v>0.5432206759443341</c:v>
                </c:pt>
                <c:pt idx="1437" formatCode="0.0%">
                  <c:v>0.5432206759443341</c:v>
                </c:pt>
                <c:pt idx="1438" formatCode="0.0%">
                  <c:v>0.5432206759443341</c:v>
                </c:pt>
                <c:pt idx="1439" formatCode="0.0%">
                  <c:v>0.53304174950298233</c:v>
                </c:pt>
                <c:pt idx="1440" formatCode="0.0%">
                  <c:v>0.51864811133200783</c:v>
                </c:pt>
                <c:pt idx="1441" formatCode="0.0%">
                  <c:v>0.525328031809145</c:v>
                </c:pt>
                <c:pt idx="1442" formatCode="0.0%">
                  <c:v>0.52389662027832995</c:v>
                </c:pt>
                <c:pt idx="1443" formatCode="0.0%">
                  <c:v>0.5106163021868787</c:v>
                </c:pt>
                <c:pt idx="1444" formatCode="0.0%">
                  <c:v>0.5106163021868787</c:v>
                </c:pt>
                <c:pt idx="1445" formatCode="0.0%">
                  <c:v>0.5106163021868787</c:v>
                </c:pt>
                <c:pt idx="1446" formatCode="0.0%">
                  <c:v>0.51077534791252477</c:v>
                </c:pt>
                <c:pt idx="1447" formatCode="0.0%">
                  <c:v>0.50568588469184872</c:v>
                </c:pt>
                <c:pt idx="1448" formatCode="0.0%">
                  <c:v>0.50918489065606365</c:v>
                </c:pt>
                <c:pt idx="1449" formatCode="0.0%">
                  <c:v>0.48135188866799211</c:v>
                </c:pt>
                <c:pt idx="1450" formatCode="0.0%">
                  <c:v>0.48135188866799211</c:v>
                </c:pt>
                <c:pt idx="1451" formatCode="0.0%">
                  <c:v>0.48135188866799211</c:v>
                </c:pt>
                <c:pt idx="1452" formatCode="0.0%">
                  <c:v>0.48135188866799211</c:v>
                </c:pt>
                <c:pt idx="1453" formatCode="0.0%">
                  <c:v>0.48087475149105358</c:v>
                </c:pt>
                <c:pt idx="1454" formatCode="0.0%">
                  <c:v>0.48087475149105358</c:v>
                </c:pt>
                <c:pt idx="1455" formatCode="0.0%">
                  <c:v>0.48087475149105358</c:v>
                </c:pt>
                <c:pt idx="1456" formatCode="0.0%">
                  <c:v>0.48087475149105358</c:v>
                </c:pt>
                <c:pt idx="1457" formatCode="0.0%">
                  <c:v>0.4846123260437375</c:v>
                </c:pt>
                <c:pt idx="1458" formatCode="0.0%">
                  <c:v>0.4846123260437375</c:v>
                </c:pt>
                <c:pt idx="1459" formatCode="0.0%">
                  <c:v>0.4846123260437375</c:v>
                </c:pt>
                <c:pt idx="1460" formatCode="0.0%">
                  <c:v>0.47379721669980113</c:v>
                </c:pt>
                <c:pt idx="1461" formatCode="0.0%">
                  <c:v>0.48326043737574564</c:v>
                </c:pt>
                <c:pt idx="1462" formatCode="0.0%">
                  <c:v>0.48326043737574564</c:v>
                </c:pt>
                <c:pt idx="1463" formatCode="0.0%">
                  <c:v>0.49447316103379735</c:v>
                </c:pt>
                <c:pt idx="1464" formatCode="0.0%">
                  <c:v>0.49057654075546708</c:v>
                </c:pt>
                <c:pt idx="1465" formatCode="0.0%">
                  <c:v>0.49057654075546708</c:v>
                </c:pt>
                <c:pt idx="1466" formatCode="0.0%">
                  <c:v>0.49057654075546708</c:v>
                </c:pt>
                <c:pt idx="1467" formatCode="0.0%">
                  <c:v>0.49956262425447306</c:v>
                </c:pt>
                <c:pt idx="1468" formatCode="0.0%">
                  <c:v>0.49892644135188874</c:v>
                </c:pt>
                <c:pt idx="1469" formatCode="0.0%">
                  <c:v>0.49892644135188874</c:v>
                </c:pt>
                <c:pt idx="1470" formatCode="0.0%">
                  <c:v>0.50290258449304193</c:v>
                </c:pt>
                <c:pt idx="1471" formatCode="0.0%">
                  <c:v>0.49033797216699809</c:v>
                </c:pt>
                <c:pt idx="1472" formatCode="0.0%">
                  <c:v>0.49033797216699809</c:v>
                </c:pt>
                <c:pt idx="1473" formatCode="0.0%">
                  <c:v>0.49033797216699809</c:v>
                </c:pt>
                <c:pt idx="1474" formatCode="0.0%">
                  <c:v>0.48707753479125243</c:v>
                </c:pt>
                <c:pt idx="1475" formatCode="0.0%">
                  <c:v>0.4873161033797217</c:v>
                </c:pt>
                <c:pt idx="1476" formatCode="0.0%">
                  <c:v>0.50743538767395646</c:v>
                </c:pt>
                <c:pt idx="1477" formatCode="0.0%">
                  <c:v>0.51737574552683896</c:v>
                </c:pt>
                <c:pt idx="1478" formatCode="0.0%">
                  <c:v>0.53272365805168986</c:v>
                </c:pt>
                <c:pt idx="1479" formatCode="0.0%">
                  <c:v>0.53272365805168986</c:v>
                </c:pt>
                <c:pt idx="1480" formatCode="0.0%">
                  <c:v>0.53272365805168986</c:v>
                </c:pt>
                <c:pt idx="1481" formatCode="0.0%">
                  <c:v>0.52795228628230606</c:v>
                </c:pt>
                <c:pt idx="1482" formatCode="0.0%">
                  <c:v>0.53534791252485092</c:v>
                </c:pt>
                <c:pt idx="1483" formatCode="0.0%">
                  <c:v>0.5619880715705764</c:v>
                </c:pt>
                <c:pt idx="1484" formatCode="0.0%">
                  <c:v>0.55666003976143141</c:v>
                </c:pt>
                <c:pt idx="1485" formatCode="0.0%">
                  <c:v>0.54838966202783301</c:v>
                </c:pt>
                <c:pt idx="1486" formatCode="0.0%">
                  <c:v>0.54838966202783301</c:v>
                </c:pt>
                <c:pt idx="1487" formatCode="0.0%">
                  <c:v>0.54838966202783301</c:v>
                </c:pt>
                <c:pt idx="1488" formatCode="0.0%">
                  <c:v>0.52588469184890674</c:v>
                </c:pt>
                <c:pt idx="1489" formatCode="0.0%">
                  <c:v>0.53479125248508952</c:v>
                </c:pt>
                <c:pt idx="1490" formatCode="0.0%">
                  <c:v>0.528986083499006</c:v>
                </c:pt>
                <c:pt idx="1491" formatCode="0.0%">
                  <c:v>0.53789264413518878</c:v>
                </c:pt>
                <c:pt idx="1492" formatCode="0.0%">
                  <c:v>0.53630218687872766</c:v>
                </c:pt>
                <c:pt idx="1493" formatCode="0.0%">
                  <c:v>0.53630218687872766</c:v>
                </c:pt>
                <c:pt idx="1494" formatCode="0.0%">
                  <c:v>0.53630218687872766</c:v>
                </c:pt>
                <c:pt idx="1495" formatCode="0.0%">
                  <c:v>0.53049701789264414</c:v>
                </c:pt>
                <c:pt idx="1496" formatCode="0.0%">
                  <c:v>0.52604373757455281</c:v>
                </c:pt>
                <c:pt idx="1497" formatCode="0.0%">
                  <c:v>0.52683896620278314</c:v>
                </c:pt>
                <c:pt idx="1498" formatCode="0.0%">
                  <c:v>0.54099403578528837</c:v>
                </c:pt>
                <c:pt idx="1499" formatCode="0.0%">
                  <c:v>0.53876739562624265</c:v>
                </c:pt>
                <c:pt idx="1500" formatCode="0.0%">
                  <c:v>0.53876739562624265</c:v>
                </c:pt>
                <c:pt idx="1501" formatCode="0.0%">
                  <c:v>0.53876739562624265</c:v>
                </c:pt>
                <c:pt idx="1502" formatCode="0.0%">
                  <c:v>0.54934393638170975</c:v>
                </c:pt>
                <c:pt idx="1503" formatCode="0.0%">
                  <c:v>0.54520874751491055</c:v>
                </c:pt>
                <c:pt idx="1504" formatCode="0.0%">
                  <c:v>0.52970178926441347</c:v>
                </c:pt>
                <c:pt idx="1505" formatCode="0.0%">
                  <c:v>0.53574552683896626</c:v>
                </c:pt>
                <c:pt idx="1506" formatCode="0.0%">
                  <c:v>0.53049701789264414</c:v>
                </c:pt>
                <c:pt idx="1507" formatCode="0.0%">
                  <c:v>0.53049701789264414</c:v>
                </c:pt>
                <c:pt idx="1508" formatCode="0.0%">
                  <c:v>0.53049701789264414</c:v>
                </c:pt>
                <c:pt idx="1509" formatCode="0.0%">
                  <c:v>0.53391650099403565</c:v>
                </c:pt>
                <c:pt idx="1510" formatCode="0.0%">
                  <c:v>0.53685884691848884</c:v>
                </c:pt>
                <c:pt idx="1511" formatCode="0.0%">
                  <c:v>0.53328031809145127</c:v>
                </c:pt>
                <c:pt idx="1512" formatCode="0.0%">
                  <c:v>0.53232604373757453</c:v>
                </c:pt>
                <c:pt idx="1513" formatCode="0.0%">
                  <c:v>0.52970178926441347</c:v>
                </c:pt>
                <c:pt idx="1514" formatCode="0.0%">
                  <c:v>0.52970178926441347</c:v>
                </c:pt>
                <c:pt idx="1515" formatCode="0.0%">
                  <c:v>0.52970178926441347</c:v>
                </c:pt>
                <c:pt idx="1516" formatCode="0.0%">
                  <c:v>0.5106958250497019</c:v>
                </c:pt>
                <c:pt idx="1517" formatCode="0.0%">
                  <c:v>0.49161033797216702</c:v>
                </c:pt>
                <c:pt idx="1518" formatCode="0.0%">
                  <c:v>0.50902584493041758</c:v>
                </c:pt>
                <c:pt idx="1519" formatCode="0.0%">
                  <c:v>0.51204771371769364</c:v>
                </c:pt>
                <c:pt idx="1520" formatCode="0.0%">
                  <c:v>0.51149105367793257</c:v>
                </c:pt>
                <c:pt idx="1521" formatCode="0.0%">
                  <c:v>0.51149105367793257</c:v>
                </c:pt>
                <c:pt idx="1522" formatCode="0.0%">
                  <c:v>0.51149105367793257</c:v>
                </c:pt>
                <c:pt idx="1523" formatCode="0.0%">
                  <c:v>0.50512922465208765</c:v>
                </c:pt>
                <c:pt idx="1524" formatCode="0.0%">
                  <c:v>0.46377733598409521</c:v>
                </c:pt>
                <c:pt idx="1525" formatCode="0.0%">
                  <c:v>0.4520874751491053</c:v>
                </c:pt>
                <c:pt idx="1526" formatCode="0.0%">
                  <c:v>0.43809145129224647</c:v>
                </c:pt>
                <c:pt idx="1527" formatCode="0.0%">
                  <c:v>0.40779324055665994</c:v>
                </c:pt>
                <c:pt idx="1528" formatCode="0.0%">
                  <c:v>0.40779324055665994</c:v>
                </c:pt>
                <c:pt idx="1529" formatCode="0.0%">
                  <c:v>0.40779324055665994</c:v>
                </c:pt>
                <c:pt idx="1530" formatCode="0.0%">
                  <c:v>0.40318091451292248</c:v>
                </c:pt>
                <c:pt idx="1531" formatCode="0.0%">
                  <c:v>0.37677932405566594</c:v>
                </c:pt>
                <c:pt idx="1532" formatCode="0.0%">
                  <c:v>0.38091451292246548</c:v>
                </c:pt>
                <c:pt idx="1533" formatCode="0.0%">
                  <c:v>0.37669980119284302</c:v>
                </c:pt>
                <c:pt idx="1534" formatCode="0.0%">
                  <c:v>0.3971371769383697</c:v>
                </c:pt>
                <c:pt idx="1535" formatCode="0.0%">
                  <c:v>0.3971371769383697</c:v>
                </c:pt>
                <c:pt idx="1536" formatCode="0.0%">
                  <c:v>0.3971371769383697</c:v>
                </c:pt>
                <c:pt idx="1537" formatCode="0.0%">
                  <c:v>0.39602385685884711</c:v>
                </c:pt>
                <c:pt idx="1538" formatCode="0.0%">
                  <c:v>0.38894632206759439</c:v>
                </c:pt>
                <c:pt idx="1539" formatCode="0.0%">
                  <c:v>0.40596421471172961</c:v>
                </c:pt>
                <c:pt idx="1540" formatCode="0.0%">
                  <c:v>0.41463220675944312</c:v>
                </c:pt>
                <c:pt idx="1541" formatCode="0.0%">
                  <c:v>0.40031809145129216</c:v>
                </c:pt>
                <c:pt idx="1542" formatCode="0.0%">
                  <c:v>0.40031809145129216</c:v>
                </c:pt>
                <c:pt idx="1543" formatCode="0.0%">
                  <c:v>0.40031809145129216</c:v>
                </c:pt>
                <c:pt idx="1544" formatCode="0.0%">
                  <c:v>0.42775347912524836</c:v>
                </c:pt>
                <c:pt idx="1545" formatCode="0.0%">
                  <c:v>0.42990059642147116</c:v>
                </c:pt>
                <c:pt idx="1546" formatCode="0.0%">
                  <c:v>0.42711729622266403</c:v>
                </c:pt>
                <c:pt idx="1547" formatCode="0.0%">
                  <c:v>0.42051689860834984</c:v>
                </c:pt>
                <c:pt idx="1548" formatCode="0.0%">
                  <c:v>0.40222664015904569</c:v>
                </c:pt>
                <c:pt idx="1549" formatCode="0.0%">
                  <c:v>0.40222664015904569</c:v>
                </c:pt>
                <c:pt idx="1550" formatCode="0.0%">
                  <c:v>0.40222664015904569</c:v>
                </c:pt>
                <c:pt idx="1551" formatCode="0.0%">
                  <c:v>0.39363817097415504</c:v>
                </c:pt>
                <c:pt idx="1552" formatCode="0.0%">
                  <c:v>0.39673956262425436</c:v>
                </c:pt>
                <c:pt idx="1553" formatCode="0.0%">
                  <c:v>0.39061630218687865</c:v>
                </c:pt>
                <c:pt idx="1554" formatCode="0.0%">
                  <c:v>0.33121272365805171</c:v>
                </c:pt>
                <c:pt idx="1555" formatCode="0.0%">
                  <c:v>0.27880715705765396</c:v>
                </c:pt>
                <c:pt idx="1556" formatCode="0.0%">
                  <c:v>0.27880715705765396</c:v>
                </c:pt>
                <c:pt idx="1557" formatCode="0.0%">
                  <c:v>0.27880715705765396</c:v>
                </c:pt>
                <c:pt idx="1558" formatCode="0.0%">
                  <c:v>0.24763419483101387</c:v>
                </c:pt>
                <c:pt idx="1559" formatCode="0.0%">
                  <c:v>0.27061630218687882</c:v>
                </c:pt>
                <c:pt idx="1560" formatCode="0.0%">
                  <c:v>0.23753479125248517</c:v>
                </c:pt>
                <c:pt idx="1561" formatCode="0.0%">
                  <c:v>0.29455268389662026</c:v>
                </c:pt>
                <c:pt idx="1562" formatCode="0.0%">
                  <c:v>0.26186878727634211</c:v>
                </c:pt>
                <c:pt idx="1563" formatCode="0.0%">
                  <c:v>0.26186878727634211</c:v>
                </c:pt>
                <c:pt idx="1564" formatCode="0.0%">
                  <c:v>0.26186878727634211</c:v>
                </c:pt>
                <c:pt idx="1565" formatCode="0.0%">
                  <c:v>0.30035785288270378</c:v>
                </c:pt>
                <c:pt idx="1566" formatCode="0.0%">
                  <c:v>0.30727634194831011</c:v>
                </c:pt>
                <c:pt idx="1567" formatCode="0.0%">
                  <c:v>0.29001988071570567</c:v>
                </c:pt>
                <c:pt idx="1568" formatCode="0.0%">
                  <c:v>0.29001988071570567</c:v>
                </c:pt>
                <c:pt idx="1569" formatCode="0.0%">
                  <c:v>0.29001988071570567</c:v>
                </c:pt>
                <c:pt idx="1570" formatCode="0.0%">
                  <c:v>0.29001988071570567</c:v>
                </c:pt>
                <c:pt idx="1571" formatCode="0.0%">
                  <c:v>0.29001988071570567</c:v>
                </c:pt>
                <c:pt idx="1572" formatCode="0.0%">
                  <c:v>0.29001988071570567</c:v>
                </c:pt>
                <c:pt idx="1573" formatCode="0.0%">
                  <c:v>0.27093439363817096</c:v>
                </c:pt>
                <c:pt idx="1574" formatCode="0.0%">
                  <c:v>0.32675944333996026</c:v>
                </c:pt>
                <c:pt idx="1575" formatCode="0.0%">
                  <c:v>0.32429423459244533</c:v>
                </c:pt>
                <c:pt idx="1576" formatCode="0.0%">
                  <c:v>0.33065606361829025</c:v>
                </c:pt>
                <c:pt idx="1577" formatCode="0.0%">
                  <c:v>0.33065606361829025</c:v>
                </c:pt>
                <c:pt idx="1578" formatCode="0.0%">
                  <c:v>0.33065606361829025</c:v>
                </c:pt>
                <c:pt idx="1579" formatCode="0.0%">
                  <c:v>0.3398011928429423</c:v>
                </c:pt>
                <c:pt idx="1580" formatCode="0.0%">
                  <c:v>0.33821073558648124</c:v>
                </c:pt>
                <c:pt idx="1581" formatCode="0.0%">
                  <c:v>0.35069582504970159</c:v>
                </c:pt>
                <c:pt idx="1582" formatCode="0.0%">
                  <c:v>0.37017892644135203</c:v>
                </c:pt>
                <c:pt idx="1583" formatCode="0.0%">
                  <c:v>0.38274353876739553</c:v>
                </c:pt>
                <c:pt idx="1584" formatCode="0.0%">
                  <c:v>0.38274353876739553</c:v>
                </c:pt>
                <c:pt idx="1585" formatCode="0.0%">
                  <c:v>0.38274353876739553</c:v>
                </c:pt>
                <c:pt idx="1586" formatCode="0.0%">
                  <c:v>0.38695825049701793</c:v>
                </c:pt>
                <c:pt idx="1587" formatCode="0.0%">
                  <c:v>0.37677932405566594</c:v>
                </c:pt>
                <c:pt idx="1588" formatCode="0.0%">
                  <c:v>0.37359840954274348</c:v>
                </c:pt>
                <c:pt idx="1589" formatCode="0.0%">
                  <c:v>0.39459244532803184</c:v>
                </c:pt>
                <c:pt idx="1590" formatCode="0.0%">
                  <c:v>0.39872763419483076</c:v>
                </c:pt>
                <c:pt idx="1591" formatCode="0.0%">
                  <c:v>0.39872763419483076</c:v>
                </c:pt>
                <c:pt idx="1592" formatCode="0.0%">
                  <c:v>0.39872763419483076</c:v>
                </c:pt>
                <c:pt idx="1593" formatCode="0.0%">
                  <c:v>0.43149105367793228</c:v>
                </c:pt>
                <c:pt idx="1594" formatCode="0.0%">
                  <c:v>0.43968190854870753</c:v>
                </c:pt>
                <c:pt idx="1595" formatCode="0.0%">
                  <c:v>0.43188866799204761</c:v>
                </c:pt>
                <c:pt idx="1596" formatCode="0.0%">
                  <c:v>0.43681908548707754</c:v>
                </c:pt>
                <c:pt idx="1597" formatCode="0.0%">
                  <c:v>0.44739562624254459</c:v>
                </c:pt>
                <c:pt idx="1598" formatCode="0.0%">
                  <c:v>0.44739562624254459</c:v>
                </c:pt>
                <c:pt idx="1599" formatCode="0.0%">
                  <c:v>0.44739562624254459</c:v>
                </c:pt>
                <c:pt idx="1600" formatCode="0.0%">
                  <c:v>0.44405566600397633</c:v>
                </c:pt>
                <c:pt idx="1601" formatCode="0.0%">
                  <c:v>0.44500994035785285</c:v>
                </c:pt>
                <c:pt idx="1602" formatCode="0.0%">
                  <c:v>0.43021868787276335</c:v>
                </c:pt>
                <c:pt idx="1603" formatCode="0.0%">
                  <c:v>0.4194831013916499</c:v>
                </c:pt>
                <c:pt idx="1604" formatCode="0.0%">
                  <c:v>0.40763419483101387</c:v>
                </c:pt>
                <c:pt idx="1605" formatCode="0.0%">
                  <c:v>0.40763419483101387</c:v>
                </c:pt>
                <c:pt idx="1606" formatCode="0.0%">
                  <c:v>0.40763419483101387</c:v>
                </c:pt>
                <c:pt idx="1607" formatCode="0.0%">
                  <c:v>0.41972166998011945</c:v>
                </c:pt>
                <c:pt idx="1608" formatCode="0.0%">
                  <c:v>0.43268389662027829</c:v>
                </c:pt>
                <c:pt idx="1609" formatCode="0.0%">
                  <c:v>0.4303777335984097</c:v>
                </c:pt>
                <c:pt idx="1610" formatCode="0.0%">
                  <c:v>0.4303777335984097</c:v>
                </c:pt>
                <c:pt idx="1611" formatCode="0.0%">
                  <c:v>0.4303777335984097</c:v>
                </c:pt>
                <c:pt idx="1612" formatCode="0.0%">
                  <c:v>0.42489065606361831</c:v>
                </c:pt>
                <c:pt idx="1613" formatCode="0.0%">
                  <c:v>0.42489065606361831</c:v>
                </c:pt>
                <c:pt idx="1614" formatCode="0.0%">
                  <c:v>0.40930417495029814</c:v>
                </c:pt>
                <c:pt idx="1615" formatCode="0.0%">
                  <c:v>0.41932405566600378</c:v>
                </c:pt>
                <c:pt idx="1616" formatCode="0.0%">
                  <c:v>0.4288667992047715</c:v>
                </c:pt>
                <c:pt idx="1617" formatCode="0.0%">
                  <c:v>0.4288667992047715</c:v>
                </c:pt>
                <c:pt idx="1618" formatCode="0.0%">
                  <c:v>0.44103379721669966</c:v>
                </c:pt>
                <c:pt idx="1619" formatCode="0.0%">
                  <c:v>0.44103379721669966</c:v>
                </c:pt>
                <c:pt idx="1620" formatCode="0.0%">
                  <c:v>0.44103379721669966</c:v>
                </c:pt>
                <c:pt idx="1621" formatCode="0.0%">
                  <c:v>0.44103379721669966</c:v>
                </c:pt>
                <c:pt idx="1622" formatCode="0.0%">
                  <c:v>0.43530815109343934</c:v>
                </c:pt>
                <c:pt idx="1623" formatCode="0.0%">
                  <c:v>0.43499005964214688</c:v>
                </c:pt>
                <c:pt idx="1624" formatCode="0.0%">
                  <c:v>0.42425447316103371</c:v>
                </c:pt>
                <c:pt idx="1625" formatCode="0.0%">
                  <c:v>0.4120079522862824</c:v>
                </c:pt>
                <c:pt idx="1626" formatCode="0.0%">
                  <c:v>0.4120079522862824</c:v>
                </c:pt>
                <c:pt idx="1627" formatCode="0.0%">
                  <c:v>0.4120079522862824</c:v>
                </c:pt>
                <c:pt idx="1628" formatCode="0.0%">
                  <c:v>0.42123260437375765</c:v>
                </c:pt>
                <c:pt idx="1629" formatCode="0.0%">
                  <c:v>0.41860834990059631</c:v>
                </c:pt>
                <c:pt idx="1630" formatCode="0.0%">
                  <c:v>0.41940357852882698</c:v>
                </c:pt>
                <c:pt idx="1631" formatCode="0.0%">
                  <c:v>0.40302186878727642</c:v>
                </c:pt>
                <c:pt idx="1632" formatCode="0.0%">
                  <c:v>0.40588469184890641</c:v>
                </c:pt>
                <c:pt idx="1633" formatCode="0.0%">
                  <c:v>0.40588469184890641</c:v>
                </c:pt>
                <c:pt idx="1634" formatCode="0.0%">
                  <c:v>0.40588469184890641</c:v>
                </c:pt>
                <c:pt idx="1635" formatCode="0.0%">
                  <c:v>0.40349900596421462</c:v>
                </c:pt>
                <c:pt idx="1636" formatCode="0.0%">
                  <c:v>0.40946322067594421</c:v>
                </c:pt>
                <c:pt idx="1637" formatCode="0.0%">
                  <c:v>0.41168986083499021</c:v>
                </c:pt>
                <c:pt idx="1638" formatCode="0.0%">
                  <c:v>0.41065606361828999</c:v>
                </c:pt>
                <c:pt idx="1639" formatCode="0.0%">
                  <c:v>0.42242544731610338</c:v>
                </c:pt>
                <c:pt idx="1640" formatCode="0.0%">
                  <c:v>0.42242544731610338</c:v>
                </c:pt>
                <c:pt idx="1641" formatCode="0.0%">
                  <c:v>0.42242544731610338</c:v>
                </c:pt>
                <c:pt idx="1642" formatCode="0.0%">
                  <c:v>0.42178926441351877</c:v>
                </c:pt>
                <c:pt idx="1643" formatCode="0.0%">
                  <c:v>0.41526838966202773</c:v>
                </c:pt>
                <c:pt idx="1644" formatCode="0.0%">
                  <c:v>0.42218687872763411</c:v>
                </c:pt>
                <c:pt idx="1645" formatCode="0.0%">
                  <c:v>0.43570576540755468</c:v>
                </c:pt>
                <c:pt idx="1646" formatCode="0.0%">
                  <c:v>0.42815109343936369</c:v>
                </c:pt>
                <c:pt idx="1647" formatCode="0.0%">
                  <c:v>0.42815109343936369</c:v>
                </c:pt>
                <c:pt idx="1648" formatCode="0.0%">
                  <c:v>0.42815109343936369</c:v>
                </c:pt>
                <c:pt idx="1649" formatCode="0.0%">
                  <c:v>0.43085487077534795</c:v>
                </c:pt>
                <c:pt idx="1650" formatCode="0.0%">
                  <c:v>0.43554671968190861</c:v>
                </c:pt>
                <c:pt idx="1651" formatCode="0.0%">
                  <c:v>0.43268389662027829</c:v>
                </c:pt>
                <c:pt idx="1652" formatCode="0.0%">
                  <c:v>0.44246520874751466</c:v>
                </c:pt>
                <c:pt idx="1653" formatCode="0.0%">
                  <c:v>0.43475149105367789</c:v>
                </c:pt>
                <c:pt idx="1654" formatCode="0.0%">
                  <c:v>0.43475149105367789</c:v>
                </c:pt>
                <c:pt idx="1655" formatCode="0.0%">
                  <c:v>0.43475149105367789</c:v>
                </c:pt>
                <c:pt idx="1656" formatCode="0.0%">
                  <c:v>0.42687872763419504</c:v>
                </c:pt>
                <c:pt idx="1657" formatCode="0.0%">
                  <c:v>0.43689860834990069</c:v>
                </c:pt>
                <c:pt idx="1658" formatCode="0.0%">
                  <c:v>0.43061630218687869</c:v>
                </c:pt>
                <c:pt idx="1659" formatCode="0.0%">
                  <c:v>0.44739562624254459</c:v>
                </c:pt>
                <c:pt idx="1660" formatCode="0.0%">
                  <c:v>0.44182902584493033</c:v>
                </c:pt>
                <c:pt idx="1661" formatCode="0.0%">
                  <c:v>0.44182902584493033</c:v>
                </c:pt>
                <c:pt idx="1662" formatCode="0.0%">
                  <c:v>0.44182902584493033</c:v>
                </c:pt>
                <c:pt idx="1663" formatCode="0.0%">
                  <c:v>0.44000000000000028</c:v>
                </c:pt>
                <c:pt idx="1664" formatCode="0.0%">
                  <c:v>0.4272763419483101</c:v>
                </c:pt>
                <c:pt idx="1665" formatCode="0.0%">
                  <c:v>0.44834990059642138</c:v>
                </c:pt>
                <c:pt idx="1666" formatCode="0.0%">
                  <c:v>0.45598409542743551</c:v>
                </c:pt>
                <c:pt idx="1667" formatCode="0.0%">
                  <c:v>0.46115308151093443</c:v>
                </c:pt>
                <c:pt idx="1668" formatCode="0.0%">
                  <c:v>0.46115308151093443</c:v>
                </c:pt>
                <c:pt idx="1669" formatCode="0.0%">
                  <c:v>0.46115308151093443</c:v>
                </c:pt>
                <c:pt idx="1670" formatCode="0.0%">
                  <c:v>0.47037773359840968</c:v>
                </c:pt>
                <c:pt idx="1671" formatCode="0.0%">
                  <c:v>0.48787276341948316</c:v>
                </c:pt>
                <c:pt idx="1672" formatCode="0.0%">
                  <c:v>0.48994035785288276</c:v>
                </c:pt>
                <c:pt idx="1673" formatCode="0.0%">
                  <c:v>0.48713399602385693</c:v>
                </c:pt>
                <c:pt idx="1674" formatCode="0.0%">
                  <c:v>0.47960238568588465</c:v>
                </c:pt>
                <c:pt idx="1675" formatCode="0.0%">
                  <c:v>0.47960238568588465</c:v>
                </c:pt>
                <c:pt idx="1676" formatCode="0.0%">
                  <c:v>0.47960238568588465</c:v>
                </c:pt>
                <c:pt idx="1677" formatCode="0.0%">
                  <c:v>0.46544731610337975</c:v>
                </c:pt>
                <c:pt idx="1678" formatCode="0.0%">
                  <c:v>0.46481113320079515</c:v>
                </c:pt>
                <c:pt idx="1679" formatCode="0.0%">
                  <c:v>0.44755467196819099</c:v>
                </c:pt>
                <c:pt idx="1680" formatCode="0.0%">
                  <c:v>0.45964214711729623</c:v>
                </c:pt>
                <c:pt idx="1681" formatCode="0.0%">
                  <c:v>0.45558648111332017</c:v>
                </c:pt>
                <c:pt idx="1682" formatCode="0.0%">
                  <c:v>0.45558648111332017</c:v>
                </c:pt>
                <c:pt idx="1683" formatCode="0.0%">
                  <c:v>0.45558648111332017</c:v>
                </c:pt>
                <c:pt idx="1684" formatCode="0.0%">
                  <c:v>0.46234592445328021</c:v>
                </c:pt>
                <c:pt idx="1685" formatCode="0.0%">
                  <c:v>0.46194831013916515</c:v>
                </c:pt>
                <c:pt idx="1686" formatCode="0.0%">
                  <c:v>0.46671968190854868</c:v>
                </c:pt>
                <c:pt idx="1687" formatCode="0.0%">
                  <c:v>0.47284294234592467</c:v>
                </c:pt>
                <c:pt idx="1688" formatCode="0.0%">
                  <c:v>0.46465208747514908</c:v>
                </c:pt>
                <c:pt idx="1689" formatCode="0.0%">
                  <c:v>0.46465208747514908</c:v>
                </c:pt>
                <c:pt idx="1690" formatCode="0.0%">
                  <c:v>0.46465208747514908</c:v>
                </c:pt>
                <c:pt idx="1691" formatCode="0.0%">
                  <c:v>0.46982107355864799</c:v>
                </c:pt>
                <c:pt idx="1692" formatCode="0.0%">
                  <c:v>0.46982107355864799</c:v>
                </c:pt>
                <c:pt idx="1693" formatCode="0.0%">
                  <c:v>0.45868787276341949</c:v>
                </c:pt>
                <c:pt idx="1694" formatCode="0.0%">
                  <c:v>0.46648111332007941</c:v>
                </c:pt>
                <c:pt idx="1695" formatCode="0.0%">
                  <c:v>0.47093439363817086</c:v>
                </c:pt>
                <c:pt idx="1696" formatCode="0.0%">
                  <c:v>0.47093439363817086</c:v>
                </c:pt>
                <c:pt idx="1697" formatCode="0.0%">
                  <c:v>0.47093439363817086</c:v>
                </c:pt>
                <c:pt idx="1698" formatCode="0.0%">
                  <c:v>0.46902584493041727</c:v>
                </c:pt>
                <c:pt idx="1699" formatCode="0.0%">
                  <c:v>0.46306163021868796</c:v>
                </c:pt>
                <c:pt idx="1700" formatCode="0.0%">
                  <c:v>0.47125248508946299</c:v>
                </c:pt>
                <c:pt idx="1701" formatCode="0.0%">
                  <c:v>0.46075546719681909</c:v>
                </c:pt>
                <c:pt idx="1702" formatCode="0.0%">
                  <c:v>0.445089463220676</c:v>
                </c:pt>
                <c:pt idx="1703" formatCode="0.0%">
                  <c:v>0.445089463220676</c:v>
                </c:pt>
                <c:pt idx="1704" formatCode="0.0%">
                  <c:v>0.44250059642147105</c:v>
                </c:pt>
                <c:pt idx="1705" formatCode="0.0%">
                  <c:v>0.44278330019880741</c:v>
                </c:pt>
                <c:pt idx="1706" formatCode="0.0%">
                  <c:v>0.43300198807157048</c:v>
                </c:pt>
                <c:pt idx="1707" formatCode="0.0%">
                  <c:v>0.43705765407554681</c:v>
                </c:pt>
                <c:pt idx="1708" formatCode="0.0%">
                  <c:v>0.4400795228628232</c:v>
                </c:pt>
                <c:pt idx="1709" formatCode="0.0%">
                  <c:v>0.43475149105367789</c:v>
                </c:pt>
                <c:pt idx="1710" formatCode="0.0%">
                  <c:v>0.43475149105367789</c:v>
                </c:pt>
                <c:pt idx="1711" formatCode="0.0%">
                  <c:v>0.43475149105367789</c:v>
                </c:pt>
                <c:pt idx="1712" formatCode="0.0%">
                  <c:v>0.441431411530815</c:v>
                </c:pt>
                <c:pt idx="1713" formatCode="0.0%">
                  <c:v>0.43809145129224647</c:v>
                </c:pt>
                <c:pt idx="1714" formatCode="0.0%">
                  <c:v>0.46393638170974155</c:v>
                </c:pt>
                <c:pt idx="1715" formatCode="0.0%">
                  <c:v>0.46163021868787296</c:v>
                </c:pt>
                <c:pt idx="1716" formatCode="0.0%">
                  <c:v>0.45781312127236562</c:v>
                </c:pt>
                <c:pt idx="1717" formatCode="0.0%">
                  <c:v>0.45781312127236562</c:v>
                </c:pt>
                <c:pt idx="1718" formatCode="0.0%">
                  <c:v>0.45781312127236562</c:v>
                </c:pt>
                <c:pt idx="1719" formatCode="0.0%">
                  <c:v>0.45582504970178916</c:v>
                </c:pt>
                <c:pt idx="1720" formatCode="0.0%">
                  <c:v>0.43443339960238575</c:v>
                </c:pt>
                <c:pt idx="1721" formatCode="0.0%">
                  <c:v>0.43363817097415508</c:v>
                </c:pt>
                <c:pt idx="1722" formatCode="0.0%">
                  <c:v>0.4526441351888667</c:v>
                </c:pt>
                <c:pt idx="1723" formatCode="0.0%">
                  <c:v>0.44612326043737566</c:v>
                </c:pt>
                <c:pt idx="1724" formatCode="0.0%">
                  <c:v>0.44612326043737566</c:v>
                </c:pt>
                <c:pt idx="1725" formatCode="0.0%">
                  <c:v>0.44612326043737566</c:v>
                </c:pt>
                <c:pt idx="1726" formatCode="0.0%">
                  <c:v>0.44286282306163033</c:v>
                </c:pt>
                <c:pt idx="1727" formatCode="0.0%">
                  <c:v>0.44469184890656066</c:v>
                </c:pt>
                <c:pt idx="1728" formatCode="0.0%">
                  <c:v>0.44039761431411534</c:v>
                </c:pt>
                <c:pt idx="1729" formatCode="0.0%">
                  <c:v>0.43347912524850896</c:v>
                </c:pt>
                <c:pt idx="1730" formatCode="0.0%">
                  <c:v>0.43284294234592463</c:v>
                </c:pt>
                <c:pt idx="1731" formatCode="0.0%">
                  <c:v>0.43284294234592463</c:v>
                </c:pt>
                <c:pt idx="1732" formatCode="0.0%">
                  <c:v>0.43284294234592463</c:v>
                </c:pt>
                <c:pt idx="1733" formatCode="0.0%">
                  <c:v>0.43586481113320075</c:v>
                </c:pt>
                <c:pt idx="1734" formatCode="0.0%">
                  <c:v>0.44695785288270373</c:v>
                </c:pt>
                <c:pt idx="1735" formatCode="0.0%">
                  <c:v>0.44874751491053699</c:v>
                </c:pt>
                <c:pt idx="1736" formatCode="0.0%">
                  <c:v>0.45956262425447308</c:v>
                </c:pt>
                <c:pt idx="1737" formatCode="0.0%">
                  <c:v>0.46854870775347907</c:v>
                </c:pt>
                <c:pt idx="1738" formatCode="0.0%">
                  <c:v>0.46854870775347907</c:v>
                </c:pt>
                <c:pt idx="1739" formatCode="0.0%">
                  <c:v>0.46854870775347907</c:v>
                </c:pt>
                <c:pt idx="1740" formatCode="0.0%">
                  <c:v>0.47260437375745512</c:v>
                </c:pt>
                <c:pt idx="1741" formatCode="0.0%">
                  <c:v>0.47228628230616293</c:v>
                </c:pt>
                <c:pt idx="1742" formatCode="0.0%">
                  <c:v>0.47618290258449292</c:v>
                </c:pt>
                <c:pt idx="1743" formatCode="0.0%">
                  <c:v>0.47833001988071572</c:v>
                </c:pt>
                <c:pt idx="1744" formatCode="0.0%">
                  <c:v>0.4816699801192843</c:v>
                </c:pt>
                <c:pt idx="1745" formatCode="0.0%">
                  <c:v>0.4816699801192843</c:v>
                </c:pt>
                <c:pt idx="1746" formatCode="0.0%">
                  <c:v>0.4816699801192843</c:v>
                </c:pt>
                <c:pt idx="1747" formatCode="0.0%">
                  <c:v>0.46385685884691841</c:v>
                </c:pt>
                <c:pt idx="1748" formatCode="0.0%">
                  <c:v>0.45495029821073557</c:v>
                </c:pt>
                <c:pt idx="1749" formatCode="0.0%">
                  <c:v>0.47069582504970187</c:v>
                </c:pt>
                <c:pt idx="1750" formatCode="0.0%">
                  <c:v>0.45932405566600382</c:v>
                </c:pt>
                <c:pt idx="1751" formatCode="0.0%">
                  <c:v>0.45224652087475137</c:v>
                </c:pt>
                <c:pt idx="1752" formatCode="0.0%">
                  <c:v>0.45224652087475137</c:v>
                </c:pt>
                <c:pt idx="1753" formatCode="0.0%">
                  <c:v>0.45224652087475137</c:v>
                </c:pt>
                <c:pt idx="1754" formatCode="0.0%">
                  <c:v>0.4710934393638172</c:v>
                </c:pt>
                <c:pt idx="1755" formatCode="0.0%">
                  <c:v>0.48111332007952284</c:v>
                </c:pt>
                <c:pt idx="1756" formatCode="0.0%">
                  <c:v>0.4866003976143139</c:v>
                </c:pt>
                <c:pt idx="1757" formatCode="0.0%">
                  <c:v>0.4858846918489067</c:v>
                </c:pt>
                <c:pt idx="1758" formatCode="0.0%">
                  <c:v>0.49534791252485066</c:v>
                </c:pt>
                <c:pt idx="1759" formatCode="0.0%">
                  <c:v>0.49534791252485066</c:v>
                </c:pt>
                <c:pt idx="1760" formatCode="0.0%">
                  <c:v>0.49534791252485066</c:v>
                </c:pt>
                <c:pt idx="1761" formatCode="0.0%">
                  <c:v>0.49964214711729626</c:v>
                </c:pt>
                <c:pt idx="1762" formatCode="0.0%">
                  <c:v>0.49057654075546708</c:v>
                </c:pt>
                <c:pt idx="1763" formatCode="0.0%">
                  <c:v>0.49375745526838954</c:v>
                </c:pt>
                <c:pt idx="1764" formatCode="0.0%">
                  <c:v>0.48310139165009958</c:v>
                </c:pt>
                <c:pt idx="1765" formatCode="0.0%">
                  <c:v>0.475411769383698</c:v>
                </c:pt>
                <c:pt idx="1766" formatCode="0.0%">
                  <c:v>0.475411769383698</c:v>
                </c:pt>
                <c:pt idx="1767" formatCode="0.0%">
                  <c:v>0.475411769383698</c:v>
                </c:pt>
                <c:pt idx="1768" formatCode="0.0%">
                  <c:v>0.46711729622266435</c:v>
                </c:pt>
                <c:pt idx="1769" formatCode="0.0%">
                  <c:v>0.46608349900596435</c:v>
                </c:pt>
                <c:pt idx="1770" formatCode="0.0%">
                  <c:v>0.46783300198807154</c:v>
                </c:pt>
                <c:pt idx="1771" formatCode="0.0%">
                  <c:v>0.44827037773359846</c:v>
                </c:pt>
                <c:pt idx="1772" formatCode="0.0%">
                  <c:v>0.43801192842942355</c:v>
                </c:pt>
                <c:pt idx="1773" formatCode="0.0%">
                  <c:v>0.43801192842942355</c:v>
                </c:pt>
                <c:pt idx="1774" formatCode="0.0%">
                  <c:v>0.43801192842942355</c:v>
                </c:pt>
                <c:pt idx="1775" formatCode="0.0%">
                  <c:v>0.45367793240556664</c:v>
                </c:pt>
                <c:pt idx="1776" formatCode="0.0%">
                  <c:v>0.45789264413518876</c:v>
                </c:pt>
                <c:pt idx="1777" formatCode="0.0%">
                  <c:v>0.46449304174950301</c:v>
                </c:pt>
                <c:pt idx="1778" formatCode="0.0%">
                  <c:v>0.45192842942345945</c:v>
                </c:pt>
                <c:pt idx="1779" formatCode="0.0%">
                  <c:v>0.43769383697813113</c:v>
                </c:pt>
                <c:pt idx="1780" formatCode="0.0%">
                  <c:v>0.43769383697813113</c:v>
                </c:pt>
                <c:pt idx="1781" formatCode="0.0%">
                  <c:v>0.43769383697813113</c:v>
                </c:pt>
                <c:pt idx="1782" formatCode="0.0%">
                  <c:v>0.43196819085487076</c:v>
                </c:pt>
                <c:pt idx="1783" formatCode="0.0%">
                  <c:v>0.4004771371769385</c:v>
                </c:pt>
                <c:pt idx="1784" formatCode="0.0%">
                  <c:v>0.40763419483101387</c:v>
                </c:pt>
                <c:pt idx="1785" formatCode="0.0%">
                  <c:v>0.42322067594433405</c:v>
                </c:pt>
                <c:pt idx="1786" formatCode="0.0%">
                  <c:v>0.40071570576540749</c:v>
                </c:pt>
                <c:pt idx="1787" formatCode="0.0%">
                  <c:v>0.40071570576540749</c:v>
                </c:pt>
                <c:pt idx="1788" formatCode="0.0%">
                  <c:v>0.40071570576540749</c:v>
                </c:pt>
                <c:pt idx="1789" formatCode="0.0%">
                  <c:v>0.40946322067594421</c:v>
                </c:pt>
                <c:pt idx="1790" formatCode="0.0%">
                  <c:v>0.41439363817097447</c:v>
                </c:pt>
                <c:pt idx="1791" formatCode="0.0%">
                  <c:v>0.43244532803180902</c:v>
                </c:pt>
                <c:pt idx="1792" formatCode="0.0%">
                  <c:v>0.43236580516898615</c:v>
                </c:pt>
                <c:pt idx="1793" formatCode="0.0%">
                  <c:v>0.43880715705765427</c:v>
                </c:pt>
                <c:pt idx="1794" formatCode="0.0%">
                  <c:v>0.43880715705765427</c:v>
                </c:pt>
                <c:pt idx="1795" formatCode="0.0%">
                  <c:v>0.43774282306163004</c:v>
                </c:pt>
                <c:pt idx="1796" formatCode="0.0%">
                  <c:v>0.43125248508946329</c:v>
                </c:pt>
                <c:pt idx="1797" formatCode="0.0%">
                  <c:v>0.43013916500994043</c:v>
                </c:pt>
                <c:pt idx="1798" formatCode="0.0%">
                  <c:v>0.43196819085487076</c:v>
                </c:pt>
                <c:pt idx="1799" formatCode="0.0%">
                  <c:v>0.43634194831013928</c:v>
                </c:pt>
                <c:pt idx="1800" formatCode="0.0%">
                  <c:v>0.44278330019880741</c:v>
                </c:pt>
                <c:pt idx="1801" formatCode="0.0%">
                  <c:v>0.44278330019880741</c:v>
                </c:pt>
                <c:pt idx="1802" formatCode="0.0%">
                  <c:v>0.44278330019880741</c:v>
                </c:pt>
                <c:pt idx="1803" formatCode="0.0%">
                  <c:v>0.43459244532803182</c:v>
                </c:pt>
                <c:pt idx="1804" formatCode="0.0%">
                  <c:v>0.43204771371769396</c:v>
                </c:pt>
                <c:pt idx="1805" formatCode="0.0%">
                  <c:v>0.42918489065606363</c:v>
                </c:pt>
                <c:pt idx="1806" formatCode="0.0%">
                  <c:v>0.42719681908548723</c:v>
                </c:pt>
                <c:pt idx="1807" formatCode="0.0%">
                  <c:v>0.43284294234592463</c:v>
                </c:pt>
                <c:pt idx="1808" formatCode="0.0%">
                  <c:v>0.43284294234592463</c:v>
                </c:pt>
                <c:pt idx="1809" formatCode="0.0%">
                  <c:v>0.43284294234592463</c:v>
                </c:pt>
                <c:pt idx="1810" formatCode="0.0%">
                  <c:v>0.42393638170974157</c:v>
                </c:pt>
                <c:pt idx="1811" formatCode="0.0%">
                  <c:v>0.41646123260437379</c:v>
                </c:pt>
                <c:pt idx="1812" formatCode="0.0%">
                  <c:v>0.42536779324055657</c:v>
                </c:pt>
                <c:pt idx="1813" formatCode="0.0%">
                  <c:v>0.43276341948310149</c:v>
                </c:pt>
                <c:pt idx="1814" formatCode="0.0%">
                  <c:v>0.43506958250497008</c:v>
                </c:pt>
                <c:pt idx="1815" formatCode="0.0%">
                  <c:v>0.43506958250497008</c:v>
                </c:pt>
                <c:pt idx="1816" formatCode="0.0%">
                  <c:v>0.43506958250497008</c:v>
                </c:pt>
                <c:pt idx="1817" formatCode="0.0%">
                  <c:v>0.44000000000000028</c:v>
                </c:pt>
                <c:pt idx="1818" formatCode="0.0%">
                  <c:v>0.44190854870775353</c:v>
                </c:pt>
                <c:pt idx="1819" formatCode="0.0%">
                  <c:v>0.44190854870775353</c:v>
                </c:pt>
                <c:pt idx="1820" formatCode="0.0%">
                  <c:v>0.44190854870775353</c:v>
                </c:pt>
                <c:pt idx="1821" formatCode="0.0%">
                  <c:v>0.44190854870775353</c:v>
                </c:pt>
                <c:pt idx="1822" formatCode="0.0%">
                  <c:v>0.44190854870775353</c:v>
                </c:pt>
                <c:pt idx="1823" formatCode="0.0%">
                  <c:v>0.44190854870775353</c:v>
                </c:pt>
                <c:pt idx="1824" formatCode="0.0%">
                  <c:v>0.44612326043737566</c:v>
                </c:pt>
                <c:pt idx="1825" formatCode="0.0%">
                  <c:v>0.44660039761431392</c:v>
                </c:pt>
                <c:pt idx="1826" formatCode="0.0%">
                  <c:v>0.44047268389662037</c:v>
                </c:pt>
              </c:numCache>
            </c:numRef>
          </c:val>
          <c:smooth val="0"/>
          <c:extLst>
            <c:ext xmlns:c16="http://schemas.microsoft.com/office/drawing/2014/chart" uri="{C3380CC4-5D6E-409C-BE32-E72D297353CC}">
              <c16:uniqueId val="{00000002-C592-43EE-8D08-8400729D0F8F}"/>
            </c:ext>
          </c:extLst>
        </c:ser>
        <c:ser>
          <c:idx val="3"/>
          <c:order val="2"/>
          <c:tx>
            <c:strRef>
              <c:f>Sheet1!$E$1</c:f>
              <c:strCache>
                <c:ptCount val="1"/>
                <c:pt idx="0">
                  <c:v>Peer #3</c:v>
                </c:pt>
              </c:strCache>
            </c:strRef>
          </c:tx>
          <c:spPr>
            <a:ln w="12700" cap="rnd">
              <a:solidFill>
                <a:srgbClr val="91A0B2"/>
              </a:solidFill>
              <a:round/>
            </a:ln>
            <a:effectLst/>
          </c:spPr>
          <c:marker>
            <c:symbol val="none"/>
          </c:marker>
          <c:cat>
            <c:numRef>
              <c:f>Sheet1!$A$2:$A$2069</c:f>
              <c:numCache>
                <c:formatCode>d\-mmm\-yy</c:formatCode>
                <c:ptCount val="2068"/>
                <c:pt idx="0">
                  <c:v>44196</c:v>
                </c:pt>
                <c:pt idx="1">
                  <c:v>44197</c:v>
                </c:pt>
                <c:pt idx="2">
                  <c:v>44198</c:v>
                </c:pt>
                <c:pt idx="3">
                  <c:v>44199</c:v>
                </c:pt>
                <c:pt idx="4">
                  <c:v>44200</c:v>
                </c:pt>
                <c:pt idx="5">
                  <c:v>44201</c:v>
                </c:pt>
                <c:pt idx="6">
                  <c:v>44202</c:v>
                </c:pt>
                <c:pt idx="7">
                  <c:v>44203</c:v>
                </c:pt>
                <c:pt idx="8">
                  <c:v>44204</c:v>
                </c:pt>
                <c:pt idx="9">
                  <c:v>44205</c:v>
                </c:pt>
                <c:pt idx="10">
                  <c:v>44206</c:v>
                </c:pt>
                <c:pt idx="11">
                  <c:v>44207</c:v>
                </c:pt>
                <c:pt idx="12">
                  <c:v>44208</c:v>
                </c:pt>
                <c:pt idx="13">
                  <c:v>44209</c:v>
                </c:pt>
                <c:pt idx="14">
                  <c:v>44210</c:v>
                </c:pt>
                <c:pt idx="15">
                  <c:v>44211</c:v>
                </c:pt>
                <c:pt idx="16">
                  <c:v>44212</c:v>
                </c:pt>
                <c:pt idx="17">
                  <c:v>44213</c:v>
                </c:pt>
                <c:pt idx="18">
                  <c:v>44214</c:v>
                </c:pt>
                <c:pt idx="19">
                  <c:v>44215</c:v>
                </c:pt>
                <c:pt idx="20">
                  <c:v>44216</c:v>
                </c:pt>
                <c:pt idx="21">
                  <c:v>44217</c:v>
                </c:pt>
                <c:pt idx="22">
                  <c:v>44218</c:v>
                </c:pt>
                <c:pt idx="23">
                  <c:v>44219</c:v>
                </c:pt>
                <c:pt idx="24">
                  <c:v>44220</c:v>
                </c:pt>
                <c:pt idx="25">
                  <c:v>44221</c:v>
                </c:pt>
                <c:pt idx="26">
                  <c:v>44222</c:v>
                </c:pt>
                <c:pt idx="27">
                  <c:v>44223</c:v>
                </c:pt>
                <c:pt idx="28">
                  <c:v>44224</c:v>
                </c:pt>
                <c:pt idx="29">
                  <c:v>44225</c:v>
                </c:pt>
                <c:pt idx="30">
                  <c:v>44226</c:v>
                </c:pt>
                <c:pt idx="31">
                  <c:v>44227</c:v>
                </c:pt>
                <c:pt idx="32">
                  <c:v>44228</c:v>
                </c:pt>
                <c:pt idx="33">
                  <c:v>44229</c:v>
                </c:pt>
                <c:pt idx="34">
                  <c:v>44230</c:v>
                </c:pt>
                <c:pt idx="35">
                  <c:v>44231</c:v>
                </c:pt>
                <c:pt idx="36">
                  <c:v>44232</c:v>
                </c:pt>
                <c:pt idx="37">
                  <c:v>44233</c:v>
                </c:pt>
                <c:pt idx="38">
                  <c:v>44234</c:v>
                </c:pt>
                <c:pt idx="39">
                  <c:v>44235</c:v>
                </c:pt>
                <c:pt idx="40">
                  <c:v>44236</c:v>
                </c:pt>
                <c:pt idx="41">
                  <c:v>44237</c:v>
                </c:pt>
                <c:pt idx="42">
                  <c:v>44238</c:v>
                </c:pt>
                <c:pt idx="43">
                  <c:v>44239</c:v>
                </c:pt>
                <c:pt idx="44">
                  <c:v>44240</c:v>
                </c:pt>
                <c:pt idx="45">
                  <c:v>44241</c:v>
                </c:pt>
                <c:pt idx="46">
                  <c:v>44242</c:v>
                </c:pt>
                <c:pt idx="47">
                  <c:v>44243</c:v>
                </c:pt>
                <c:pt idx="48">
                  <c:v>44244</c:v>
                </c:pt>
                <c:pt idx="49">
                  <c:v>44245</c:v>
                </c:pt>
                <c:pt idx="50">
                  <c:v>44246</c:v>
                </c:pt>
                <c:pt idx="51">
                  <c:v>44247</c:v>
                </c:pt>
                <c:pt idx="52">
                  <c:v>44248</c:v>
                </c:pt>
                <c:pt idx="53">
                  <c:v>44249</c:v>
                </c:pt>
                <c:pt idx="54">
                  <c:v>44250</c:v>
                </c:pt>
                <c:pt idx="55">
                  <c:v>44251</c:v>
                </c:pt>
                <c:pt idx="56">
                  <c:v>44252</c:v>
                </c:pt>
                <c:pt idx="57">
                  <c:v>44253</c:v>
                </c:pt>
                <c:pt idx="58">
                  <c:v>44254</c:v>
                </c:pt>
                <c:pt idx="59">
                  <c:v>44255</c:v>
                </c:pt>
                <c:pt idx="60">
                  <c:v>44256</c:v>
                </c:pt>
                <c:pt idx="61">
                  <c:v>44257</c:v>
                </c:pt>
                <c:pt idx="62">
                  <c:v>44258</c:v>
                </c:pt>
                <c:pt idx="63">
                  <c:v>44259</c:v>
                </c:pt>
                <c:pt idx="64">
                  <c:v>44260</c:v>
                </c:pt>
                <c:pt idx="65">
                  <c:v>44261</c:v>
                </c:pt>
                <c:pt idx="66">
                  <c:v>44262</c:v>
                </c:pt>
                <c:pt idx="67">
                  <c:v>44263</c:v>
                </c:pt>
                <c:pt idx="68">
                  <c:v>44264</c:v>
                </c:pt>
                <c:pt idx="69">
                  <c:v>44265</c:v>
                </c:pt>
                <c:pt idx="70">
                  <c:v>44266</c:v>
                </c:pt>
                <c:pt idx="71">
                  <c:v>44267</c:v>
                </c:pt>
                <c:pt idx="72">
                  <c:v>44268</c:v>
                </c:pt>
                <c:pt idx="73">
                  <c:v>44269</c:v>
                </c:pt>
                <c:pt idx="74">
                  <c:v>44270</c:v>
                </c:pt>
                <c:pt idx="75">
                  <c:v>44271</c:v>
                </c:pt>
                <c:pt idx="76">
                  <c:v>44272</c:v>
                </c:pt>
                <c:pt idx="77">
                  <c:v>44273</c:v>
                </c:pt>
                <c:pt idx="78">
                  <c:v>44274</c:v>
                </c:pt>
                <c:pt idx="79">
                  <c:v>44275</c:v>
                </c:pt>
                <c:pt idx="80">
                  <c:v>44276</c:v>
                </c:pt>
                <c:pt idx="81">
                  <c:v>44277</c:v>
                </c:pt>
                <c:pt idx="82">
                  <c:v>44278</c:v>
                </c:pt>
                <c:pt idx="83">
                  <c:v>44279</c:v>
                </c:pt>
                <c:pt idx="84">
                  <c:v>44280</c:v>
                </c:pt>
                <c:pt idx="85">
                  <c:v>44281</c:v>
                </c:pt>
                <c:pt idx="86">
                  <c:v>44282</c:v>
                </c:pt>
                <c:pt idx="87">
                  <c:v>44283</c:v>
                </c:pt>
                <c:pt idx="88">
                  <c:v>44284</c:v>
                </c:pt>
                <c:pt idx="89">
                  <c:v>44285</c:v>
                </c:pt>
                <c:pt idx="90">
                  <c:v>44286</c:v>
                </c:pt>
                <c:pt idx="91">
                  <c:v>44287</c:v>
                </c:pt>
                <c:pt idx="92">
                  <c:v>44288</c:v>
                </c:pt>
                <c:pt idx="93">
                  <c:v>44289</c:v>
                </c:pt>
                <c:pt idx="94">
                  <c:v>44290</c:v>
                </c:pt>
                <c:pt idx="95">
                  <c:v>44291</c:v>
                </c:pt>
                <c:pt idx="96">
                  <c:v>44292</c:v>
                </c:pt>
                <c:pt idx="97">
                  <c:v>44293</c:v>
                </c:pt>
                <c:pt idx="98">
                  <c:v>44294</c:v>
                </c:pt>
                <c:pt idx="99">
                  <c:v>44295</c:v>
                </c:pt>
                <c:pt idx="100">
                  <c:v>44296</c:v>
                </c:pt>
                <c:pt idx="101">
                  <c:v>44297</c:v>
                </c:pt>
                <c:pt idx="102">
                  <c:v>44298</c:v>
                </c:pt>
                <c:pt idx="103">
                  <c:v>44299</c:v>
                </c:pt>
                <c:pt idx="104">
                  <c:v>44300</c:v>
                </c:pt>
                <c:pt idx="105">
                  <c:v>44301</c:v>
                </c:pt>
                <c:pt idx="106">
                  <c:v>44302</c:v>
                </c:pt>
                <c:pt idx="107">
                  <c:v>44303</c:v>
                </c:pt>
                <c:pt idx="108">
                  <c:v>44304</c:v>
                </c:pt>
                <c:pt idx="109">
                  <c:v>44305</c:v>
                </c:pt>
                <c:pt idx="110">
                  <c:v>44306</c:v>
                </c:pt>
                <c:pt idx="111">
                  <c:v>44307</c:v>
                </c:pt>
                <c:pt idx="112">
                  <c:v>44308</c:v>
                </c:pt>
                <c:pt idx="113">
                  <c:v>44309</c:v>
                </c:pt>
                <c:pt idx="114">
                  <c:v>44310</c:v>
                </c:pt>
                <c:pt idx="115">
                  <c:v>44311</c:v>
                </c:pt>
                <c:pt idx="116">
                  <c:v>44312</c:v>
                </c:pt>
                <c:pt idx="117">
                  <c:v>44313</c:v>
                </c:pt>
                <c:pt idx="118">
                  <c:v>44314</c:v>
                </c:pt>
                <c:pt idx="119">
                  <c:v>44315</c:v>
                </c:pt>
                <c:pt idx="120">
                  <c:v>44316</c:v>
                </c:pt>
                <c:pt idx="121">
                  <c:v>44317</c:v>
                </c:pt>
                <c:pt idx="122">
                  <c:v>44318</c:v>
                </c:pt>
                <c:pt idx="123">
                  <c:v>44319</c:v>
                </c:pt>
                <c:pt idx="124">
                  <c:v>44320</c:v>
                </c:pt>
                <c:pt idx="125">
                  <c:v>44321</c:v>
                </c:pt>
                <c:pt idx="126">
                  <c:v>44322</c:v>
                </c:pt>
                <c:pt idx="127">
                  <c:v>44323</c:v>
                </c:pt>
                <c:pt idx="128">
                  <c:v>44324</c:v>
                </c:pt>
                <c:pt idx="129">
                  <c:v>44325</c:v>
                </c:pt>
                <c:pt idx="130">
                  <c:v>44326</c:v>
                </c:pt>
                <c:pt idx="131">
                  <c:v>44327</c:v>
                </c:pt>
                <c:pt idx="132">
                  <c:v>44328</c:v>
                </c:pt>
                <c:pt idx="133">
                  <c:v>44329</c:v>
                </c:pt>
                <c:pt idx="134">
                  <c:v>44330</c:v>
                </c:pt>
                <c:pt idx="135">
                  <c:v>44331</c:v>
                </c:pt>
                <c:pt idx="136">
                  <c:v>44332</c:v>
                </c:pt>
                <c:pt idx="137">
                  <c:v>44333</c:v>
                </c:pt>
                <c:pt idx="138">
                  <c:v>44334</c:v>
                </c:pt>
                <c:pt idx="139">
                  <c:v>44335</c:v>
                </c:pt>
                <c:pt idx="140">
                  <c:v>44336</c:v>
                </c:pt>
                <c:pt idx="141">
                  <c:v>44337</c:v>
                </c:pt>
                <c:pt idx="142">
                  <c:v>44338</c:v>
                </c:pt>
                <c:pt idx="143">
                  <c:v>44339</c:v>
                </c:pt>
                <c:pt idx="144">
                  <c:v>44340</c:v>
                </c:pt>
                <c:pt idx="145">
                  <c:v>44341</c:v>
                </c:pt>
                <c:pt idx="146">
                  <c:v>44342</c:v>
                </c:pt>
                <c:pt idx="147">
                  <c:v>44343</c:v>
                </c:pt>
                <c:pt idx="148">
                  <c:v>44344</c:v>
                </c:pt>
                <c:pt idx="149">
                  <c:v>44345</c:v>
                </c:pt>
                <c:pt idx="150">
                  <c:v>44346</c:v>
                </c:pt>
                <c:pt idx="151">
                  <c:v>44347</c:v>
                </c:pt>
                <c:pt idx="152">
                  <c:v>44348</c:v>
                </c:pt>
                <c:pt idx="153">
                  <c:v>44349</c:v>
                </c:pt>
                <c:pt idx="154">
                  <c:v>44350</c:v>
                </c:pt>
                <c:pt idx="155">
                  <c:v>44351</c:v>
                </c:pt>
                <c:pt idx="156">
                  <c:v>44352</c:v>
                </c:pt>
                <c:pt idx="157">
                  <c:v>44353</c:v>
                </c:pt>
                <c:pt idx="158">
                  <c:v>44354</c:v>
                </c:pt>
                <c:pt idx="159">
                  <c:v>44355</c:v>
                </c:pt>
                <c:pt idx="160">
                  <c:v>44356</c:v>
                </c:pt>
                <c:pt idx="161">
                  <c:v>44357</c:v>
                </c:pt>
                <c:pt idx="162">
                  <c:v>44358</c:v>
                </c:pt>
                <c:pt idx="163">
                  <c:v>44359</c:v>
                </c:pt>
                <c:pt idx="164">
                  <c:v>44360</c:v>
                </c:pt>
                <c:pt idx="165">
                  <c:v>44361</c:v>
                </c:pt>
                <c:pt idx="166">
                  <c:v>44362</c:v>
                </c:pt>
                <c:pt idx="167">
                  <c:v>44363</c:v>
                </c:pt>
                <c:pt idx="168">
                  <c:v>44364</c:v>
                </c:pt>
                <c:pt idx="169">
                  <c:v>44365</c:v>
                </c:pt>
                <c:pt idx="170">
                  <c:v>44366</c:v>
                </c:pt>
                <c:pt idx="171">
                  <c:v>44367</c:v>
                </c:pt>
                <c:pt idx="172">
                  <c:v>44368</c:v>
                </c:pt>
                <c:pt idx="173">
                  <c:v>44369</c:v>
                </c:pt>
                <c:pt idx="174">
                  <c:v>44370</c:v>
                </c:pt>
                <c:pt idx="175">
                  <c:v>44371</c:v>
                </c:pt>
                <c:pt idx="176">
                  <c:v>44372</c:v>
                </c:pt>
                <c:pt idx="177">
                  <c:v>44373</c:v>
                </c:pt>
                <c:pt idx="178">
                  <c:v>44374</c:v>
                </c:pt>
                <c:pt idx="179">
                  <c:v>44375</c:v>
                </c:pt>
                <c:pt idx="180">
                  <c:v>44376</c:v>
                </c:pt>
                <c:pt idx="181">
                  <c:v>44377</c:v>
                </c:pt>
                <c:pt idx="182">
                  <c:v>44378</c:v>
                </c:pt>
                <c:pt idx="183">
                  <c:v>44379</c:v>
                </c:pt>
                <c:pt idx="184">
                  <c:v>44380</c:v>
                </c:pt>
                <c:pt idx="185">
                  <c:v>44381</c:v>
                </c:pt>
                <c:pt idx="186">
                  <c:v>44382</c:v>
                </c:pt>
                <c:pt idx="187">
                  <c:v>44383</c:v>
                </c:pt>
                <c:pt idx="188">
                  <c:v>44384</c:v>
                </c:pt>
                <c:pt idx="189">
                  <c:v>44385</c:v>
                </c:pt>
                <c:pt idx="190">
                  <c:v>44386</c:v>
                </c:pt>
                <c:pt idx="191">
                  <c:v>44387</c:v>
                </c:pt>
                <c:pt idx="192">
                  <c:v>44388</c:v>
                </c:pt>
                <c:pt idx="193">
                  <c:v>44389</c:v>
                </c:pt>
                <c:pt idx="194">
                  <c:v>44390</c:v>
                </c:pt>
                <c:pt idx="195">
                  <c:v>44391</c:v>
                </c:pt>
                <c:pt idx="196">
                  <c:v>44392</c:v>
                </c:pt>
                <c:pt idx="197">
                  <c:v>44393</c:v>
                </c:pt>
                <c:pt idx="198">
                  <c:v>44394</c:v>
                </c:pt>
                <c:pt idx="199">
                  <c:v>44395</c:v>
                </c:pt>
                <c:pt idx="200">
                  <c:v>44396</c:v>
                </c:pt>
                <c:pt idx="201">
                  <c:v>44397</c:v>
                </c:pt>
                <c:pt idx="202">
                  <c:v>44398</c:v>
                </c:pt>
                <c:pt idx="203">
                  <c:v>44399</c:v>
                </c:pt>
                <c:pt idx="204">
                  <c:v>44400</c:v>
                </c:pt>
                <c:pt idx="205">
                  <c:v>44401</c:v>
                </c:pt>
                <c:pt idx="206">
                  <c:v>44402</c:v>
                </c:pt>
                <c:pt idx="207">
                  <c:v>44403</c:v>
                </c:pt>
                <c:pt idx="208">
                  <c:v>44404</c:v>
                </c:pt>
                <c:pt idx="209">
                  <c:v>44405</c:v>
                </c:pt>
                <c:pt idx="210">
                  <c:v>44406</c:v>
                </c:pt>
                <c:pt idx="211">
                  <c:v>44407</c:v>
                </c:pt>
                <c:pt idx="212">
                  <c:v>44408</c:v>
                </c:pt>
                <c:pt idx="213">
                  <c:v>44409</c:v>
                </c:pt>
                <c:pt idx="214">
                  <c:v>44410</c:v>
                </c:pt>
                <c:pt idx="215">
                  <c:v>44411</c:v>
                </c:pt>
                <c:pt idx="216">
                  <c:v>44412</c:v>
                </c:pt>
                <c:pt idx="217">
                  <c:v>44413</c:v>
                </c:pt>
                <c:pt idx="218">
                  <c:v>44414</c:v>
                </c:pt>
                <c:pt idx="219">
                  <c:v>44415</c:v>
                </c:pt>
                <c:pt idx="220">
                  <c:v>44416</c:v>
                </c:pt>
                <c:pt idx="221">
                  <c:v>44417</c:v>
                </c:pt>
                <c:pt idx="222">
                  <c:v>44418</c:v>
                </c:pt>
                <c:pt idx="223">
                  <c:v>44419</c:v>
                </c:pt>
                <c:pt idx="224">
                  <c:v>44420</c:v>
                </c:pt>
                <c:pt idx="225">
                  <c:v>44421</c:v>
                </c:pt>
                <c:pt idx="226">
                  <c:v>44422</c:v>
                </c:pt>
                <c:pt idx="227">
                  <c:v>44423</c:v>
                </c:pt>
                <c:pt idx="228">
                  <c:v>44424</c:v>
                </c:pt>
                <c:pt idx="229">
                  <c:v>44425</c:v>
                </c:pt>
                <c:pt idx="230">
                  <c:v>44426</c:v>
                </c:pt>
                <c:pt idx="231">
                  <c:v>44427</c:v>
                </c:pt>
                <c:pt idx="232">
                  <c:v>44428</c:v>
                </c:pt>
                <c:pt idx="233">
                  <c:v>44429</c:v>
                </c:pt>
                <c:pt idx="234">
                  <c:v>44430</c:v>
                </c:pt>
                <c:pt idx="235">
                  <c:v>44431</c:v>
                </c:pt>
                <c:pt idx="236">
                  <c:v>44432</c:v>
                </c:pt>
                <c:pt idx="237">
                  <c:v>44433</c:v>
                </c:pt>
                <c:pt idx="238">
                  <c:v>44434</c:v>
                </c:pt>
                <c:pt idx="239">
                  <c:v>44435</c:v>
                </c:pt>
                <c:pt idx="240">
                  <c:v>44436</c:v>
                </c:pt>
                <c:pt idx="241">
                  <c:v>44437</c:v>
                </c:pt>
                <c:pt idx="242">
                  <c:v>44438</c:v>
                </c:pt>
                <c:pt idx="243">
                  <c:v>44439</c:v>
                </c:pt>
                <c:pt idx="244">
                  <c:v>44440</c:v>
                </c:pt>
                <c:pt idx="245">
                  <c:v>44441</c:v>
                </c:pt>
                <c:pt idx="246">
                  <c:v>44442</c:v>
                </c:pt>
                <c:pt idx="247">
                  <c:v>44443</c:v>
                </c:pt>
                <c:pt idx="248">
                  <c:v>44444</c:v>
                </c:pt>
                <c:pt idx="249">
                  <c:v>44445</c:v>
                </c:pt>
                <c:pt idx="250">
                  <c:v>44446</c:v>
                </c:pt>
                <c:pt idx="251">
                  <c:v>44447</c:v>
                </c:pt>
                <c:pt idx="252">
                  <c:v>44448</c:v>
                </c:pt>
                <c:pt idx="253">
                  <c:v>44449</c:v>
                </c:pt>
                <c:pt idx="254">
                  <c:v>44450</c:v>
                </c:pt>
                <c:pt idx="255">
                  <c:v>44451</c:v>
                </c:pt>
                <c:pt idx="256">
                  <c:v>44452</c:v>
                </c:pt>
                <c:pt idx="257">
                  <c:v>44453</c:v>
                </c:pt>
                <c:pt idx="258">
                  <c:v>44454</c:v>
                </c:pt>
                <c:pt idx="259">
                  <c:v>44455</c:v>
                </c:pt>
                <c:pt idx="260">
                  <c:v>44456</c:v>
                </c:pt>
                <c:pt idx="261">
                  <c:v>44457</c:v>
                </c:pt>
                <c:pt idx="262">
                  <c:v>44458</c:v>
                </c:pt>
                <c:pt idx="263">
                  <c:v>44459</c:v>
                </c:pt>
                <c:pt idx="264">
                  <c:v>44460</c:v>
                </c:pt>
                <c:pt idx="265">
                  <c:v>44461</c:v>
                </c:pt>
                <c:pt idx="266">
                  <c:v>44462</c:v>
                </c:pt>
                <c:pt idx="267">
                  <c:v>44463</c:v>
                </c:pt>
                <c:pt idx="268">
                  <c:v>44464</c:v>
                </c:pt>
                <c:pt idx="269">
                  <c:v>44465</c:v>
                </c:pt>
                <c:pt idx="270">
                  <c:v>44466</c:v>
                </c:pt>
                <c:pt idx="271">
                  <c:v>44467</c:v>
                </c:pt>
                <c:pt idx="272">
                  <c:v>44468</c:v>
                </c:pt>
                <c:pt idx="273">
                  <c:v>44469</c:v>
                </c:pt>
                <c:pt idx="274">
                  <c:v>44470</c:v>
                </c:pt>
                <c:pt idx="275">
                  <c:v>44471</c:v>
                </c:pt>
                <c:pt idx="276">
                  <c:v>44472</c:v>
                </c:pt>
                <c:pt idx="277">
                  <c:v>44473</c:v>
                </c:pt>
                <c:pt idx="278">
                  <c:v>44474</c:v>
                </c:pt>
                <c:pt idx="279">
                  <c:v>44475</c:v>
                </c:pt>
                <c:pt idx="280">
                  <c:v>44476</c:v>
                </c:pt>
                <c:pt idx="281">
                  <c:v>44477</c:v>
                </c:pt>
                <c:pt idx="282">
                  <c:v>44478</c:v>
                </c:pt>
                <c:pt idx="283">
                  <c:v>44479</c:v>
                </c:pt>
                <c:pt idx="284">
                  <c:v>44480</c:v>
                </c:pt>
                <c:pt idx="285">
                  <c:v>44481</c:v>
                </c:pt>
                <c:pt idx="286">
                  <c:v>44482</c:v>
                </c:pt>
                <c:pt idx="287">
                  <c:v>44483</c:v>
                </c:pt>
                <c:pt idx="288">
                  <c:v>44484</c:v>
                </c:pt>
                <c:pt idx="289">
                  <c:v>44485</c:v>
                </c:pt>
                <c:pt idx="290">
                  <c:v>44486</c:v>
                </c:pt>
                <c:pt idx="291">
                  <c:v>44487</c:v>
                </c:pt>
                <c:pt idx="292">
                  <c:v>44488</c:v>
                </c:pt>
                <c:pt idx="293">
                  <c:v>44489</c:v>
                </c:pt>
                <c:pt idx="294">
                  <c:v>44490</c:v>
                </c:pt>
                <c:pt idx="295">
                  <c:v>44491</c:v>
                </c:pt>
                <c:pt idx="296">
                  <c:v>44492</c:v>
                </c:pt>
                <c:pt idx="297">
                  <c:v>44493</c:v>
                </c:pt>
                <c:pt idx="298">
                  <c:v>44494</c:v>
                </c:pt>
                <c:pt idx="299">
                  <c:v>44495</c:v>
                </c:pt>
                <c:pt idx="300">
                  <c:v>44496</c:v>
                </c:pt>
                <c:pt idx="301">
                  <c:v>44497</c:v>
                </c:pt>
                <c:pt idx="302">
                  <c:v>44498</c:v>
                </c:pt>
                <c:pt idx="303">
                  <c:v>44499</c:v>
                </c:pt>
                <c:pt idx="304">
                  <c:v>44500</c:v>
                </c:pt>
                <c:pt idx="305">
                  <c:v>44501</c:v>
                </c:pt>
                <c:pt idx="306">
                  <c:v>44502</c:v>
                </c:pt>
                <c:pt idx="307">
                  <c:v>44503</c:v>
                </c:pt>
                <c:pt idx="308">
                  <c:v>44504</c:v>
                </c:pt>
                <c:pt idx="309">
                  <c:v>44505</c:v>
                </c:pt>
                <c:pt idx="310">
                  <c:v>44506</c:v>
                </c:pt>
                <c:pt idx="311">
                  <c:v>44507</c:v>
                </c:pt>
                <c:pt idx="312">
                  <c:v>44508</c:v>
                </c:pt>
                <c:pt idx="313">
                  <c:v>44509</c:v>
                </c:pt>
                <c:pt idx="314">
                  <c:v>44510</c:v>
                </c:pt>
                <c:pt idx="315">
                  <c:v>44511</c:v>
                </c:pt>
                <c:pt idx="316">
                  <c:v>44512</c:v>
                </c:pt>
                <c:pt idx="317">
                  <c:v>44513</c:v>
                </c:pt>
                <c:pt idx="318">
                  <c:v>44514</c:v>
                </c:pt>
                <c:pt idx="319">
                  <c:v>44515</c:v>
                </c:pt>
                <c:pt idx="320">
                  <c:v>44516</c:v>
                </c:pt>
                <c:pt idx="321">
                  <c:v>44517</c:v>
                </c:pt>
                <c:pt idx="322">
                  <c:v>44518</c:v>
                </c:pt>
                <c:pt idx="323">
                  <c:v>44519</c:v>
                </c:pt>
                <c:pt idx="324">
                  <c:v>44520</c:v>
                </c:pt>
                <c:pt idx="325">
                  <c:v>44521</c:v>
                </c:pt>
                <c:pt idx="326">
                  <c:v>44522</c:v>
                </c:pt>
                <c:pt idx="327">
                  <c:v>44523</c:v>
                </c:pt>
                <c:pt idx="328">
                  <c:v>44524</c:v>
                </c:pt>
                <c:pt idx="329">
                  <c:v>44525</c:v>
                </c:pt>
                <c:pt idx="330">
                  <c:v>44526</c:v>
                </c:pt>
                <c:pt idx="331">
                  <c:v>44527</c:v>
                </c:pt>
                <c:pt idx="332">
                  <c:v>44528</c:v>
                </c:pt>
                <c:pt idx="333">
                  <c:v>44529</c:v>
                </c:pt>
                <c:pt idx="334">
                  <c:v>44530</c:v>
                </c:pt>
                <c:pt idx="335">
                  <c:v>44531</c:v>
                </c:pt>
                <c:pt idx="336">
                  <c:v>44532</c:v>
                </c:pt>
                <c:pt idx="337">
                  <c:v>44533</c:v>
                </c:pt>
                <c:pt idx="338">
                  <c:v>44534</c:v>
                </c:pt>
                <c:pt idx="339">
                  <c:v>44535</c:v>
                </c:pt>
                <c:pt idx="340">
                  <c:v>44536</c:v>
                </c:pt>
                <c:pt idx="341">
                  <c:v>44537</c:v>
                </c:pt>
                <c:pt idx="342">
                  <c:v>44538</c:v>
                </c:pt>
                <c:pt idx="343">
                  <c:v>44539</c:v>
                </c:pt>
                <c:pt idx="344">
                  <c:v>44540</c:v>
                </c:pt>
                <c:pt idx="345">
                  <c:v>44541</c:v>
                </c:pt>
                <c:pt idx="346">
                  <c:v>44542</c:v>
                </c:pt>
                <c:pt idx="347">
                  <c:v>44543</c:v>
                </c:pt>
                <c:pt idx="348">
                  <c:v>44544</c:v>
                </c:pt>
                <c:pt idx="349">
                  <c:v>44545</c:v>
                </c:pt>
                <c:pt idx="350">
                  <c:v>44546</c:v>
                </c:pt>
                <c:pt idx="351">
                  <c:v>44547</c:v>
                </c:pt>
                <c:pt idx="352">
                  <c:v>44548</c:v>
                </c:pt>
                <c:pt idx="353">
                  <c:v>44549</c:v>
                </c:pt>
                <c:pt idx="354">
                  <c:v>44550</c:v>
                </c:pt>
                <c:pt idx="355">
                  <c:v>44551</c:v>
                </c:pt>
                <c:pt idx="356">
                  <c:v>44552</c:v>
                </c:pt>
                <c:pt idx="357">
                  <c:v>44553</c:v>
                </c:pt>
                <c:pt idx="358">
                  <c:v>44554</c:v>
                </c:pt>
                <c:pt idx="359">
                  <c:v>44555</c:v>
                </c:pt>
                <c:pt idx="360">
                  <c:v>44556</c:v>
                </c:pt>
                <c:pt idx="361">
                  <c:v>44557</c:v>
                </c:pt>
                <c:pt idx="362">
                  <c:v>44558</c:v>
                </c:pt>
                <c:pt idx="363">
                  <c:v>44559</c:v>
                </c:pt>
                <c:pt idx="364">
                  <c:v>44560</c:v>
                </c:pt>
                <c:pt idx="365">
                  <c:v>44561</c:v>
                </c:pt>
                <c:pt idx="366">
                  <c:v>44562</c:v>
                </c:pt>
                <c:pt idx="367">
                  <c:v>44563</c:v>
                </c:pt>
                <c:pt idx="368">
                  <c:v>44564</c:v>
                </c:pt>
                <c:pt idx="369">
                  <c:v>44565</c:v>
                </c:pt>
                <c:pt idx="370">
                  <c:v>44566</c:v>
                </c:pt>
                <c:pt idx="371">
                  <c:v>44567</c:v>
                </c:pt>
                <c:pt idx="372">
                  <c:v>44568</c:v>
                </c:pt>
                <c:pt idx="373">
                  <c:v>44569</c:v>
                </c:pt>
                <c:pt idx="374">
                  <c:v>44570</c:v>
                </c:pt>
                <c:pt idx="375">
                  <c:v>44571</c:v>
                </c:pt>
                <c:pt idx="376">
                  <c:v>44572</c:v>
                </c:pt>
                <c:pt idx="377">
                  <c:v>44573</c:v>
                </c:pt>
                <c:pt idx="378">
                  <c:v>44574</c:v>
                </c:pt>
                <c:pt idx="379">
                  <c:v>44575</c:v>
                </c:pt>
                <c:pt idx="380">
                  <c:v>44576</c:v>
                </c:pt>
                <c:pt idx="381">
                  <c:v>44577</c:v>
                </c:pt>
                <c:pt idx="382">
                  <c:v>44578</c:v>
                </c:pt>
                <c:pt idx="383">
                  <c:v>44579</c:v>
                </c:pt>
                <c:pt idx="384">
                  <c:v>44580</c:v>
                </c:pt>
                <c:pt idx="385">
                  <c:v>44581</c:v>
                </c:pt>
                <c:pt idx="386">
                  <c:v>44582</c:v>
                </c:pt>
                <c:pt idx="387">
                  <c:v>44583</c:v>
                </c:pt>
                <c:pt idx="388">
                  <c:v>44584</c:v>
                </c:pt>
                <c:pt idx="389">
                  <c:v>44585</c:v>
                </c:pt>
                <c:pt idx="390">
                  <c:v>44586</c:v>
                </c:pt>
                <c:pt idx="391">
                  <c:v>44587</c:v>
                </c:pt>
                <c:pt idx="392">
                  <c:v>44588</c:v>
                </c:pt>
                <c:pt idx="393">
                  <c:v>44589</c:v>
                </c:pt>
                <c:pt idx="394">
                  <c:v>44590</c:v>
                </c:pt>
                <c:pt idx="395">
                  <c:v>44591</c:v>
                </c:pt>
                <c:pt idx="396">
                  <c:v>44592</c:v>
                </c:pt>
                <c:pt idx="397">
                  <c:v>44593</c:v>
                </c:pt>
                <c:pt idx="398">
                  <c:v>44594</c:v>
                </c:pt>
                <c:pt idx="399">
                  <c:v>44595</c:v>
                </c:pt>
                <c:pt idx="400">
                  <c:v>44596</c:v>
                </c:pt>
                <c:pt idx="401">
                  <c:v>44597</c:v>
                </c:pt>
                <c:pt idx="402">
                  <c:v>44598</c:v>
                </c:pt>
                <c:pt idx="403">
                  <c:v>44599</c:v>
                </c:pt>
                <c:pt idx="404">
                  <c:v>44600</c:v>
                </c:pt>
                <c:pt idx="405">
                  <c:v>44601</c:v>
                </c:pt>
                <c:pt idx="406">
                  <c:v>44602</c:v>
                </c:pt>
                <c:pt idx="407">
                  <c:v>44603</c:v>
                </c:pt>
                <c:pt idx="408">
                  <c:v>44604</c:v>
                </c:pt>
                <c:pt idx="409">
                  <c:v>44605</c:v>
                </c:pt>
                <c:pt idx="410">
                  <c:v>44606</c:v>
                </c:pt>
                <c:pt idx="411">
                  <c:v>44607</c:v>
                </c:pt>
                <c:pt idx="412">
                  <c:v>44608</c:v>
                </c:pt>
                <c:pt idx="413">
                  <c:v>44609</c:v>
                </c:pt>
                <c:pt idx="414">
                  <c:v>44610</c:v>
                </c:pt>
                <c:pt idx="415">
                  <c:v>44611</c:v>
                </c:pt>
                <c:pt idx="416">
                  <c:v>44612</c:v>
                </c:pt>
                <c:pt idx="417">
                  <c:v>44613</c:v>
                </c:pt>
                <c:pt idx="418">
                  <c:v>44614</c:v>
                </c:pt>
                <c:pt idx="419">
                  <c:v>44615</c:v>
                </c:pt>
                <c:pt idx="420">
                  <c:v>44616</c:v>
                </c:pt>
                <c:pt idx="421">
                  <c:v>44617</c:v>
                </c:pt>
                <c:pt idx="422">
                  <c:v>44618</c:v>
                </c:pt>
                <c:pt idx="423">
                  <c:v>44619</c:v>
                </c:pt>
                <c:pt idx="424">
                  <c:v>44620</c:v>
                </c:pt>
                <c:pt idx="425">
                  <c:v>44621</c:v>
                </c:pt>
                <c:pt idx="426">
                  <c:v>44622</c:v>
                </c:pt>
                <c:pt idx="427">
                  <c:v>44623</c:v>
                </c:pt>
                <c:pt idx="428">
                  <c:v>44624</c:v>
                </c:pt>
                <c:pt idx="429">
                  <c:v>44625</c:v>
                </c:pt>
                <c:pt idx="430">
                  <c:v>44626</c:v>
                </c:pt>
                <c:pt idx="431">
                  <c:v>44627</c:v>
                </c:pt>
                <c:pt idx="432">
                  <c:v>44628</c:v>
                </c:pt>
                <c:pt idx="433">
                  <c:v>44629</c:v>
                </c:pt>
                <c:pt idx="434">
                  <c:v>44630</c:v>
                </c:pt>
                <c:pt idx="435">
                  <c:v>44631</c:v>
                </c:pt>
                <c:pt idx="436">
                  <c:v>44632</c:v>
                </c:pt>
                <c:pt idx="437">
                  <c:v>44633</c:v>
                </c:pt>
                <c:pt idx="438">
                  <c:v>44634</c:v>
                </c:pt>
                <c:pt idx="439">
                  <c:v>44635</c:v>
                </c:pt>
                <c:pt idx="440">
                  <c:v>44636</c:v>
                </c:pt>
                <c:pt idx="441">
                  <c:v>44637</c:v>
                </c:pt>
                <c:pt idx="442">
                  <c:v>44638</c:v>
                </c:pt>
                <c:pt idx="443">
                  <c:v>44639</c:v>
                </c:pt>
                <c:pt idx="444">
                  <c:v>44640</c:v>
                </c:pt>
                <c:pt idx="445">
                  <c:v>44641</c:v>
                </c:pt>
                <c:pt idx="446">
                  <c:v>44642</c:v>
                </c:pt>
                <c:pt idx="447">
                  <c:v>44643</c:v>
                </c:pt>
                <c:pt idx="448">
                  <c:v>44644</c:v>
                </c:pt>
                <c:pt idx="449">
                  <c:v>44645</c:v>
                </c:pt>
                <c:pt idx="450">
                  <c:v>44646</c:v>
                </c:pt>
                <c:pt idx="451">
                  <c:v>44647</c:v>
                </c:pt>
                <c:pt idx="452">
                  <c:v>44648</c:v>
                </c:pt>
                <c:pt idx="453">
                  <c:v>44649</c:v>
                </c:pt>
                <c:pt idx="454">
                  <c:v>44650</c:v>
                </c:pt>
                <c:pt idx="455">
                  <c:v>44651</c:v>
                </c:pt>
                <c:pt idx="456">
                  <c:v>44652</c:v>
                </c:pt>
                <c:pt idx="457">
                  <c:v>44653</c:v>
                </c:pt>
                <c:pt idx="458">
                  <c:v>44654</c:v>
                </c:pt>
                <c:pt idx="459">
                  <c:v>44655</c:v>
                </c:pt>
                <c:pt idx="460">
                  <c:v>44656</c:v>
                </c:pt>
                <c:pt idx="461">
                  <c:v>44657</c:v>
                </c:pt>
                <c:pt idx="462">
                  <c:v>44658</c:v>
                </c:pt>
                <c:pt idx="463">
                  <c:v>44659</c:v>
                </c:pt>
                <c:pt idx="464">
                  <c:v>44660</c:v>
                </c:pt>
                <c:pt idx="465">
                  <c:v>44661</c:v>
                </c:pt>
                <c:pt idx="466">
                  <c:v>44662</c:v>
                </c:pt>
                <c:pt idx="467">
                  <c:v>44663</c:v>
                </c:pt>
                <c:pt idx="468">
                  <c:v>44664</c:v>
                </c:pt>
                <c:pt idx="469">
                  <c:v>44665</c:v>
                </c:pt>
                <c:pt idx="470">
                  <c:v>44666</c:v>
                </c:pt>
                <c:pt idx="471">
                  <c:v>44667</c:v>
                </c:pt>
                <c:pt idx="472">
                  <c:v>44668</c:v>
                </c:pt>
                <c:pt idx="473">
                  <c:v>44669</c:v>
                </c:pt>
                <c:pt idx="474">
                  <c:v>44670</c:v>
                </c:pt>
                <c:pt idx="475">
                  <c:v>44671</c:v>
                </c:pt>
                <c:pt idx="476">
                  <c:v>44672</c:v>
                </c:pt>
                <c:pt idx="477">
                  <c:v>44673</c:v>
                </c:pt>
                <c:pt idx="478">
                  <c:v>44674</c:v>
                </c:pt>
                <c:pt idx="479">
                  <c:v>44675</c:v>
                </c:pt>
                <c:pt idx="480">
                  <c:v>44676</c:v>
                </c:pt>
                <c:pt idx="481">
                  <c:v>44677</c:v>
                </c:pt>
                <c:pt idx="482">
                  <c:v>44678</c:v>
                </c:pt>
                <c:pt idx="483">
                  <c:v>44679</c:v>
                </c:pt>
                <c:pt idx="484">
                  <c:v>44680</c:v>
                </c:pt>
                <c:pt idx="485">
                  <c:v>44681</c:v>
                </c:pt>
                <c:pt idx="486">
                  <c:v>44682</c:v>
                </c:pt>
                <c:pt idx="487">
                  <c:v>44683</c:v>
                </c:pt>
                <c:pt idx="488">
                  <c:v>44684</c:v>
                </c:pt>
                <c:pt idx="489">
                  <c:v>44685</c:v>
                </c:pt>
                <c:pt idx="490">
                  <c:v>44686</c:v>
                </c:pt>
                <c:pt idx="491">
                  <c:v>44687</c:v>
                </c:pt>
                <c:pt idx="492">
                  <c:v>44688</c:v>
                </c:pt>
                <c:pt idx="493">
                  <c:v>44689</c:v>
                </c:pt>
                <c:pt idx="494">
                  <c:v>44690</c:v>
                </c:pt>
                <c:pt idx="495">
                  <c:v>44691</c:v>
                </c:pt>
                <c:pt idx="496">
                  <c:v>44692</c:v>
                </c:pt>
                <c:pt idx="497">
                  <c:v>44693</c:v>
                </c:pt>
                <c:pt idx="498">
                  <c:v>44694</c:v>
                </c:pt>
                <c:pt idx="499">
                  <c:v>44695</c:v>
                </c:pt>
                <c:pt idx="500">
                  <c:v>44696</c:v>
                </c:pt>
                <c:pt idx="501">
                  <c:v>44697</c:v>
                </c:pt>
                <c:pt idx="502">
                  <c:v>44698</c:v>
                </c:pt>
                <c:pt idx="503">
                  <c:v>44699</c:v>
                </c:pt>
                <c:pt idx="504">
                  <c:v>44700</c:v>
                </c:pt>
                <c:pt idx="505">
                  <c:v>44701</c:v>
                </c:pt>
                <c:pt idx="506">
                  <c:v>44702</c:v>
                </c:pt>
                <c:pt idx="507">
                  <c:v>44703</c:v>
                </c:pt>
                <c:pt idx="508">
                  <c:v>44704</c:v>
                </c:pt>
                <c:pt idx="509">
                  <c:v>44705</c:v>
                </c:pt>
                <c:pt idx="510">
                  <c:v>44706</c:v>
                </c:pt>
                <c:pt idx="511">
                  <c:v>44707</c:v>
                </c:pt>
                <c:pt idx="512">
                  <c:v>44708</c:v>
                </c:pt>
                <c:pt idx="513">
                  <c:v>44709</c:v>
                </c:pt>
                <c:pt idx="514">
                  <c:v>44710</c:v>
                </c:pt>
                <c:pt idx="515">
                  <c:v>44711</c:v>
                </c:pt>
                <c:pt idx="516">
                  <c:v>44712</c:v>
                </c:pt>
                <c:pt idx="517">
                  <c:v>44713</c:v>
                </c:pt>
                <c:pt idx="518">
                  <c:v>44714</c:v>
                </c:pt>
                <c:pt idx="519">
                  <c:v>44715</c:v>
                </c:pt>
                <c:pt idx="520">
                  <c:v>44716</c:v>
                </c:pt>
                <c:pt idx="521">
                  <c:v>44717</c:v>
                </c:pt>
                <c:pt idx="522">
                  <c:v>44718</c:v>
                </c:pt>
                <c:pt idx="523">
                  <c:v>44719</c:v>
                </c:pt>
                <c:pt idx="524">
                  <c:v>44720</c:v>
                </c:pt>
                <c:pt idx="525">
                  <c:v>44721</c:v>
                </c:pt>
                <c:pt idx="526">
                  <c:v>44722</c:v>
                </c:pt>
                <c:pt idx="527">
                  <c:v>44723</c:v>
                </c:pt>
                <c:pt idx="528">
                  <c:v>44724</c:v>
                </c:pt>
                <c:pt idx="529">
                  <c:v>44725</c:v>
                </c:pt>
                <c:pt idx="530">
                  <c:v>44726</c:v>
                </c:pt>
                <c:pt idx="531">
                  <c:v>44727</c:v>
                </c:pt>
                <c:pt idx="532">
                  <c:v>44728</c:v>
                </c:pt>
                <c:pt idx="533">
                  <c:v>44729</c:v>
                </c:pt>
                <c:pt idx="534">
                  <c:v>44730</c:v>
                </c:pt>
                <c:pt idx="535">
                  <c:v>44731</c:v>
                </c:pt>
                <c:pt idx="536">
                  <c:v>44732</c:v>
                </c:pt>
                <c:pt idx="537">
                  <c:v>44733</c:v>
                </c:pt>
                <c:pt idx="538">
                  <c:v>44734</c:v>
                </c:pt>
                <c:pt idx="539">
                  <c:v>44735</c:v>
                </c:pt>
                <c:pt idx="540">
                  <c:v>44736</c:v>
                </c:pt>
                <c:pt idx="541">
                  <c:v>44737</c:v>
                </c:pt>
                <c:pt idx="542">
                  <c:v>44738</c:v>
                </c:pt>
                <c:pt idx="543">
                  <c:v>44739</c:v>
                </c:pt>
                <c:pt idx="544">
                  <c:v>44740</c:v>
                </c:pt>
                <c:pt idx="545">
                  <c:v>44741</c:v>
                </c:pt>
                <c:pt idx="546">
                  <c:v>44742</c:v>
                </c:pt>
                <c:pt idx="547">
                  <c:v>44743</c:v>
                </c:pt>
                <c:pt idx="548">
                  <c:v>44744</c:v>
                </c:pt>
                <c:pt idx="549">
                  <c:v>44745</c:v>
                </c:pt>
                <c:pt idx="550">
                  <c:v>44746</c:v>
                </c:pt>
                <c:pt idx="551">
                  <c:v>44747</c:v>
                </c:pt>
                <c:pt idx="552">
                  <c:v>44748</c:v>
                </c:pt>
                <c:pt idx="553">
                  <c:v>44749</c:v>
                </c:pt>
                <c:pt idx="554">
                  <c:v>44750</c:v>
                </c:pt>
                <c:pt idx="555">
                  <c:v>44751</c:v>
                </c:pt>
                <c:pt idx="556">
                  <c:v>44752</c:v>
                </c:pt>
                <c:pt idx="557">
                  <c:v>44753</c:v>
                </c:pt>
                <c:pt idx="558">
                  <c:v>44754</c:v>
                </c:pt>
                <c:pt idx="559">
                  <c:v>44755</c:v>
                </c:pt>
                <c:pt idx="560">
                  <c:v>44756</c:v>
                </c:pt>
                <c:pt idx="561">
                  <c:v>44757</c:v>
                </c:pt>
                <c:pt idx="562">
                  <c:v>44758</c:v>
                </c:pt>
                <c:pt idx="563">
                  <c:v>44759</c:v>
                </c:pt>
                <c:pt idx="564">
                  <c:v>44760</c:v>
                </c:pt>
                <c:pt idx="565">
                  <c:v>44761</c:v>
                </c:pt>
                <c:pt idx="566">
                  <c:v>44762</c:v>
                </c:pt>
                <c:pt idx="567">
                  <c:v>44763</c:v>
                </c:pt>
                <c:pt idx="568">
                  <c:v>44764</c:v>
                </c:pt>
                <c:pt idx="569">
                  <c:v>44765</c:v>
                </c:pt>
                <c:pt idx="570">
                  <c:v>44766</c:v>
                </c:pt>
                <c:pt idx="571">
                  <c:v>44767</c:v>
                </c:pt>
                <c:pt idx="572">
                  <c:v>44768</c:v>
                </c:pt>
                <c:pt idx="573">
                  <c:v>44769</c:v>
                </c:pt>
                <c:pt idx="574">
                  <c:v>44770</c:v>
                </c:pt>
                <c:pt idx="575">
                  <c:v>44771</c:v>
                </c:pt>
                <c:pt idx="576">
                  <c:v>44772</c:v>
                </c:pt>
                <c:pt idx="577">
                  <c:v>44773</c:v>
                </c:pt>
                <c:pt idx="578">
                  <c:v>44774</c:v>
                </c:pt>
                <c:pt idx="579">
                  <c:v>44775</c:v>
                </c:pt>
                <c:pt idx="580">
                  <c:v>44776</c:v>
                </c:pt>
                <c:pt idx="581">
                  <c:v>44777</c:v>
                </c:pt>
                <c:pt idx="582">
                  <c:v>44778</c:v>
                </c:pt>
                <c:pt idx="583">
                  <c:v>44779</c:v>
                </c:pt>
                <c:pt idx="584">
                  <c:v>44780</c:v>
                </c:pt>
                <c:pt idx="585">
                  <c:v>44781</c:v>
                </c:pt>
                <c:pt idx="586">
                  <c:v>44782</c:v>
                </c:pt>
                <c:pt idx="587">
                  <c:v>44783</c:v>
                </c:pt>
                <c:pt idx="588">
                  <c:v>44784</c:v>
                </c:pt>
                <c:pt idx="589">
                  <c:v>44785</c:v>
                </c:pt>
                <c:pt idx="590">
                  <c:v>44786</c:v>
                </c:pt>
                <c:pt idx="591">
                  <c:v>44787</c:v>
                </c:pt>
                <c:pt idx="592">
                  <c:v>44788</c:v>
                </c:pt>
                <c:pt idx="593">
                  <c:v>44789</c:v>
                </c:pt>
                <c:pt idx="594">
                  <c:v>44790</c:v>
                </c:pt>
                <c:pt idx="595">
                  <c:v>44791</c:v>
                </c:pt>
                <c:pt idx="596">
                  <c:v>44792</c:v>
                </c:pt>
                <c:pt idx="597">
                  <c:v>44793</c:v>
                </c:pt>
                <c:pt idx="598">
                  <c:v>44794</c:v>
                </c:pt>
                <c:pt idx="599">
                  <c:v>44795</c:v>
                </c:pt>
                <c:pt idx="600">
                  <c:v>44796</c:v>
                </c:pt>
                <c:pt idx="601">
                  <c:v>44797</c:v>
                </c:pt>
                <c:pt idx="602">
                  <c:v>44798</c:v>
                </c:pt>
                <c:pt idx="603">
                  <c:v>44799</c:v>
                </c:pt>
                <c:pt idx="604">
                  <c:v>44800</c:v>
                </c:pt>
                <c:pt idx="605">
                  <c:v>44801</c:v>
                </c:pt>
                <c:pt idx="606">
                  <c:v>44802</c:v>
                </c:pt>
                <c:pt idx="607">
                  <c:v>44803</c:v>
                </c:pt>
                <c:pt idx="608">
                  <c:v>44804</c:v>
                </c:pt>
                <c:pt idx="609">
                  <c:v>44805</c:v>
                </c:pt>
                <c:pt idx="610">
                  <c:v>44806</c:v>
                </c:pt>
                <c:pt idx="611">
                  <c:v>44807</c:v>
                </c:pt>
                <c:pt idx="612">
                  <c:v>44808</c:v>
                </c:pt>
                <c:pt idx="613">
                  <c:v>44809</c:v>
                </c:pt>
                <c:pt idx="614">
                  <c:v>44810</c:v>
                </c:pt>
                <c:pt idx="615">
                  <c:v>44811</c:v>
                </c:pt>
                <c:pt idx="616">
                  <c:v>44812</c:v>
                </c:pt>
                <c:pt idx="617">
                  <c:v>44813</c:v>
                </c:pt>
                <c:pt idx="618">
                  <c:v>44814</c:v>
                </c:pt>
                <c:pt idx="619">
                  <c:v>44815</c:v>
                </c:pt>
                <c:pt idx="620">
                  <c:v>44816</c:v>
                </c:pt>
                <c:pt idx="621">
                  <c:v>44817</c:v>
                </c:pt>
                <c:pt idx="622">
                  <c:v>44818</c:v>
                </c:pt>
                <c:pt idx="623">
                  <c:v>44819</c:v>
                </c:pt>
                <c:pt idx="624">
                  <c:v>44820</c:v>
                </c:pt>
                <c:pt idx="625">
                  <c:v>44821</c:v>
                </c:pt>
                <c:pt idx="626">
                  <c:v>44822</c:v>
                </c:pt>
                <c:pt idx="627">
                  <c:v>44823</c:v>
                </c:pt>
                <c:pt idx="628">
                  <c:v>44824</c:v>
                </c:pt>
                <c:pt idx="629">
                  <c:v>44825</c:v>
                </c:pt>
                <c:pt idx="630">
                  <c:v>44826</c:v>
                </c:pt>
                <c:pt idx="631">
                  <c:v>44827</c:v>
                </c:pt>
                <c:pt idx="632">
                  <c:v>44828</c:v>
                </c:pt>
                <c:pt idx="633">
                  <c:v>44829</c:v>
                </c:pt>
                <c:pt idx="634">
                  <c:v>44830</c:v>
                </c:pt>
                <c:pt idx="635">
                  <c:v>44831</c:v>
                </c:pt>
                <c:pt idx="636">
                  <c:v>44832</c:v>
                </c:pt>
                <c:pt idx="637">
                  <c:v>44833</c:v>
                </c:pt>
                <c:pt idx="638">
                  <c:v>44834</c:v>
                </c:pt>
                <c:pt idx="639">
                  <c:v>44835</c:v>
                </c:pt>
                <c:pt idx="640">
                  <c:v>44836</c:v>
                </c:pt>
                <c:pt idx="641">
                  <c:v>44837</c:v>
                </c:pt>
                <c:pt idx="642">
                  <c:v>44838</c:v>
                </c:pt>
                <c:pt idx="643">
                  <c:v>44839</c:v>
                </c:pt>
                <c:pt idx="644">
                  <c:v>44840</c:v>
                </c:pt>
                <c:pt idx="645">
                  <c:v>44841</c:v>
                </c:pt>
                <c:pt idx="646">
                  <c:v>44842</c:v>
                </c:pt>
                <c:pt idx="647">
                  <c:v>44843</c:v>
                </c:pt>
                <c:pt idx="648">
                  <c:v>44844</c:v>
                </c:pt>
                <c:pt idx="649">
                  <c:v>44845</c:v>
                </c:pt>
                <c:pt idx="650">
                  <c:v>44846</c:v>
                </c:pt>
                <c:pt idx="651">
                  <c:v>44847</c:v>
                </c:pt>
                <c:pt idx="652">
                  <c:v>44848</c:v>
                </c:pt>
                <c:pt idx="653">
                  <c:v>44849</c:v>
                </c:pt>
                <c:pt idx="654">
                  <c:v>44850</c:v>
                </c:pt>
                <c:pt idx="655">
                  <c:v>44851</c:v>
                </c:pt>
                <c:pt idx="656">
                  <c:v>44852</c:v>
                </c:pt>
                <c:pt idx="657">
                  <c:v>44853</c:v>
                </c:pt>
                <c:pt idx="658">
                  <c:v>44854</c:v>
                </c:pt>
                <c:pt idx="659">
                  <c:v>44855</c:v>
                </c:pt>
                <c:pt idx="660">
                  <c:v>44856</c:v>
                </c:pt>
                <c:pt idx="661">
                  <c:v>44857</c:v>
                </c:pt>
                <c:pt idx="662">
                  <c:v>44858</c:v>
                </c:pt>
                <c:pt idx="663">
                  <c:v>44859</c:v>
                </c:pt>
                <c:pt idx="664">
                  <c:v>44860</c:v>
                </c:pt>
                <c:pt idx="665">
                  <c:v>44861</c:v>
                </c:pt>
                <c:pt idx="666">
                  <c:v>44862</c:v>
                </c:pt>
                <c:pt idx="667">
                  <c:v>44863</c:v>
                </c:pt>
                <c:pt idx="668">
                  <c:v>44864</c:v>
                </c:pt>
                <c:pt idx="669">
                  <c:v>44865</c:v>
                </c:pt>
                <c:pt idx="670">
                  <c:v>44866</c:v>
                </c:pt>
                <c:pt idx="671">
                  <c:v>44867</c:v>
                </c:pt>
                <c:pt idx="672">
                  <c:v>44868</c:v>
                </c:pt>
                <c:pt idx="673">
                  <c:v>44869</c:v>
                </c:pt>
                <c:pt idx="674">
                  <c:v>44870</c:v>
                </c:pt>
                <c:pt idx="675">
                  <c:v>44871</c:v>
                </c:pt>
                <c:pt idx="676">
                  <c:v>44872</c:v>
                </c:pt>
                <c:pt idx="677">
                  <c:v>44873</c:v>
                </c:pt>
                <c:pt idx="678">
                  <c:v>44874</c:v>
                </c:pt>
                <c:pt idx="679">
                  <c:v>44875</c:v>
                </c:pt>
                <c:pt idx="680">
                  <c:v>44876</c:v>
                </c:pt>
                <c:pt idx="681">
                  <c:v>44877</c:v>
                </c:pt>
                <c:pt idx="682">
                  <c:v>44878</c:v>
                </c:pt>
                <c:pt idx="683">
                  <c:v>44879</c:v>
                </c:pt>
                <c:pt idx="684">
                  <c:v>44880</c:v>
                </c:pt>
                <c:pt idx="685">
                  <c:v>44881</c:v>
                </c:pt>
                <c:pt idx="686">
                  <c:v>44882</c:v>
                </c:pt>
                <c:pt idx="687">
                  <c:v>44883</c:v>
                </c:pt>
                <c:pt idx="688">
                  <c:v>44884</c:v>
                </c:pt>
                <c:pt idx="689">
                  <c:v>44885</c:v>
                </c:pt>
                <c:pt idx="690">
                  <c:v>44886</c:v>
                </c:pt>
                <c:pt idx="691">
                  <c:v>44887</c:v>
                </c:pt>
                <c:pt idx="692">
                  <c:v>44888</c:v>
                </c:pt>
                <c:pt idx="693">
                  <c:v>44889</c:v>
                </c:pt>
                <c:pt idx="694">
                  <c:v>44890</c:v>
                </c:pt>
                <c:pt idx="695">
                  <c:v>44891</c:v>
                </c:pt>
                <c:pt idx="696">
                  <c:v>44892</c:v>
                </c:pt>
                <c:pt idx="697">
                  <c:v>44893</c:v>
                </c:pt>
                <c:pt idx="698">
                  <c:v>44894</c:v>
                </c:pt>
                <c:pt idx="699">
                  <c:v>44895</c:v>
                </c:pt>
                <c:pt idx="700">
                  <c:v>44896</c:v>
                </c:pt>
                <c:pt idx="701">
                  <c:v>44897</c:v>
                </c:pt>
                <c:pt idx="702">
                  <c:v>44898</c:v>
                </c:pt>
                <c:pt idx="703">
                  <c:v>44899</c:v>
                </c:pt>
                <c:pt idx="704">
                  <c:v>44900</c:v>
                </c:pt>
                <c:pt idx="705">
                  <c:v>44901</c:v>
                </c:pt>
                <c:pt idx="706">
                  <c:v>44902</c:v>
                </c:pt>
                <c:pt idx="707">
                  <c:v>44903</c:v>
                </c:pt>
                <c:pt idx="708">
                  <c:v>44904</c:v>
                </c:pt>
                <c:pt idx="709">
                  <c:v>44905</c:v>
                </c:pt>
                <c:pt idx="710">
                  <c:v>44906</c:v>
                </c:pt>
                <c:pt idx="711">
                  <c:v>44907</c:v>
                </c:pt>
                <c:pt idx="712">
                  <c:v>44908</c:v>
                </c:pt>
                <c:pt idx="713">
                  <c:v>44909</c:v>
                </c:pt>
                <c:pt idx="714">
                  <c:v>44910</c:v>
                </c:pt>
                <c:pt idx="715">
                  <c:v>44911</c:v>
                </c:pt>
                <c:pt idx="716">
                  <c:v>44912</c:v>
                </c:pt>
                <c:pt idx="717">
                  <c:v>44913</c:v>
                </c:pt>
                <c:pt idx="718">
                  <c:v>44914</c:v>
                </c:pt>
                <c:pt idx="719">
                  <c:v>44915</c:v>
                </c:pt>
                <c:pt idx="720">
                  <c:v>44916</c:v>
                </c:pt>
                <c:pt idx="721">
                  <c:v>44917</c:v>
                </c:pt>
                <c:pt idx="722">
                  <c:v>44918</c:v>
                </c:pt>
                <c:pt idx="723">
                  <c:v>44919</c:v>
                </c:pt>
                <c:pt idx="724">
                  <c:v>44920</c:v>
                </c:pt>
                <c:pt idx="725">
                  <c:v>44921</c:v>
                </c:pt>
                <c:pt idx="726">
                  <c:v>44922</c:v>
                </c:pt>
                <c:pt idx="727">
                  <c:v>44923</c:v>
                </c:pt>
                <c:pt idx="728">
                  <c:v>44924</c:v>
                </c:pt>
                <c:pt idx="729">
                  <c:v>44925</c:v>
                </c:pt>
                <c:pt idx="730">
                  <c:v>44926</c:v>
                </c:pt>
                <c:pt idx="731">
                  <c:v>44927</c:v>
                </c:pt>
                <c:pt idx="732">
                  <c:v>44928</c:v>
                </c:pt>
                <c:pt idx="733">
                  <c:v>44929</c:v>
                </c:pt>
                <c:pt idx="734">
                  <c:v>44930</c:v>
                </c:pt>
                <c:pt idx="735">
                  <c:v>44931</c:v>
                </c:pt>
                <c:pt idx="736">
                  <c:v>44932</c:v>
                </c:pt>
                <c:pt idx="737">
                  <c:v>44933</c:v>
                </c:pt>
                <c:pt idx="738">
                  <c:v>44934</c:v>
                </c:pt>
                <c:pt idx="739">
                  <c:v>44935</c:v>
                </c:pt>
                <c:pt idx="740">
                  <c:v>44936</c:v>
                </c:pt>
                <c:pt idx="741">
                  <c:v>44937</c:v>
                </c:pt>
                <c:pt idx="742">
                  <c:v>44938</c:v>
                </c:pt>
                <c:pt idx="743">
                  <c:v>44939</c:v>
                </c:pt>
                <c:pt idx="744">
                  <c:v>44940</c:v>
                </c:pt>
                <c:pt idx="745">
                  <c:v>44941</c:v>
                </c:pt>
                <c:pt idx="746">
                  <c:v>44942</c:v>
                </c:pt>
                <c:pt idx="747">
                  <c:v>44943</c:v>
                </c:pt>
                <c:pt idx="748">
                  <c:v>44944</c:v>
                </c:pt>
                <c:pt idx="749">
                  <c:v>44945</c:v>
                </c:pt>
                <c:pt idx="750">
                  <c:v>44946</c:v>
                </c:pt>
                <c:pt idx="751">
                  <c:v>44947</c:v>
                </c:pt>
                <c:pt idx="752">
                  <c:v>44948</c:v>
                </c:pt>
                <c:pt idx="753">
                  <c:v>44949</c:v>
                </c:pt>
                <c:pt idx="754">
                  <c:v>44950</c:v>
                </c:pt>
                <c:pt idx="755">
                  <c:v>44951</c:v>
                </c:pt>
                <c:pt idx="756">
                  <c:v>44952</c:v>
                </c:pt>
                <c:pt idx="757">
                  <c:v>44953</c:v>
                </c:pt>
                <c:pt idx="758">
                  <c:v>44954</c:v>
                </c:pt>
                <c:pt idx="759">
                  <c:v>44955</c:v>
                </c:pt>
                <c:pt idx="760">
                  <c:v>44956</c:v>
                </c:pt>
                <c:pt idx="761">
                  <c:v>44957</c:v>
                </c:pt>
                <c:pt idx="762">
                  <c:v>44958</c:v>
                </c:pt>
                <c:pt idx="763">
                  <c:v>44959</c:v>
                </c:pt>
                <c:pt idx="764">
                  <c:v>44960</c:v>
                </c:pt>
                <c:pt idx="765">
                  <c:v>44961</c:v>
                </c:pt>
                <c:pt idx="766">
                  <c:v>44962</c:v>
                </c:pt>
                <c:pt idx="767">
                  <c:v>44963</c:v>
                </c:pt>
                <c:pt idx="768">
                  <c:v>44964</c:v>
                </c:pt>
                <c:pt idx="769">
                  <c:v>44965</c:v>
                </c:pt>
                <c:pt idx="770">
                  <c:v>44966</c:v>
                </c:pt>
                <c:pt idx="771">
                  <c:v>44967</c:v>
                </c:pt>
                <c:pt idx="772">
                  <c:v>44968</c:v>
                </c:pt>
                <c:pt idx="773">
                  <c:v>44969</c:v>
                </c:pt>
                <c:pt idx="774">
                  <c:v>44970</c:v>
                </c:pt>
                <c:pt idx="775">
                  <c:v>44971</c:v>
                </c:pt>
                <c:pt idx="776">
                  <c:v>44972</c:v>
                </c:pt>
                <c:pt idx="777">
                  <c:v>44973</c:v>
                </c:pt>
                <c:pt idx="778">
                  <c:v>44974</c:v>
                </c:pt>
                <c:pt idx="779">
                  <c:v>44975</c:v>
                </c:pt>
                <c:pt idx="780">
                  <c:v>44976</c:v>
                </c:pt>
                <c:pt idx="781">
                  <c:v>44977</c:v>
                </c:pt>
                <c:pt idx="782">
                  <c:v>44978</c:v>
                </c:pt>
                <c:pt idx="783">
                  <c:v>44979</c:v>
                </c:pt>
                <c:pt idx="784">
                  <c:v>44980</c:v>
                </c:pt>
                <c:pt idx="785">
                  <c:v>44981</c:v>
                </c:pt>
                <c:pt idx="786">
                  <c:v>44982</c:v>
                </c:pt>
                <c:pt idx="787">
                  <c:v>44983</c:v>
                </c:pt>
                <c:pt idx="788">
                  <c:v>44984</c:v>
                </c:pt>
                <c:pt idx="789">
                  <c:v>44985</c:v>
                </c:pt>
                <c:pt idx="790">
                  <c:v>44986</c:v>
                </c:pt>
                <c:pt idx="791">
                  <c:v>44987</c:v>
                </c:pt>
                <c:pt idx="792">
                  <c:v>44988</c:v>
                </c:pt>
                <c:pt idx="793">
                  <c:v>44989</c:v>
                </c:pt>
                <c:pt idx="794">
                  <c:v>44990</c:v>
                </c:pt>
                <c:pt idx="795">
                  <c:v>44991</c:v>
                </c:pt>
                <c:pt idx="796">
                  <c:v>44992</c:v>
                </c:pt>
                <c:pt idx="797">
                  <c:v>44993</c:v>
                </c:pt>
                <c:pt idx="798">
                  <c:v>44994</c:v>
                </c:pt>
                <c:pt idx="799">
                  <c:v>44995</c:v>
                </c:pt>
                <c:pt idx="800">
                  <c:v>44996</c:v>
                </c:pt>
                <c:pt idx="801">
                  <c:v>44997</c:v>
                </c:pt>
                <c:pt idx="802">
                  <c:v>44998</c:v>
                </c:pt>
                <c:pt idx="803">
                  <c:v>44999</c:v>
                </c:pt>
                <c:pt idx="804">
                  <c:v>45000</c:v>
                </c:pt>
                <c:pt idx="805">
                  <c:v>45001</c:v>
                </c:pt>
                <c:pt idx="806">
                  <c:v>45002</c:v>
                </c:pt>
                <c:pt idx="807">
                  <c:v>45003</c:v>
                </c:pt>
                <c:pt idx="808">
                  <c:v>45004</c:v>
                </c:pt>
                <c:pt idx="809">
                  <c:v>45005</c:v>
                </c:pt>
                <c:pt idx="810">
                  <c:v>45006</c:v>
                </c:pt>
                <c:pt idx="811">
                  <c:v>45007</c:v>
                </c:pt>
                <c:pt idx="812">
                  <c:v>45008</c:v>
                </c:pt>
                <c:pt idx="813">
                  <c:v>45009</c:v>
                </c:pt>
                <c:pt idx="814">
                  <c:v>45010</c:v>
                </c:pt>
                <c:pt idx="815">
                  <c:v>45011</c:v>
                </c:pt>
                <c:pt idx="816">
                  <c:v>45012</c:v>
                </c:pt>
                <c:pt idx="817">
                  <c:v>45013</c:v>
                </c:pt>
                <c:pt idx="818">
                  <c:v>45014</c:v>
                </c:pt>
                <c:pt idx="819">
                  <c:v>45015</c:v>
                </c:pt>
                <c:pt idx="820">
                  <c:v>45016</c:v>
                </c:pt>
                <c:pt idx="821">
                  <c:v>45017</c:v>
                </c:pt>
                <c:pt idx="822">
                  <c:v>45018</c:v>
                </c:pt>
                <c:pt idx="823">
                  <c:v>45019</c:v>
                </c:pt>
                <c:pt idx="824">
                  <c:v>45020</c:v>
                </c:pt>
                <c:pt idx="825">
                  <c:v>45021</c:v>
                </c:pt>
                <c:pt idx="826">
                  <c:v>45022</c:v>
                </c:pt>
                <c:pt idx="827">
                  <c:v>45023</c:v>
                </c:pt>
                <c:pt idx="828">
                  <c:v>45024</c:v>
                </c:pt>
                <c:pt idx="829">
                  <c:v>45025</c:v>
                </c:pt>
                <c:pt idx="830">
                  <c:v>45026</c:v>
                </c:pt>
                <c:pt idx="831">
                  <c:v>45027</c:v>
                </c:pt>
                <c:pt idx="832">
                  <c:v>45028</c:v>
                </c:pt>
                <c:pt idx="833">
                  <c:v>45029</c:v>
                </c:pt>
                <c:pt idx="834">
                  <c:v>45030</c:v>
                </c:pt>
                <c:pt idx="835">
                  <c:v>45031</c:v>
                </c:pt>
                <c:pt idx="836">
                  <c:v>45032</c:v>
                </c:pt>
                <c:pt idx="837">
                  <c:v>45033</c:v>
                </c:pt>
                <c:pt idx="838">
                  <c:v>45034</c:v>
                </c:pt>
                <c:pt idx="839">
                  <c:v>45035</c:v>
                </c:pt>
                <c:pt idx="840">
                  <c:v>45036</c:v>
                </c:pt>
                <c:pt idx="841">
                  <c:v>45037</c:v>
                </c:pt>
                <c:pt idx="842">
                  <c:v>45038</c:v>
                </c:pt>
                <c:pt idx="843">
                  <c:v>45039</c:v>
                </c:pt>
                <c:pt idx="844">
                  <c:v>45040</c:v>
                </c:pt>
                <c:pt idx="845">
                  <c:v>45041</c:v>
                </c:pt>
                <c:pt idx="846">
                  <c:v>45042</c:v>
                </c:pt>
                <c:pt idx="847">
                  <c:v>45043</c:v>
                </c:pt>
                <c:pt idx="848">
                  <c:v>45044</c:v>
                </c:pt>
                <c:pt idx="849">
                  <c:v>45045</c:v>
                </c:pt>
                <c:pt idx="850">
                  <c:v>45046</c:v>
                </c:pt>
                <c:pt idx="851">
                  <c:v>45047</c:v>
                </c:pt>
                <c:pt idx="852">
                  <c:v>45048</c:v>
                </c:pt>
                <c:pt idx="853">
                  <c:v>45049</c:v>
                </c:pt>
                <c:pt idx="854">
                  <c:v>45050</c:v>
                </c:pt>
                <c:pt idx="855">
                  <c:v>45051</c:v>
                </c:pt>
                <c:pt idx="856">
                  <c:v>45052</c:v>
                </c:pt>
                <c:pt idx="857">
                  <c:v>45053</c:v>
                </c:pt>
                <c:pt idx="858">
                  <c:v>45054</c:v>
                </c:pt>
                <c:pt idx="859">
                  <c:v>45055</c:v>
                </c:pt>
                <c:pt idx="860">
                  <c:v>45056</c:v>
                </c:pt>
                <c:pt idx="861">
                  <c:v>45057</c:v>
                </c:pt>
                <c:pt idx="862">
                  <c:v>45058</c:v>
                </c:pt>
                <c:pt idx="863">
                  <c:v>45059</c:v>
                </c:pt>
                <c:pt idx="864">
                  <c:v>45060</c:v>
                </c:pt>
                <c:pt idx="865">
                  <c:v>45061</c:v>
                </c:pt>
                <c:pt idx="866">
                  <c:v>45062</c:v>
                </c:pt>
                <c:pt idx="867">
                  <c:v>45063</c:v>
                </c:pt>
                <c:pt idx="868">
                  <c:v>45064</c:v>
                </c:pt>
                <c:pt idx="869">
                  <c:v>45065</c:v>
                </c:pt>
                <c:pt idx="870">
                  <c:v>45066</c:v>
                </c:pt>
                <c:pt idx="871">
                  <c:v>45067</c:v>
                </c:pt>
                <c:pt idx="872">
                  <c:v>45068</c:v>
                </c:pt>
                <c:pt idx="873">
                  <c:v>45069</c:v>
                </c:pt>
                <c:pt idx="874">
                  <c:v>45070</c:v>
                </c:pt>
                <c:pt idx="875">
                  <c:v>45071</c:v>
                </c:pt>
                <c:pt idx="876">
                  <c:v>45072</c:v>
                </c:pt>
                <c:pt idx="877">
                  <c:v>45073</c:v>
                </c:pt>
                <c:pt idx="878">
                  <c:v>45074</c:v>
                </c:pt>
                <c:pt idx="879">
                  <c:v>45075</c:v>
                </c:pt>
                <c:pt idx="880">
                  <c:v>45076</c:v>
                </c:pt>
                <c:pt idx="881">
                  <c:v>45077</c:v>
                </c:pt>
                <c:pt idx="882">
                  <c:v>45078</c:v>
                </c:pt>
                <c:pt idx="883">
                  <c:v>45079</c:v>
                </c:pt>
                <c:pt idx="884">
                  <c:v>45080</c:v>
                </c:pt>
                <c:pt idx="885">
                  <c:v>45081</c:v>
                </c:pt>
                <c:pt idx="886">
                  <c:v>45082</c:v>
                </c:pt>
                <c:pt idx="887">
                  <c:v>45083</c:v>
                </c:pt>
                <c:pt idx="888">
                  <c:v>45084</c:v>
                </c:pt>
                <c:pt idx="889">
                  <c:v>45085</c:v>
                </c:pt>
                <c:pt idx="890">
                  <c:v>45086</c:v>
                </c:pt>
                <c:pt idx="891">
                  <c:v>45087</c:v>
                </c:pt>
                <c:pt idx="892">
                  <c:v>45088</c:v>
                </c:pt>
                <c:pt idx="893">
                  <c:v>45089</c:v>
                </c:pt>
                <c:pt idx="894">
                  <c:v>45090</c:v>
                </c:pt>
                <c:pt idx="895">
                  <c:v>45091</c:v>
                </c:pt>
                <c:pt idx="896">
                  <c:v>45092</c:v>
                </c:pt>
                <c:pt idx="897">
                  <c:v>45093</c:v>
                </c:pt>
                <c:pt idx="898">
                  <c:v>45094</c:v>
                </c:pt>
                <c:pt idx="899">
                  <c:v>45095</c:v>
                </c:pt>
                <c:pt idx="900">
                  <c:v>45096</c:v>
                </c:pt>
                <c:pt idx="901">
                  <c:v>45097</c:v>
                </c:pt>
                <c:pt idx="902">
                  <c:v>45098</c:v>
                </c:pt>
                <c:pt idx="903">
                  <c:v>45099</c:v>
                </c:pt>
                <c:pt idx="904">
                  <c:v>45100</c:v>
                </c:pt>
                <c:pt idx="905">
                  <c:v>45101</c:v>
                </c:pt>
                <c:pt idx="906">
                  <c:v>45102</c:v>
                </c:pt>
                <c:pt idx="907">
                  <c:v>45103</c:v>
                </c:pt>
                <c:pt idx="908">
                  <c:v>45104</c:v>
                </c:pt>
                <c:pt idx="909">
                  <c:v>45105</c:v>
                </c:pt>
                <c:pt idx="910">
                  <c:v>45106</c:v>
                </c:pt>
                <c:pt idx="911">
                  <c:v>45107</c:v>
                </c:pt>
                <c:pt idx="912">
                  <c:v>45108</c:v>
                </c:pt>
                <c:pt idx="913">
                  <c:v>45109</c:v>
                </c:pt>
                <c:pt idx="914">
                  <c:v>45110</c:v>
                </c:pt>
                <c:pt idx="915">
                  <c:v>45111</c:v>
                </c:pt>
                <c:pt idx="916">
                  <c:v>45112</c:v>
                </c:pt>
                <c:pt idx="917">
                  <c:v>45113</c:v>
                </c:pt>
                <c:pt idx="918">
                  <c:v>45114</c:v>
                </c:pt>
                <c:pt idx="919">
                  <c:v>45115</c:v>
                </c:pt>
                <c:pt idx="920">
                  <c:v>45116</c:v>
                </c:pt>
                <c:pt idx="921">
                  <c:v>45117</c:v>
                </c:pt>
                <c:pt idx="922">
                  <c:v>45118</c:v>
                </c:pt>
                <c:pt idx="923">
                  <c:v>45119</c:v>
                </c:pt>
                <c:pt idx="924">
                  <c:v>45120</c:v>
                </c:pt>
                <c:pt idx="925">
                  <c:v>45121</c:v>
                </c:pt>
                <c:pt idx="926">
                  <c:v>45122</c:v>
                </c:pt>
                <c:pt idx="927">
                  <c:v>45123</c:v>
                </c:pt>
                <c:pt idx="928">
                  <c:v>45124</c:v>
                </c:pt>
                <c:pt idx="929">
                  <c:v>45125</c:v>
                </c:pt>
                <c:pt idx="930">
                  <c:v>45126</c:v>
                </c:pt>
                <c:pt idx="931">
                  <c:v>45127</c:v>
                </c:pt>
                <c:pt idx="932">
                  <c:v>45128</c:v>
                </c:pt>
                <c:pt idx="933">
                  <c:v>45129</c:v>
                </c:pt>
                <c:pt idx="934">
                  <c:v>45130</c:v>
                </c:pt>
                <c:pt idx="935">
                  <c:v>45131</c:v>
                </c:pt>
                <c:pt idx="936">
                  <c:v>45132</c:v>
                </c:pt>
                <c:pt idx="937">
                  <c:v>45133</c:v>
                </c:pt>
                <c:pt idx="938">
                  <c:v>45134</c:v>
                </c:pt>
                <c:pt idx="939">
                  <c:v>45135</c:v>
                </c:pt>
                <c:pt idx="940">
                  <c:v>45136</c:v>
                </c:pt>
                <c:pt idx="941">
                  <c:v>45137</c:v>
                </c:pt>
                <c:pt idx="942">
                  <c:v>45138</c:v>
                </c:pt>
                <c:pt idx="943">
                  <c:v>45139</c:v>
                </c:pt>
                <c:pt idx="944">
                  <c:v>45140</c:v>
                </c:pt>
                <c:pt idx="945">
                  <c:v>45141</c:v>
                </c:pt>
                <c:pt idx="946">
                  <c:v>45142</c:v>
                </c:pt>
                <c:pt idx="947">
                  <c:v>45143</c:v>
                </c:pt>
                <c:pt idx="948">
                  <c:v>45144</c:v>
                </c:pt>
                <c:pt idx="949">
                  <c:v>45145</c:v>
                </c:pt>
                <c:pt idx="950">
                  <c:v>45146</c:v>
                </c:pt>
                <c:pt idx="951">
                  <c:v>45147</c:v>
                </c:pt>
                <c:pt idx="952">
                  <c:v>45148</c:v>
                </c:pt>
                <c:pt idx="953">
                  <c:v>45149</c:v>
                </c:pt>
                <c:pt idx="954">
                  <c:v>45150</c:v>
                </c:pt>
                <c:pt idx="955">
                  <c:v>45151</c:v>
                </c:pt>
                <c:pt idx="956">
                  <c:v>45152</c:v>
                </c:pt>
                <c:pt idx="957">
                  <c:v>45153</c:v>
                </c:pt>
                <c:pt idx="958">
                  <c:v>45154</c:v>
                </c:pt>
                <c:pt idx="959">
                  <c:v>45155</c:v>
                </c:pt>
                <c:pt idx="960">
                  <c:v>45156</c:v>
                </c:pt>
                <c:pt idx="961">
                  <c:v>45157</c:v>
                </c:pt>
                <c:pt idx="962">
                  <c:v>45158</c:v>
                </c:pt>
                <c:pt idx="963">
                  <c:v>45159</c:v>
                </c:pt>
                <c:pt idx="964">
                  <c:v>45160</c:v>
                </c:pt>
                <c:pt idx="965">
                  <c:v>45161</c:v>
                </c:pt>
                <c:pt idx="966">
                  <c:v>45162</c:v>
                </c:pt>
                <c:pt idx="967">
                  <c:v>45163</c:v>
                </c:pt>
                <c:pt idx="968">
                  <c:v>45164</c:v>
                </c:pt>
                <c:pt idx="969">
                  <c:v>45165</c:v>
                </c:pt>
                <c:pt idx="970">
                  <c:v>45166</c:v>
                </c:pt>
                <c:pt idx="971">
                  <c:v>45167</c:v>
                </c:pt>
                <c:pt idx="972">
                  <c:v>45168</c:v>
                </c:pt>
                <c:pt idx="973">
                  <c:v>45169</c:v>
                </c:pt>
                <c:pt idx="974">
                  <c:v>45170</c:v>
                </c:pt>
                <c:pt idx="975">
                  <c:v>45171</c:v>
                </c:pt>
                <c:pt idx="976">
                  <c:v>45172</c:v>
                </c:pt>
                <c:pt idx="977">
                  <c:v>45173</c:v>
                </c:pt>
                <c:pt idx="978">
                  <c:v>45174</c:v>
                </c:pt>
                <c:pt idx="979">
                  <c:v>45175</c:v>
                </c:pt>
                <c:pt idx="980">
                  <c:v>45176</c:v>
                </c:pt>
                <c:pt idx="981">
                  <c:v>45177</c:v>
                </c:pt>
                <c:pt idx="982">
                  <c:v>45178</c:v>
                </c:pt>
                <c:pt idx="983">
                  <c:v>45179</c:v>
                </c:pt>
                <c:pt idx="984">
                  <c:v>45180</c:v>
                </c:pt>
                <c:pt idx="985">
                  <c:v>45181</c:v>
                </c:pt>
                <c:pt idx="986">
                  <c:v>45182</c:v>
                </c:pt>
                <c:pt idx="987">
                  <c:v>45183</c:v>
                </c:pt>
                <c:pt idx="988">
                  <c:v>45184</c:v>
                </c:pt>
                <c:pt idx="989">
                  <c:v>45185</c:v>
                </c:pt>
                <c:pt idx="990">
                  <c:v>45186</c:v>
                </c:pt>
                <c:pt idx="991">
                  <c:v>45187</c:v>
                </c:pt>
                <c:pt idx="992">
                  <c:v>45188</c:v>
                </c:pt>
                <c:pt idx="993">
                  <c:v>45189</c:v>
                </c:pt>
                <c:pt idx="994">
                  <c:v>45190</c:v>
                </c:pt>
                <c:pt idx="995">
                  <c:v>45191</c:v>
                </c:pt>
                <c:pt idx="996">
                  <c:v>45192</c:v>
                </c:pt>
                <c:pt idx="997">
                  <c:v>45193</c:v>
                </c:pt>
                <c:pt idx="998">
                  <c:v>45194</c:v>
                </c:pt>
                <c:pt idx="999">
                  <c:v>45195</c:v>
                </c:pt>
                <c:pt idx="1000">
                  <c:v>45196</c:v>
                </c:pt>
                <c:pt idx="1001">
                  <c:v>45197</c:v>
                </c:pt>
                <c:pt idx="1002">
                  <c:v>45198</c:v>
                </c:pt>
                <c:pt idx="1003">
                  <c:v>45199</c:v>
                </c:pt>
                <c:pt idx="1004">
                  <c:v>45200</c:v>
                </c:pt>
                <c:pt idx="1005">
                  <c:v>45201</c:v>
                </c:pt>
                <c:pt idx="1006">
                  <c:v>45202</c:v>
                </c:pt>
                <c:pt idx="1007">
                  <c:v>45203</c:v>
                </c:pt>
                <c:pt idx="1008">
                  <c:v>45204</c:v>
                </c:pt>
                <c:pt idx="1009">
                  <c:v>45205</c:v>
                </c:pt>
                <c:pt idx="1010">
                  <c:v>45206</c:v>
                </c:pt>
                <c:pt idx="1011">
                  <c:v>45207</c:v>
                </c:pt>
                <c:pt idx="1012">
                  <c:v>45208</c:v>
                </c:pt>
                <c:pt idx="1013">
                  <c:v>45209</c:v>
                </c:pt>
                <c:pt idx="1014">
                  <c:v>45210</c:v>
                </c:pt>
                <c:pt idx="1015">
                  <c:v>45211</c:v>
                </c:pt>
                <c:pt idx="1016">
                  <c:v>45212</c:v>
                </c:pt>
                <c:pt idx="1017">
                  <c:v>45213</c:v>
                </c:pt>
                <c:pt idx="1018">
                  <c:v>45214</c:v>
                </c:pt>
                <c:pt idx="1019">
                  <c:v>45215</c:v>
                </c:pt>
                <c:pt idx="1020">
                  <c:v>45216</c:v>
                </c:pt>
                <c:pt idx="1021">
                  <c:v>45217</c:v>
                </c:pt>
                <c:pt idx="1022">
                  <c:v>45218</c:v>
                </c:pt>
                <c:pt idx="1023">
                  <c:v>45219</c:v>
                </c:pt>
                <c:pt idx="1024">
                  <c:v>45220</c:v>
                </c:pt>
                <c:pt idx="1025">
                  <c:v>45221</c:v>
                </c:pt>
                <c:pt idx="1026">
                  <c:v>45222</c:v>
                </c:pt>
                <c:pt idx="1027">
                  <c:v>45223</c:v>
                </c:pt>
                <c:pt idx="1028">
                  <c:v>45224</c:v>
                </c:pt>
                <c:pt idx="1029">
                  <c:v>45225</c:v>
                </c:pt>
                <c:pt idx="1030">
                  <c:v>45226</c:v>
                </c:pt>
                <c:pt idx="1031">
                  <c:v>45227</c:v>
                </c:pt>
                <c:pt idx="1032">
                  <c:v>45228</c:v>
                </c:pt>
                <c:pt idx="1033">
                  <c:v>45229</c:v>
                </c:pt>
                <c:pt idx="1034">
                  <c:v>45230</c:v>
                </c:pt>
                <c:pt idx="1035">
                  <c:v>45231</c:v>
                </c:pt>
                <c:pt idx="1036">
                  <c:v>45232</c:v>
                </c:pt>
                <c:pt idx="1037">
                  <c:v>45233</c:v>
                </c:pt>
                <c:pt idx="1038">
                  <c:v>45234</c:v>
                </c:pt>
                <c:pt idx="1039">
                  <c:v>45235</c:v>
                </c:pt>
                <c:pt idx="1040">
                  <c:v>45236</c:v>
                </c:pt>
                <c:pt idx="1041">
                  <c:v>45237</c:v>
                </c:pt>
                <c:pt idx="1042">
                  <c:v>45238</c:v>
                </c:pt>
                <c:pt idx="1043">
                  <c:v>45239</c:v>
                </c:pt>
                <c:pt idx="1044">
                  <c:v>45240</c:v>
                </c:pt>
                <c:pt idx="1045">
                  <c:v>45241</c:v>
                </c:pt>
                <c:pt idx="1046">
                  <c:v>45242</c:v>
                </c:pt>
                <c:pt idx="1047">
                  <c:v>45243</c:v>
                </c:pt>
                <c:pt idx="1048">
                  <c:v>45244</c:v>
                </c:pt>
                <c:pt idx="1049">
                  <c:v>45245</c:v>
                </c:pt>
                <c:pt idx="1050">
                  <c:v>45246</c:v>
                </c:pt>
                <c:pt idx="1051">
                  <c:v>45247</c:v>
                </c:pt>
                <c:pt idx="1052">
                  <c:v>45248</c:v>
                </c:pt>
                <c:pt idx="1053">
                  <c:v>45249</c:v>
                </c:pt>
                <c:pt idx="1054">
                  <c:v>45250</c:v>
                </c:pt>
                <c:pt idx="1055">
                  <c:v>45251</c:v>
                </c:pt>
                <c:pt idx="1056">
                  <c:v>45252</c:v>
                </c:pt>
                <c:pt idx="1057">
                  <c:v>45253</c:v>
                </c:pt>
                <c:pt idx="1058">
                  <c:v>45254</c:v>
                </c:pt>
                <c:pt idx="1059">
                  <c:v>45255</c:v>
                </c:pt>
                <c:pt idx="1060">
                  <c:v>45256</c:v>
                </c:pt>
                <c:pt idx="1061">
                  <c:v>45257</c:v>
                </c:pt>
                <c:pt idx="1062">
                  <c:v>45258</c:v>
                </c:pt>
                <c:pt idx="1063">
                  <c:v>45259</c:v>
                </c:pt>
                <c:pt idx="1064">
                  <c:v>45260</c:v>
                </c:pt>
                <c:pt idx="1065">
                  <c:v>45261</c:v>
                </c:pt>
                <c:pt idx="1066">
                  <c:v>45262</c:v>
                </c:pt>
                <c:pt idx="1067">
                  <c:v>45263</c:v>
                </c:pt>
                <c:pt idx="1068">
                  <c:v>45264</c:v>
                </c:pt>
                <c:pt idx="1069">
                  <c:v>45265</c:v>
                </c:pt>
                <c:pt idx="1070">
                  <c:v>45266</c:v>
                </c:pt>
                <c:pt idx="1071">
                  <c:v>45267</c:v>
                </c:pt>
                <c:pt idx="1072">
                  <c:v>45268</c:v>
                </c:pt>
                <c:pt idx="1073">
                  <c:v>45269</c:v>
                </c:pt>
                <c:pt idx="1074">
                  <c:v>45270</c:v>
                </c:pt>
                <c:pt idx="1075">
                  <c:v>45271</c:v>
                </c:pt>
                <c:pt idx="1076">
                  <c:v>45272</c:v>
                </c:pt>
                <c:pt idx="1077">
                  <c:v>45273</c:v>
                </c:pt>
                <c:pt idx="1078">
                  <c:v>45274</c:v>
                </c:pt>
                <c:pt idx="1079">
                  <c:v>45275</c:v>
                </c:pt>
                <c:pt idx="1080">
                  <c:v>45276</c:v>
                </c:pt>
                <c:pt idx="1081">
                  <c:v>45277</c:v>
                </c:pt>
                <c:pt idx="1082">
                  <c:v>45278</c:v>
                </c:pt>
                <c:pt idx="1083">
                  <c:v>45279</c:v>
                </c:pt>
                <c:pt idx="1084">
                  <c:v>45280</c:v>
                </c:pt>
                <c:pt idx="1085">
                  <c:v>45281</c:v>
                </c:pt>
                <c:pt idx="1086">
                  <c:v>45282</c:v>
                </c:pt>
                <c:pt idx="1087">
                  <c:v>45283</c:v>
                </c:pt>
                <c:pt idx="1088">
                  <c:v>45284</c:v>
                </c:pt>
                <c:pt idx="1089">
                  <c:v>45285</c:v>
                </c:pt>
                <c:pt idx="1090">
                  <c:v>45286</c:v>
                </c:pt>
                <c:pt idx="1091">
                  <c:v>45287</c:v>
                </c:pt>
                <c:pt idx="1092">
                  <c:v>45288</c:v>
                </c:pt>
                <c:pt idx="1093">
                  <c:v>45289</c:v>
                </c:pt>
                <c:pt idx="1094">
                  <c:v>45290</c:v>
                </c:pt>
                <c:pt idx="1095">
                  <c:v>45291</c:v>
                </c:pt>
                <c:pt idx="1096">
                  <c:v>45292</c:v>
                </c:pt>
                <c:pt idx="1097">
                  <c:v>45293</c:v>
                </c:pt>
                <c:pt idx="1098">
                  <c:v>45294</c:v>
                </c:pt>
                <c:pt idx="1099">
                  <c:v>45295</c:v>
                </c:pt>
                <c:pt idx="1100">
                  <c:v>45296</c:v>
                </c:pt>
                <c:pt idx="1101">
                  <c:v>45297</c:v>
                </c:pt>
                <c:pt idx="1102">
                  <c:v>45298</c:v>
                </c:pt>
                <c:pt idx="1103">
                  <c:v>45299</c:v>
                </c:pt>
                <c:pt idx="1104">
                  <c:v>45300</c:v>
                </c:pt>
                <c:pt idx="1105">
                  <c:v>45301</c:v>
                </c:pt>
                <c:pt idx="1106">
                  <c:v>45302</c:v>
                </c:pt>
                <c:pt idx="1107">
                  <c:v>45303</c:v>
                </c:pt>
                <c:pt idx="1108">
                  <c:v>45304</c:v>
                </c:pt>
                <c:pt idx="1109">
                  <c:v>45305</c:v>
                </c:pt>
                <c:pt idx="1110">
                  <c:v>45306</c:v>
                </c:pt>
                <c:pt idx="1111">
                  <c:v>45307</c:v>
                </c:pt>
                <c:pt idx="1112">
                  <c:v>45308</c:v>
                </c:pt>
                <c:pt idx="1113">
                  <c:v>45309</c:v>
                </c:pt>
                <c:pt idx="1114">
                  <c:v>45310</c:v>
                </c:pt>
                <c:pt idx="1115">
                  <c:v>45311</c:v>
                </c:pt>
                <c:pt idx="1116">
                  <c:v>45312</c:v>
                </c:pt>
                <c:pt idx="1117">
                  <c:v>45313</c:v>
                </c:pt>
                <c:pt idx="1118">
                  <c:v>45314</c:v>
                </c:pt>
                <c:pt idx="1119">
                  <c:v>45315</c:v>
                </c:pt>
                <c:pt idx="1120">
                  <c:v>45316</c:v>
                </c:pt>
                <c:pt idx="1121">
                  <c:v>45317</c:v>
                </c:pt>
                <c:pt idx="1122">
                  <c:v>45318</c:v>
                </c:pt>
                <c:pt idx="1123">
                  <c:v>45319</c:v>
                </c:pt>
                <c:pt idx="1124">
                  <c:v>45320</c:v>
                </c:pt>
                <c:pt idx="1125">
                  <c:v>45321</c:v>
                </c:pt>
                <c:pt idx="1126">
                  <c:v>45322</c:v>
                </c:pt>
                <c:pt idx="1127">
                  <c:v>45323</c:v>
                </c:pt>
                <c:pt idx="1128">
                  <c:v>45324</c:v>
                </c:pt>
                <c:pt idx="1129">
                  <c:v>45325</c:v>
                </c:pt>
                <c:pt idx="1130">
                  <c:v>45326</c:v>
                </c:pt>
                <c:pt idx="1131">
                  <c:v>45327</c:v>
                </c:pt>
                <c:pt idx="1132">
                  <c:v>45328</c:v>
                </c:pt>
                <c:pt idx="1133">
                  <c:v>45329</c:v>
                </c:pt>
                <c:pt idx="1134">
                  <c:v>45330</c:v>
                </c:pt>
                <c:pt idx="1135">
                  <c:v>45331</c:v>
                </c:pt>
                <c:pt idx="1136">
                  <c:v>45332</c:v>
                </c:pt>
                <c:pt idx="1137">
                  <c:v>45333</c:v>
                </c:pt>
                <c:pt idx="1138">
                  <c:v>45334</c:v>
                </c:pt>
                <c:pt idx="1139">
                  <c:v>45335</c:v>
                </c:pt>
                <c:pt idx="1140">
                  <c:v>45336</c:v>
                </c:pt>
                <c:pt idx="1141">
                  <c:v>45337</c:v>
                </c:pt>
                <c:pt idx="1142">
                  <c:v>45338</c:v>
                </c:pt>
                <c:pt idx="1143">
                  <c:v>45339</c:v>
                </c:pt>
                <c:pt idx="1144">
                  <c:v>45340</c:v>
                </c:pt>
                <c:pt idx="1145">
                  <c:v>45341</c:v>
                </c:pt>
                <c:pt idx="1146">
                  <c:v>45342</c:v>
                </c:pt>
                <c:pt idx="1147">
                  <c:v>45343</c:v>
                </c:pt>
                <c:pt idx="1148">
                  <c:v>45344</c:v>
                </c:pt>
                <c:pt idx="1149">
                  <c:v>45345</c:v>
                </c:pt>
                <c:pt idx="1150">
                  <c:v>45346</c:v>
                </c:pt>
                <c:pt idx="1151">
                  <c:v>45347</c:v>
                </c:pt>
                <c:pt idx="1152">
                  <c:v>45348</c:v>
                </c:pt>
                <c:pt idx="1153">
                  <c:v>45349</c:v>
                </c:pt>
                <c:pt idx="1154">
                  <c:v>45350</c:v>
                </c:pt>
                <c:pt idx="1155">
                  <c:v>45351</c:v>
                </c:pt>
                <c:pt idx="1156">
                  <c:v>45352</c:v>
                </c:pt>
                <c:pt idx="1157">
                  <c:v>45353</c:v>
                </c:pt>
                <c:pt idx="1158">
                  <c:v>45354</c:v>
                </c:pt>
                <c:pt idx="1159">
                  <c:v>45355</c:v>
                </c:pt>
                <c:pt idx="1160">
                  <c:v>45356</c:v>
                </c:pt>
                <c:pt idx="1161">
                  <c:v>45357</c:v>
                </c:pt>
                <c:pt idx="1162">
                  <c:v>45358</c:v>
                </c:pt>
                <c:pt idx="1163">
                  <c:v>45359</c:v>
                </c:pt>
                <c:pt idx="1164">
                  <c:v>45360</c:v>
                </c:pt>
                <c:pt idx="1165">
                  <c:v>45361</c:v>
                </c:pt>
                <c:pt idx="1166">
                  <c:v>45362</c:v>
                </c:pt>
                <c:pt idx="1167">
                  <c:v>45363</c:v>
                </c:pt>
                <c:pt idx="1168">
                  <c:v>45364</c:v>
                </c:pt>
                <c:pt idx="1169">
                  <c:v>45365</c:v>
                </c:pt>
                <c:pt idx="1170">
                  <c:v>45366</c:v>
                </c:pt>
                <c:pt idx="1171">
                  <c:v>45367</c:v>
                </c:pt>
                <c:pt idx="1172">
                  <c:v>45368</c:v>
                </c:pt>
                <c:pt idx="1173">
                  <c:v>45369</c:v>
                </c:pt>
                <c:pt idx="1174">
                  <c:v>45370</c:v>
                </c:pt>
                <c:pt idx="1175">
                  <c:v>45371</c:v>
                </c:pt>
                <c:pt idx="1176">
                  <c:v>45372</c:v>
                </c:pt>
                <c:pt idx="1177">
                  <c:v>45373</c:v>
                </c:pt>
                <c:pt idx="1178">
                  <c:v>45374</c:v>
                </c:pt>
                <c:pt idx="1179">
                  <c:v>45375</c:v>
                </c:pt>
                <c:pt idx="1180">
                  <c:v>45376</c:v>
                </c:pt>
                <c:pt idx="1181">
                  <c:v>45377</c:v>
                </c:pt>
                <c:pt idx="1182">
                  <c:v>45378</c:v>
                </c:pt>
                <c:pt idx="1183">
                  <c:v>45379</c:v>
                </c:pt>
                <c:pt idx="1184">
                  <c:v>45380</c:v>
                </c:pt>
                <c:pt idx="1185">
                  <c:v>45381</c:v>
                </c:pt>
                <c:pt idx="1186">
                  <c:v>45382</c:v>
                </c:pt>
                <c:pt idx="1187">
                  <c:v>45383</c:v>
                </c:pt>
                <c:pt idx="1188">
                  <c:v>45384</c:v>
                </c:pt>
                <c:pt idx="1189">
                  <c:v>45385</c:v>
                </c:pt>
                <c:pt idx="1190">
                  <c:v>45386</c:v>
                </c:pt>
                <c:pt idx="1191">
                  <c:v>45387</c:v>
                </c:pt>
                <c:pt idx="1192">
                  <c:v>45388</c:v>
                </c:pt>
                <c:pt idx="1193">
                  <c:v>45389</c:v>
                </c:pt>
                <c:pt idx="1194">
                  <c:v>45390</c:v>
                </c:pt>
                <c:pt idx="1195">
                  <c:v>45391</c:v>
                </c:pt>
                <c:pt idx="1196">
                  <c:v>45392</c:v>
                </c:pt>
                <c:pt idx="1197">
                  <c:v>45393</c:v>
                </c:pt>
                <c:pt idx="1198">
                  <c:v>45394</c:v>
                </c:pt>
                <c:pt idx="1199">
                  <c:v>45395</c:v>
                </c:pt>
                <c:pt idx="1200">
                  <c:v>45396</c:v>
                </c:pt>
                <c:pt idx="1201">
                  <c:v>45397</c:v>
                </c:pt>
                <c:pt idx="1202">
                  <c:v>45398</c:v>
                </c:pt>
                <c:pt idx="1203">
                  <c:v>45399</c:v>
                </c:pt>
                <c:pt idx="1204">
                  <c:v>45400</c:v>
                </c:pt>
                <c:pt idx="1205">
                  <c:v>45401</c:v>
                </c:pt>
                <c:pt idx="1206">
                  <c:v>45402</c:v>
                </c:pt>
                <c:pt idx="1207">
                  <c:v>45403</c:v>
                </c:pt>
                <c:pt idx="1208">
                  <c:v>45404</c:v>
                </c:pt>
                <c:pt idx="1209">
                  <c:v>45405</c:v>
                </c:pt>
                <c:pt idx="1210">
                  <c:v>45406</c:v>
                </c:pt>
                <c:pt idx="1211">
                  <c:v>45407</c:v>
                </c:pt>
                <c:pt idx="1212">
                  <c:v>45408</c:v>
                </c:pt>
                <c:pt idx="1213">
                  <c:v>45409</c:v>
                </c:pt>
                <c:pt idx="1214">
                  <c:v>45410</c:v>
                </c:pt>
                <c:pt idx="1215">
                  <c:v>45411</c:v>
                </c:pt>
                <c:pt idx="1216">
                  <c:v>45412</c:v>
                </c:pt>
                <c:pt idx="1217">
                  <c:v>45413</c:v>
                </c:pt>
                <c:pt idx="1218">
                  <c:v>45414</c:v>
                </c:pt>
                <c:pt idx="1219">
                  <c:v>45415</c:v>
                </c:pt>
                <c:pt idx="1220">
                  <c:v>45416</c:v>
                </c:pt>
                <c:pt idx="1221">
                  <c:v>45417</c:v>
                </c:pt>
                <c:pt idx="1222">
                  <c:v>45418</c:v>
                </c:pt>
                <c:pt idx="1223">
                  <c:v>45419</c:v>
                </c:pt>
                <c:pt idx="1224">
                  <c:v>45420</c:v>
                </c:pt>
                <c:pt idx="1225">
                  <c:v>45421</c:v>
                </c:pt>
                <c:pt idx="1226">
                  <c:v>45422</c:v>
                </c:pt>
                <c:pt idx="1227">
                  <c:v>45423</c:v>
                </c:pt>
                <c:pt idx="1228">
                  <c:v>45424</c:v>
                </c:pt>
                <c:pt idx="1229">
                  <c:v>45425</c:v>
                </c:pt>
                <c:pt idx="1230">
                  <c:v>45426</c:v>
                </c:pt>
                <c:pt idx="1231">
                  <c:v>45427</c:v>
                </c:pt>
                <c:pt idx="1232">
                  <c:v>45428</c:v>
                </c:pt>
                <c:pt idx="1233">
                  <c:v>45429</c:v>
                </c:pt>
                <c:pt idx="1234">
                  <c:v>45430</c:v>
                </c:pt>
                <c:pt idx="1235">
                  <c:v>45431</c:v>
                </c:pt>
                <c:pt idx="1236">
                  <c:v>45432</c:v>
                </c:pt>
                <c:pt idx="1237">
                  <c:v>45433</c:v>
                </c:pt>
                <c:pt idx="1238">
                  <c:v>45434</c:v>
                </c:pt>
                <c:pt idx="1239">
                  <c:v>45435</c:v>
                </c:pt>
                <c:pt idx="1240">
                  <c:v>45436</c:v>
                </c:pt>
                <c:pt idx="1241">
                  <c:v>45437</c:v>
                </c:pt>
                <c:pt idx="1242">
                  <c:v>45438</c:v>
                </c:pt>
                <c:pt idx="1243">
                  <c:v>45439</c:v>
                </c:pt>
                <c:pt idx="1244">
                  <c:v>45440</c:v>
                </c:pt>
                <c:pt idx="1245">
                  <c:v>45441</c:v>
                </c:pt>
                <c:pt idx="1246">
                  <c:v>45442</c:v>
                </c:pt>
                <c:pt idx="1247">
                  <c:v>45443</c:v>
                </c:pt>
                <c:pt idx="1248">
                  <c:v>45444</c:v>
                </c:pt>
                <c:pt idx="1249">
                  <c:v>45445</c:v>
                </c:pt>
                <c:pt idx="1250">
                  <c:v>45446</c:v>
                </c:pt>
                <c:pt idx="1251">
                  <c:v>45447</c:v>
                </c:pt>
                <c:pt idx="1252">
                  <c:v>45448</c:v>
                </c:pt>
                <c:pt idx="1253">
                  <c:v>45449</c:v>
                </c:pt>
                <c:pt idx="1254">
                  <c:v>45450</c:v>
                </c:pt>
                <c:pt idx="1255">
                  <c:v>45451</c:v>
                </c:pt>
                <c:pt idx="1256">
                  <c:v>45452</c:v>
                </c:pt>
                <c:pt idx="1257">
                  <c:v>45453</c:v>
                </c:pt>
                <c:pt idx="1258">
                  <c:v>45454</c:v>
                </c:pt>
                <c:pt idx="1259">
                  <c:v>45455</c:v>
                </c:pt>
                <c:pt idx="1260">
                  <c:v>45456</c:v>
                </c:pt>
                <c:pt idx="1261">
                  <c:v>45457</c:v>
                </c:pt>
                <c:pt idx="1262">
                  <c:v>45458</c:v>
                </c:pt>
                <c:pt idx="1263">
                  <c:v>45459</c:v>
                </c:pt>
                <c:pt idx="1264">
                  <c:v>45460</c:v>
                </c:pt>
                <c:pt idx="1265">
                  <c:v>45461</c:v>
                </c:pt>
                <c:pt idx="1266">
                  <c:v>45462</c:v>
                </c:pt>
                <c:pt idx="1267">
                  <c:v>45463</c:v>
                </c:pt>
                <c:pt idx="1268">
                  <c:v>45464</c:v>
                </c:pt>
                <c:pt idx="1269">
                  <c:v>45465</c:v>
                </c:pt>
                <c:pt idx="1270">
                  <c:v>45466</c:v>
                </c:pt>
                <c:pt idx="1271">
                  <c:v>45467</c:v>
                </c:pt>
                <c:pt idx="1272">
                  <c:v>45468</c:v>
                </c:pt>
                <c:pt idx="1273">
                  <c:v>45469</c:v>
                </c:pt>
                <c:pt idx="1274">
                  <c:v>45470</c:v>
                </c:pt>
                <c:pt idx="1275">
                  <c:v>45471</c:v>
                </c:pt>
                <c:pt idx="1276">
                  <c:v>45472</c:v>
                </c:pt>
                <c:pt idx="1277">
                  <c:v>45473</c:v>
                </c:pt>
                <c:pt idx="1278">
                  <c:v>45474</c:v>
                </c:pt>
                <c:pt idx="1279">
                  <c:v>45475</c:v>
                </c:pt>
                <c:pt idx="1280">
                  <c:v>45476</c:v>
                </c:pt>
                <c:pt idx="1281">
                  <c:v>45477</c:v>
                </c:pt>
                <c:pt idx="1282">
                  <c:v>45478</c:v>
                </c:pt>
                <c:pt idx="1283">
                  <c:v>45479</c:v>
                </c:pt>
                <c:pt idx="1284">
                  <c:v>45480</c:v>
                </c:pt>
                <c:pt idx="1285">
                  <c:v>45481</c:v>
                </c:pt>
                <c:pt idx="1286">
                  <c:v>45482</c:v>
                </c:pt>
                <c:pt idx="1287">
                  <c:v>45483</c:v>
                </c:pt>
                <c:pt idx="1288">
                  <c:v>45484</c:v>
                </c:pt>
                <c:pt idx="1289">
                  <c:v>45485</c:v>
                </c:pt>
                <c:pt idx="1290">
                  <c:v>45486</c:v>
                </c:pt>
                <c:pt idx="1291">
                  <c:v>45487</c:v>
                </c:pt>
                <c:pt idx="1292">
                  <c:v>45488</c:v>
                </c:pt>
                <c:pt idx="1293">
                  <c:v>45489</c:v>
                </c:pt>
                <c:pt idx="1294">
                  <c:v>45490</c:v>
                </c:pt>
                <c:pt idx="1295">
                  <c:v>45491</c:v>
                </c:pt>
                <c:pt idx="1296">
                  <c:v>45492</c:v>
                </c:pt>
                <c:pt idx="1297">
                  <c:v>45493</c:v>
                </c:pt>
                <c:pt idx="1298">
                  <c:v>45494</c:v>
                </c:pt>
                <c:pt idx="1299">
                  <c:v>45495</c:v>
                </c:pt>
                <c:pt idx="1300">
                  <c:v>45496</c:v>
                </c:pt>
                <c:pt idx="1301">
                  <c:v>45497</c:v>
                </c:pt>
                <c:pt idx="1302">
                  <c:v>45498</c:v>
                </c:pt>
                <c:pt idx="1303">
                  <c:v>45499</c:v>
                </c:pt>
                <c:pt idx="1304">
                  <c:v>45500</c:v>
                </c:pt>
                <c:pt idx="1305">
                  <c:v>45501</c:v>
                </c:pt>
                <c:pt idx="1306">
                  <c:v>45502</c:v>
                </c:pt>
                <c:pt idx="1307">
                  <c:v>45503</c:v>
                </c:pt>
                <c:pt idx="1308">
                  <c:v>45504</c:v>
                </c:pt>
                <c:pt idx="1309">
                  <c:v>45505</c:v>
                </c:pt>
                <c:pt idx="1310">
                  <c:v>45506</c:v>
                </c:pt>
                <c:pt idx="1311">
                  <c:v>45507</c:v>
                </c:pt>
                <c:pt idx="1312">
                  <c:v>45508</c:v>
                </c:pt>
                <c:pt idx="1313">
                  <c:v>45509</c:v>
                </c:pt>
                <c:pt idx="1314">
                  <c:v>45510</c:v>
                </c:pt>
                <c:pt idx="1315">
                  <c:v>45511</c:v>
                </c:pt>
                <c:pt idx="1316">
                  <c:v>45512</c:v>
                </c:pt>
                <c:pt idx="1317">
                  <c:v>45513</c:v>
                </c:pt>
                <c:pt idx="1318">
                  <c:v>45514</c:v>
                </c:pt>
                <c:pt idx="1319">
                  <c:v>45515</c:v>
                </c:pt>
                <c:pt idx="1320">
                  <c:v>45516</c:v>
                </c:pt>
                <c:pt idx="1321">
                  <c:v>45517</c:v>
                </c:pt>
                <c:pt idx="1322">
                  <c:v>45518</c:v>
                </c:pt>
                <c:pt idx="1323">
                  <c:v>45519</c:v>
                </c:pt>
                <c:pt idx="1324">
                  <c:v>45520</c:v>
                </c:pt>
                <c:pt idx="1325">
                  <c:v>45521</c:v>
                </c:pt>
                <c:pt idx="1326">
                  <c:v>45522</c:v>
                </c:pt>
                <c:pt idx="1327">
                  <c:v>45523</c:v>
                </c:pt>
                <c:pt idx="1328">
                  <c:v>45524</c:v>
                </c:pt>
                <c:pt idx="1329">
                  <c:v>45525</c:v>
                </c:pt>
                <c:pt idx="1330">
                  <c:v>45526</c:v>
                </c:pt>
                <c:pt idx="1331">
                  <c:v>45527</c:v>
                </c:pt>
                <c:pt idx="1332">
                  <c:v>45528</c:v>
                </c:pt>
                <c:pt idx="1333">
                  <c:v>45529</c:v>
                </c:pt>
                <c:pt idx="1334">
                  <c:v>45530</c:v>
                </c:pt>
                <c:pt idx="1335">
                  <c:v>45531</c:v>
                </c:pt>
                <c:pt idx="1336">
                  <c:v>45532</c:v>
                </c:pt>
                <c:pt idx="1337">
                  <c:v>45533</c:v>
                </c:pt>
                <c:pt idx="1338">
                  <c:v>45534</c:v>
                </c:pt>
                <c:pt idx="1339">
                  <c:v>45535</c:v>
                </c:pt>
                <c:pt idx="1340">
                  <c:v>45536</c:v>
                </c:pt>
                <c:pt idx="1341">
                  <c:v>45537</c:v>
                </c:pt>
                <c:pt idx="1342">
                  <c:v>45538</c:v>
                </c:pt>
                <c:pt idx="1343">
                  <c:v>45539</c:v>
                </c:pt>
                <c:pt idx="1344">
                  <c:v>45540</c:v>
                </c:pt>
                <c:pt idx="1345">
                  <c:v>45541</c:v>
                </c:pt>
                <c:pt idx="1346">
                  <c:v>45542</c:v>
                </c:pt>
                <c:pt idx="1347">
                  <c:v>45543</c:v>
                </c:pt>
                <c:pt idx="1348">
                  <c:v>45544</c:v>
                </c:pt>
                <c:pt idx="1349">
                  <c:v>45545</c:v>
                </c:pt>
                <c:pt idx="1350">
                  <c:v>45546</c:v>
                </c:pt>
                <c:pt idx="1351">
                  <c:v>45547</c:v>
                </c:pt>
                <c:pt idx="1352">
                  <c:v>45548</c:v>
                </c:pt>
                <c:pt idx="1353">
                  <c:v>45549</c:v>
                </c:pt>
                <c:pt idx="1354">
                  <c:v>45550</c:v>
                </c:pt>
                <c:pt idx="1355">
                  <c:v>45551</c:v>
                </c:pt>
                <c:pt idx="1356">
                  <c:v>45552</c:v>
                </c:pt>
                <c:pt idx="1357">
                  <c:v>45553</c:v>
                </c:pt>
                <c:pt idx="1358">
                  <c:v>45554</c:v>
                </c:pt>
                <c:pt idx="1359">
                  <c:v>45555</c:v>
                </c:pt>
                <c:pt idx="1360">
                  <c:v>45556</c:v>
                </c:pt>
                <c:pt idx="1361">
                  <c:v>45557</c:v>
                </c:pt>
                <c:pt idx="1362">
                  <c:v>45558</c:v>
                </c:pt>
                <c:pt idx="1363">
                  <c:v>45559</c:v>
                </c:pt>
                <c:pt idx="1364">
                  <c:v>45560</c:v>
                </c:pt>
                <c:pt idx="1365">
                  <c:v>45561</c:v>
                </c:pt>
                <c:pt idx="1366">
                  <c:v>45562</c:v>
                </c:pt>
                <c:pt idx="1367">
                  <c:v>45563</c:v>
                </c:pt>
                <c:pt idx="1368">
                  <c:v>45564</c:v>
                </c:pt>
                <c:pt idx="1369">
                  <c:v>45565</c:v>
                </c:pt>
                <c:pt idx="1370">
                  <c:v>45566</c:v>
                </c:pt>
                <c:pt idx="1371">
                  <c:v>45567</c:v>
                </c:pt>
                <c:pt idx="1372">
                  <c:v>45568</c:v>
                </c:pt>
                <c:pt idx="1373">
                  <c:v>45569</c:v>
                </c:pt>
                <c:pt idx="1374">
                  <c:v>45570</c:v>
                </c:pt>
                <c:pt idx="1375">
                  <c:v>45571</c:v>
                </c:pt>
                <c:pt idx="1376">
                  <c:v>45572</c:v>
                </c:pt>
                <c:pt idx="1377">
                  <c:v>45573</c:v>
                </c:pt>
                <c:pt idx="1378">
                  <c:v>45574</c:v>
                </c:pt>
                <c:pt idx="1379">
                  <c:v>45575</c:v>
                </c:pt>
                <c:pt idx="1380">
                  <c:v>45576</c:v>
                </c:pt>
                <c:pt idx="1381">
                  <c:v>45577</c:v>
                </c:pt>
                <c:pt idx="1382">
                  <c:v>45578</c:v>
                </c:pt>
                <c:pt idx="1383">
                  <c:v>45579</c:v>
                </c:pt>
                <c:pt idx="1384">
                  <c:v>45580</c:v>
                </c:pt>
                <c:pt idx="1385">
                  <c:v>45581</c:v>
                </c:pt>
                <c:pt idx="1386">
                  <c:v>45582</c:v>
                </c:pt>
                <c:pt idx="1387">
                  <c:v>45583</c:v>
                </c:pt>
                <c:pt idx="1388">
                  <c:v>45584</c:v>
                </c:pt>
                <c:pt idx="1389">
                  <c:v>45585</c:v>
                </c:pt>
                <c:pt idx="1390">
                  <c:v>45586</c:v>
                </c:pt>
                <c:pt idx="1391">
                  <c:v>45587</c:v>
                </c:pt>
                <c:pt idx="1392">
                  <c:v>45588</c:v>
                </c:pt>
                <c:pt idx="1393">
                  <c:v>45589</c:v>
                </c:pt>
                <c:pt idx="1394">
                  <c:v>45590</c:v>
                </c:pt>
                <c:pt idx="1395">
                  <c:v>45591</c:v>
                </c:pt>
                <c:pt idx="1396">
                  <c:v>45592</c:v>
                </c:pt>
                <c:pt idx="1397">
                  <c:v>45593</c:v>
                </c:pt>
                <c:pt idx="1398">
                  <c:v>45594</c:v>
                </c:pt>
                <c:pt idx="1399">
                  <c:v>45595</c:v>
                </c:pt>
                <c:pt idx="1400">
                  <c:v>45596</c:v>
                </c:pt>
                <c:pt idx="1401">
                  <c:v>45597</c:v>
                </c:pt>
                <c:pt idx="1402">
                  <c:v>45598</c:v>
                </c:pt>
                <c:pt idx="1403">
                  <c:v>45599</c:v>
                </c:pt>
                <c:pt idx="1404">
                  <c:v>45600</c:v>
                </c:pt>
                <c:pt idx="1405">
                  <c:v>45601</c:v>
                </c:pt>
                <c:pt idx="1406">
                  <c:v>45602</c:v>
                </c:pt>
                <c:pt idx="1407">
                  <c:v>45603</c:v>
                </c:pt>
                <c:pt idx="1408">
                  <c:v>45604</c:v>
                </c:pt>
                <c:pt idx="1409">
                  <c:v>45605</c:v>
                </c:pt>
                <c:pt idx="1410">
                  <c:v>45606</c:v>
                </c:pt>
                <c:pt idx="1411">
                  <c:v>45607</c:v>
                </c:pt>
                <c:pt idx="1412">
                  <c:v>45608</c:v>
                </c:pt>
                <c:pt idx="1413">
                  <c:v>45609</c:v>
                </c:pt>
                <c:pt idx="1414">
                  <c:v>45610</c:v>
                </c:pt>
                <c:pt idx="1415">
                  <c:v>45611</c:v>
                </c:pt>
                <c:pt idx="1416">
                  <c:v>45612</c:v>
                </c:pt>
                <c:pt idx="1417">
                  <c:v>45613</c:v>
                </c:pt>
                <c:pt idx="1418">
                  <c:v>45614</c:v>
                </c:pt>
                <c:pt idx="1419">
                  <c:v>45615</c:v>
                </c:pt>
                <c:pt idx="1420">
                  <c:v>45616</c:v>
                </c:pt>
                <c:pt idx="1421">
                  <c:v>45617</c:v>
                </c:pt>
                <c:pt idx="1422">
                  <c:v>45618</c:v>
                </c:pt>
                <c:pt idx="1423">
                  <c:v>45619</c:v>
                </c:pt>
                <c:pt idx="1424">
                  <c:v>45620</c:v>
                </c:pt>
                <c:pt idx="1425">
                  <c:v>45621</c:v>
                </c:pt>
                <c:pt idx="1426">
                  <c:v>45622</c:v>
                </c:pt>
                <c:pt idx="1427">
                  <c:v>45623</c:v>
                </c:pt>
                <c:pt idx="1428">
                  <c:v>45624</c:v>
                </c:pt>
                <c:pt idx="1429">
                  <c:v>45625</c:v>
                </c:pt>
                <c:pt idx="1430">
                  <c:v>45626</c:v>
                </c:pt>
                <c:pt idx="1431">
                  <c:v>45627</c:v>
                </c:pt>
                <c:pt idx="1432">
                  <c:v>45628</c:v>
                </c:pt>
                <c:pt idx="1433">
                  <c:v>45629</c:v>
                </c:pt>
                <c:pt idx="1434">
                  <c:v>45630</c:v>
                </c:pt>
                <c:pt idx="1435">
                  <c:v>45631</c:v>
                </c:pt>
                <c:pt idx="1436">
                  <c:v>45632</c:v>
                </c:pt>
                <c:pt idx="1437">
                  <c:v>45633</c:v>
                </c:pt>
                <c:pt idx="1438">
                  <c:v>45634</c:v>
                </c:pt>
                <c:pt idx="1439">
                  <c:v>45635</c:v>
                </c:pt>
                <c:pt idx="1440">
                  <c:v>45636</c:v>
                </c:pt>
                <c:pt idx="1441">
                  <c:v>45637</c:v>
                </c:pt>
                <c:pt idx="1442">
                  <c:v>45638</c:v>
                </c:pt>
                <c:pt idx="1443">
                  <c:v>45639</c:v>
                </c:pt>
                <c:pt idx="1444">
                  <c:v>45640</c:v>
                </c:pt>
                <c:pt idx="1445">
                  <c:v>45641</c:v>
                </c:pt>
                <c:pt idx="1446">
                  <c:v>45642</c:v>
                </c:pt>
                <c:pt idx="1447">
                  <c:v>45643</c:v>
                </c:pt>
                <c:pt idx="1448">
                  <c:v>45644</c:v>
                </c:pt>
                <c:pt idx="1449">
                  <c:v>45645</c:v>
                </c:pt>
                <c:pt idx="1450">
                  <c:v>45646</c:v>
                </c:pt>
                <c:pt idx="1451">
                  <c:v>45647</c:v>
                </c:pt>
                <c:pt idx="1452">
                  <c:v>45648</c:v>
                </c:pt>
                <c:pt idx="1453">
                  <c:v>45649</c:v>
                </c:pt>
                <c:pt idx="1454">
                  <c:v>45650</c:v>
                </c:pt>
                <c:pt idx="1455">
                  <c:v>45651</c:v>
                </c:pt>
                <c:pt idx="1456">
                  <c:v>45652</c:v>
                </c:pt>
                <c:pt idx="1457">
                  <c:v>45653</c:v>
                </c:pt>
                <c:pt idx="1458">
                  <c:v>45654</c:v>
                </c:pt>
                <c:pt idx="1459">
                  <c:v>45655</c:v>
                </c:pt>
                <c:pt idx="1460">
                  <c:v>45656</c:v>
                </c:pt>
                <c:pt idx="1461">
                  <c:v>45657</c:v>
                </c:pt>
                <c:pt idx="1462">
                  <c:v>45658</c:v>
                </c:pt>
                <c:pt idx="1463">
                  <c:v>45659</c:v>
                </c:pt>
                <c:pt idx="1464">
                  <c:v>45660</c:v>
                </c:pt>
                <c:pt idx="1465">
                  <c:v>45661</c:v>
                </c:pt>
                <c:pt idx="1466">
                  <c:v>45662</c:v>
                </c:pt>
                <c:pt idx="1467">
                  <c:v>45663</c:v>
                </c:pt>
                <c:pt idx="1468">
                  <c:v>45664</c:v>
                </c:pt>
                <c:pt idx="1469">
                  <c:v>45665</c:v>
                </c:pt>
                <c:pt idx="1470">
                  <c:v>45666</c:v>
                </c:pt>
                <c:pt idx="1471">
                  <c:v>45667</c:v>
                </c:pt>
                <c:pt idx="1472">
                  <c:v>45668</c:v>
                </c:pt>
                <c:pt idx="1473">
                  <c:v>45669</c:v>
                </c:pt>
                <c:pt idx="1474">
                  <c:v>45670</c:v>
                </c:pt>
                <c:pt idx="1475">
                  <c:v>45671</c:v>
                </c:pt>
                <c:pt idx="1476">
                  <c:v>45672</c:v>
                </c:pt>
                <c:pt idx="1477">
                  <c:v>45673</c:v>
                </c:pt>
                <c:pt idx="1478">
                  <c:v>45674</c:v>
                </c:pt>
                <c:pt idx="1479">
                  <c:v>45675</c:v>
                </c:pt>
                <c:pt idx="1480">
                  <c:v>45676</c:v>
                </c:pt>
                <c:pt idx="1481">
                  <c:v>45677</c:v>
                </c:pt>
                <c:pt idx="1482">
                  <c:v>45678</c:v>
                </c:pt>
                <c:pt idx="1483">
                  <c:v>45679</c:v>
                </c:pt>
                <c:pt idx="1484">
                  <c:v>45680</c:v>
                </c:pt>
                <c:pt idx="1485">
                  <c:v>45681</c:v>
                </c:pt>
                <c:pt idx="1486">
                  <c:v>45682</c:v>
                </c:pt>
                <c:pt idx="1487">
                  <c:v>45683</c:v>
                </c:pt>
                <c:pt idx="1488">
                  <c:v>45684</c:v>
                </c:pt>
                <c:pt idx="1489">
                  <c:v>45685</c:v>
                </c:pt>
                <c:pt idx="1490">
                  <c:v>45686</c:v>
                </c:pt>
                <c:pt idx="1491">
                  <c:v>45687</c:v>
                </c:pt>
                <c:pt idx="1492">
                  <c:v>45688</c:v>
                </c:pt>
                <c:pt idx="1493">
                  <c:v>45689</c:v>
                </c:pt>
                <c:pt idx="1494">
                  <c:v>45690</c:v>
                </c:pt>
                <c:pt idx="1495">
                  <c:v>45691</c:v>
                </c:pt>
                <c:pt idx="1496">
                  <c:v>45692</c:v>
                </c:pt>
                <c:pt idx="1497">
                  <c:v>45693</c:v>
                </c:pt>
                <c:pt idx="1498">
                  <c:v>45694</c:v>
                </c:pt>
                <c:pt idx="1499">
                  <c:v>45695</c:v>
                </c:pt>
                <c:pt idx="1500">
                  <c:v>45696</c:v>
                </c:pt>
                <c:pt idx="1501">
                  <c:v>45697</c:v>
                </c:pt>
                <c:pt idx="1502">
                  <c:v>45698</c:v>
                </c:pt>
                <c:pt idx="1503">
                  <c:v>45699</c:v>
                </c:pt>
                <c:pt idx="1504">
                  <c:v>45700</c:v>
                </c:pt>
                <c:pt idx="1505">
                  <c:v>45701</c:v>
                </c:pt>
                <c:pt idx="1506">
                  <c:v>45702</c:v>
                </c:pt>
                <c:pt idx="1507">
                  <c:v>45703</c:v>
                </c:pt>
                <c:pt idx="1508">
                  <c:v>45704</c:v>
                </c:pt>
                <c:pt idx="1509">
                  <c:v>45705</c:v>
                </c:pt>
                <c:pt idx="1510">
                  <c:v>45706</c:v>
                </c:pt>
                <c:pt idx="1511">
                  <c:v>45707</c:v>
                </c:pt>
                <c:pt idx="1512">
                  <c:v>45708</c:v>
                </c:pt>
                <c:pt idx="1513">
                  <c:v>45709</c:v>
                </c:pt>
                <c:pt idx="1514">
                  <c:v>45710</c:v>
                </c:pt>
                <c:pt idx="1515">
                  <c:v>45711</c:v>
                </c:pt>
                <c:pt idx="1516">
                  <c:v>45712</c:v>
                </c:pt>
                <c:pt idx="1517">
                  <c:v>45713</c:v>
                </c:pt>
                <c:pt idx="1518">
                  <c:v>45714</c:v>
                </c:pt>
                <c:pt idx="1519">
                  <c:v>45715</c:v>
                </c:pt>
                <c:pt idx="1520">
                  <c:v>45716</c:v>
                </c:pt>
                <c:pt idx="1521">
                  <c:v>45717</c:v>
                </c:pt>
                <c:pt idx="1522">
                  <c:v>45718</c:v>
                </c:pt>
                <c:pt idx="1523">
                  <c:v>45719</c:v>
                </c:pt>
                <c:pt idx="1524">
                  <c:v>45720</c:v>
                </c:pt>
                <c:pt idx="1525">
                  <c:v>45721</c:v>
                </c:pt>
                <c:pt idx="1526">
                  <c:v>45722</c:v>
                </c:pt>
                <c:pt idx="1527">
                  <c:v>45723</c:v>
                </c:pt>
                <c:pt idx="1528">
                  <c:v>45724</c:v>
                </c:pt>
                <c:pt idx="1529">
                  <c:v>45725</c:v>
                </c:pt>
                <c:pt idx="1530">
                  <c:v>45726</c:v>
                </c:pt>
                <c:pt idx="1531">
                  <c:v>45727</c:v>
                </c:pt>
                <c:pt idx="1532">
                  <c:v>45728</c:v>
                </c:pt>
                <c:pt idx="1533">
                  <c:v>45729</c:v>
                </c:pt>
                <c:pt idx="1534">
                  <c:v>45730</c:v>
                </c:pt>
                <c:pt idx="1535">
                  <c:v>45731</c:v>
                </c:pt>
                <c:pt idx="1536">
                  <c:v>45732</c:v>
                </c:pt>
                <c:pt idx="1537">
                  <c:v>45733</c:v>
                </c:pt>
                <c:pt idx="1538">
                  <c:v>45734</c:v>
                </c:pt>
                <c:pt idx="1539">
                  <c:v>45735</c:v>
                </c:pt>
                <c:pt idx="1540">
                  <c:v>45736</c:v>
                </c:pt>
                <c:pt idx="1541">
                  <c:v>45737</c:v>
                </c:pt>
                <c:pt idx="1542">
                  <c:v>45738</c:v>
                </c:pt>
                <c:pt idx="1543">
                  <c:v>45739</c:v>
                </c:pt>
                <c:pt idx="1544">
                  <c:v>45740</c:v>
                </c:pt>
                <c:pt idx="1545">
                  <c:v>45741</c:v>
                </c:pt>
                <c:pt idx="1546">
                  <c:v>45742</c:v>
                </c:pt>
                <c:pt idx="1547">
                  <c:v>45743</c:v>
                </c:pt>
                <c:pt idx="1548">
                  <c:v>45744</c:v>
                </c:pt>
                <c:pt idx="1549">
                  <c:v>45745</c:v>
                </c:pt>
                <c:pt idx="1550">
                  <c:v>45746</c:v>
                </c:pt>
                <c:pt idx="1551">
                  <c:v>45747</c:v>
                </c:pt>
                <c:pt idx="1552">
                  <c:v>45748</c:v>
                </c:pt>
                <c:pt idx="1553">
                  <c:v>45749</c:v>
                </c:pt>
                <c:pt idx="1554">
                  <c:v>45750</c:v>
                </c:pt>
                <c:pt idx="1555">
                  <c:v>45751</c:v>
                </c:pt>
                <c:pt idx="1556">
                  <c:v>45752</c:v>
                </c:pt>
                <c:pt idx="1557">
                  <c:v>45753</c:v>
                </c:pt>
                <c:pt idx="1558">
                  <c:v>45754</c:v>
                </c:pt>
                <c:pt idx="1559">
                  <c:v>45755</c:v>
                </c:pt>
                <c:pt idx="1560">
                  <c:v>45756</c:v>
                </c:pt>
                <c:pt idx="1561">
                  <c:v>45757</c:v>
                </c:pt>
                <c:pt idx="1562">
                  <c:v>45758</c:v>
                </c:pt>
                <c:pt idx="1563">
                  <c:v>45759</c:v>
                </c:pt>
                <c:pt idx="1564">
                  <c:v>45760</c:v>
                </c:pt>
                <c:pt idx="1565">
                  <c:v>45761</c:v>
                </c:pt>
                <c:pt idx="1566">
                  <c:v>45762</c:v>
                </c:pt>
                <c:pt idx="1567">
                  <c:v>45763</c:v>
                </c:pt>
                <c:pt idx="1568">
                  <c:v>45764</c:v>
                </c:pt>
                <c:pt idx="1569">
                  <c:v>45765</c:v>
                </c:pt>
                <c:pt idx="1570">
                  <c:v>45766</c:v>
                </c:pt>
                <c:pt idx="1571">
                  <c:v>45767</c:v>
                </c:pt>
                <c:pt idx="1572">
                  <c:v>45768</c:v>
                </c:pt>
                <c:pt idx="1573">
                  <c:v>45769</c:v>
                </c:pt>
                <c:pt idx="1574">
                  <c:v>45770</c:v>
                </c:pt>
                <c:pt idx="1575">
                  <c:v>45771</c:v>
                </c:pt>
                <c:pt idx="1576">
                  <c:v>45772</c:v>
                </c:pt>
                <c:pt idx="1577">
                  <c:v>45773</c:v>
                </c:pt>
                <c:pt idx="1578">
                  <c:v>45774</c:v>
                </c:pt>
                <c:pt idx="1579">
                  <c:v>45775</c:v>
                </c:pt>
                <c:pt idx="1580">
                  <c:v>45776</c:v>
                </c:pt>
                <c:pt idx="1581">
                  <c:v>45777</c:v>
                </c:pt>
                <c:pt idx="1582">
                  <c:v>45778</c:v>
                </c:pt>
                <c:pt idx="1583">
                  <c:v>45779</c:v>
                </c:pt>
                <c:pt idx="1584">
                  <c:v>45780</c:v>
                </c:pt>
                <c:pt idx="1585">
                  <c:v>45781</c:v>
                </c:pt>
                <c:pt idx="1586">
                  <c:v>45782</c:v>
                </c:pt>
                <c:pt idx="1587">
                  <c:v>45783</c:v>
                </c:pt>
                <c:pt idx="1588">
                  <c:v>45784</c:v>
                </c:pt>
                <c:pt idx="1589">
                  <c:v>45785</c:v>
                </c:pt>
                <c:pt idx="1590">
                  <c:v>45786</c:v>
                </c:pt>
                <c:pt idx="1591">
                  <c:v>45787</c:v>
                </c:pt>
                <c:pt idx="1592">
                  <c:v>45788</c:v>
                </c:pt>
                <c:pt idx="1593">
                  <c:v>45789</c:v>
                </c:pt>
                <c:pt idx="1594">
                  <c:v>45790</c:v>
                </c:pt>
                <c:pt idx="1595">
                  <c:v>45791</c:v>
                </c:pt>
                <c:pt idx="1596">
                  <c:v>45792</c:v>
                </c:pt>
                <c:pt idx="1597">
                  <c:v>45793</c:v>
                </c:pt>
                <c:pt idx="1598">
                  <c:v>45794</c:v>
                </c:pt>
                <c:pt idx="1599">
                  <c:v>45795</c:v>
                </c:pt>
                <c:pt idx="1600">
                  <c:v>45796</c:v>
                </c:pt>
                <c:pt idx="1601">
                  <c:v>45797</c:v>
                </c:pt>
                <c:pt idx="1602">
                  <c:v>45798</c:v>
                </c:pt>
                <c:pt idx="1603">
                  <c:v>45799</c:v>
                </c:pt>
                <c:pt idx="1604">
                  <c:v>45800</c:v>
                </c:pt>
                <c:pt idx="1605">
                  <c:v>45801</c:v>
                </c:pt>
                <c:pt idx="1606">
                  <c:v>45802</c:v>
                </c:pt>
                <c:pt idx="1607">
                  <c:v>45803</c:v>
                </c:pt>
                <c:pt idx="1608">
                  <c:v>45804</c:v>
                </c:pt>
                <c:pt idx="1609">
                  <c:v>45805</c:v>
                </c:pt>
                <c:pt idx="1610">
                  <c:v>45806</c:v>
                </c:pt>
                <c:pt idx="1611">
                  <c:v>45807</c:v>
                </c:pt>
                <c:pt idx="1612">
                  <c:v>45808</c:v>
                </c:pt>
                <c:pt idx="1613">
                  <c:v>45809</c:v>
                </c:pt>
                <c:pt idx="1614">
                  <c:v>45810</c:v>
                </c:pt>
                <c:pt idx="1615">
                  <c:v>45811</c:v>
                </c:pt>
                <c:pt idx="1616">
                  <c:v>45812</c:v>
                </c:pt>
                <c:pt idx="1617">
                  <c:v>45813</c:v>
                </c:pt>
                <c:pt idx="1618">
                  <c:v>45814</c:v>
                </c:pt>
                <c:pt idx="1619">
                  <c:v>45815</c:v>
                </c:pt>
                <c:pt idx="1620">
                  <c:v>45816</c:v>
                </c:pt>
                <c:pt idx="1621">
                  <c:v>45817</c:v>
                </c:pt>
                <c:pt idx="1622">
                  <c:v>45818</c:v>
                </c:pt>
                <c:pt idx="1623">
                  <c:v>45819</c:v>
                </c:pt>
                <c:pt idx="1624">
                  <c:v>45820</c:v>
                </c:pt>
                <c:pt idx="1625">
                  <c:v>45821</c:v>
                </c:pt>
                <c:pt idx="1626">
                  <c:v>45822</c:v>
                </c:pt>
                <c:pt idx="1627">
                  <c:v>45823</c:v>
                </c:pt>
                <c:pt idx="1628">
                  <c:v>45824</c:v>
                </c:pt>
                <c:pt idx="1629">
                  <c:v>45825</c:v>
                </c:pt>
                <c:pt idx="1630">
                  <c:v>45826</c:v>
                </c:pt>
                <c:pt idx="1631">
                  <c:v>45827</c:v>
                </c:pt>
                <c:pt idx="1632">
                  <c:v>45828</c:v>
                </c:pt>
                <c:pt idx="1633">
                  <c:v>45829</c:v>
                </c:pt>
                <c:pt idx="1634">
                  <c:v>45830</c:v>
                </c:pt>
                <c:pt idx="1635">
                  <c:v>45831</c:v>
                </c:pt>
                <c:pt idx="1636">
                  <c:v>45832</c:v>
                </c:pt>
                <c:pt idx="1637">
                  <c:v>45833</c:v>
                </c:pt>
                <c:pt idx="1638">
                  <c:v>45834</c:v>
                </c:pt>
                <c:pt idx="1639">
                  <c:v>45835</c:v>
                </c:pt>
                <c:pt idx="1640">
                  <c:v>45836</c:v>
                </c:pt>
                <c:pt idx="1641">
                  <c:v>45837</c:v>
                </c:pt>
                <c:pt idx="1642">
                  <c:v>45838</c:v>
                </c:pt>
                <c:pt idx="1643">
                  <c:v>45839</c:v>
                </c:pt>
                <c:pt idx="1644">
                  <c:v>45840</c:v>
                </c:pt>
                <c:pt idx="1645">
                  <c:v>45841</c:v>
                </c:pt>
                <c:pt idx="1646">
                  <c:v>45842</c:v>
                </c:pt>
                <c:pt idx="1647">
                  <c:v>45843</c:v>
                </c:pt>
                <c:pt idx="1648">
                  <c:v>45844</c:v>
                </c:pt>
                <c:pt idx="1649">
                  <c:v>45845</c:v>
                </c:pt>
                <c:pt idx="1650">
                  <c:v>45846</c:v>
                </c:pt>
                <c:pt idx="1651">
                  <c:v>45847</c:v>
                </c:pt>
                <c:pt idx="1652">
                  <c:v>45848</c:v>
                </c:pt>
                <c:pt idx="1653">
                  <c:v>45849</c:v>
                </c:pt>
                <c:pt idx="1654">
                  <c:v>45850</c:v>
                </c:pt>
                <c:pt idx="1655">
                  <c:v>45851</c:v>
                </c:pt>
                <c:pt idx="1656">
                  <c:v>45852</c:v>
                </c:pt>
                <c:pt idx="1657">
                  <c:v>45853</c:v>
                </c:pt>
                <c:pt idx="1658">
                  <c:v>45854</c:v>
                </c:pt>
                <c:pt idx="1659">
                  <c:v>45855</c:v>
                </c:pt>
                <c:pt idx="1660">
                  <c:v>45856</c:v>
                </c:pt>
                <c:pt idx="1661">
                  <c:v>45857</c:v>
                </c:pt>
                <c:pt idx="1662">
                  <c:v>45858</c:v>
                </c:pt>
                <c:pt idx="1663">
                  <c:v>45859</c:v>
                </c:pt>
                <c:pt idx="1664">
                  <c:v>45860</c:v>
                </c:pt>
                <c:pt idx="1665">
                  <c:v>45861</c:v>
                </c:pt>
                <c:pt idx="1666">
                  <c:v>45862</c:v>
                </c:pt>
                <c:pt idx="1667">
                  <c:v>45863</c:v>
                </c:pt>
                <c:pt idx="1668">
                  <c:v>45864</c:v>
                </c:pt>
                <c:pt idx="1669">
                  <c:v>45865</c:v>
                </c:pt>
                <c:pt idx="1670">
                  <c:v>45866</c:v>
                </c:pt>
                <c:pt idx="1671">
                  <c:v>45867</c:v>
                </c:pt>
                <c:pt idx="1672">
                  <c:v>45868</c:v>
                </c:pt>
                <c:pt idx="1673">
                  <c:v>45869</c:v>
                </c:pt>
                <c:pt idx="1674">
                  <c:v>45870</c:v>
                </c:pt>
                <c:pt idx="1675">
                  <c:v>45871</c:v>
                </c:pt>
                <c:pt idx="1676">
                  <c:v>45872</c:v>
                </c:pt>
                <c:pt idx="1677">
                  <c:v>45873</c:v>
                </c:pt>
                <c:pt idx="1678">
                  <c:v>45874</c:v>
                </c:pt>
                <c:pt idx="1679">
                  <c:v>45875</c:v>
                </c:pt>
                <c:pt idx="1680">
                  <c:v>45876</c:v>
                </c:pt>
                <c:pt idx="1681">
                  <c:v>45877</c:v>
                </c:pt>
                <c:pt idx="1682">
                  <c:v>45878</c:v>
                </c:pt>
                <c:pt idx="1683">
                  <c:v>45879</c:v>
                </c:pt>
                <c:pt idx="1684">
                  <c:v>45880</c:v>
                </c:pt>
                <c:pt idx="1685">
                  <c:v>45881</c:v>
                </c:pt>
                <c:pt idx="1686">
                  <c:v>45882</c:v>
                </c:pt>
                <c:pt idx="1687">
                  <c:v>45883</c:v>
                </c:pt>
                <c:pt idx="1688">
                  <c:v>45884</c:v>
                </c:pt>
                <c:pt idx="1689">
                  <c:v>45885</c:v>
                </c:pt>
                <c:pt idx="1690">
                  <c:v>45886</c:v>
                </c:pt>
                <c:pt idx="1691">
                  <c:v>45887</c:v>
                </c:pt>
                <c:pt idx="1692">
                  <c:v>45888</c:v>
                </c:pt>
                <c:pt idx="1693">
                  <c:v>45889</c:v>
                </c:pt>
                <c:pt idx="1694">
                  <c:v>45890</c:v>
                </c:pt>
                <c:pt idx="1695">
                  <c:v>45891</c:v>
                </c:pt>
                <c:pt idx="1696">
                  <c:v>45892</c:v>
                </c:pt>
                <c:pt idx="1697">
                  <c:v>45893</c:v>
                </c:pt>
                <c:pt idx="1698">
                  <c:v>45894</c:v>
                </c:pt>
                <c:pt idx="1699">
                  <c:v>45895</c:v>
                </c:pt>
                <c:pt idx="1700">
                  <c:v>45896</c:v>
                </c:pt>
                <c:pt idx="1701">
                  <c:v>45897</c:v>
                </c:pt>
                <c:pt idx="1702">
                  <c:v>45898</c:v>
                </c:pt>
                <c:pt idx="1703">
                  <c:v>45899</c:v>
                </c:pt>
                <c:pt idx="1704">
                  <c:v>45900</c:v>
                </c:pt>
                <c:pt idx="1705">
                  <c:v>45901</c:v>
                </c:pt>
                <c:pt idx="1706">
                  <c:v>45902</c:v>
                </c:pt>
                <c:pt idx="1707">
                  <c:v>45903</c:v>
                </c:pt>
                <c:pt idx="1708">
                  <c:v>45904</c:v>
                </c:pt>
                <c:pt idx="1709">
                  <c:v>45905</c:v>
                </c:pt>
                <c:pt idx="1710">
                  <c:v>45906</c:v>
                </c:pt>
                <c:pt idx="1711">
                  <c:v>45907</c:v>
                </c:pt>
                <c:pt idx="1712">
                  <c:v>45908</c:v>
                </c:pt>
                <c:pt idx="1713">
                  <c:v>45909</c:v>
                </c:pt>
                <c:pt idx="1714">
                  <c:v>45910</c:v>
                </c:pt>
                <c:pt idx="1715">
                  <c:v>45911</c:v>
                </c:pt>
                <c:pt idx="1716">
                  <c:v>45912</c:v>
                </c:pt>
                <c:pt idx="1717">
                  <c:v>45913</c:v>
                </c:pt>
                <c:pt idx="1718">
                  <c:v>45914</c:v>
                </c:pt>
                <c:pt idx="1719">
                  <c:v>45915</c:v>
                </c:pt>
                <c:pt idx="1720">
                  <c:v>45916</c:v>
                </c:pt>
                <c:pt idx="1721">
                  <c:v>45917</c:v>
                </c:pt>
                <c:pt idx="1722">
                  <c:v>45918</c:v>
                </c:pt>
                <c:pt idx="1723">
                  <c:v>45919</c:v>
                </c:pt>
                <c:pt idx="1724">
                  <c:v>45920</c:v>
                </c:pt>
                <c:pt idx="1725">
                  <c:v>45921</c:v>
                </c:pt>
                <c:pt idx="1726">
                  <c:v>45922</c:v>
                </c:pt>
                <c:pt idx="1727">
                  <c:v>45923</c:v>
                </c:pt>
                <c:pt idx="1728">
                  <c:v>45924</c:v>
                </c:pt>
                <c:pt idx="1729">
                  <c:v>45925</c:v>
                </c:pt>
                <c:pt idx="1730">
                  <c:v>45926</c:v>
                </c:pt>
                <c:pt idx="1731">
                  <c:v>45927</c:v>
                </c:pt>
                <c:pt idx="1732">
                  <c:v>45928</c:v>
                </c:pt>
                <c:pt idx="1733">
                  <c:v>45929</c:v>
                </c:pt>
                <c:pt idx="1734">
                  <c:v>45930</c:v>
                </c:pt>
                <c:pt idx="1735">
                  <c:v>45931</c:v>
                </c:pt>
                <c:pt idx="1736">
                  <c:v>45932</c:v>
                </c:pt>
                <c:pt idx="1737">
                  <c:v>45933</c:v>
                </c:pt>
                <c:pt idx="1738">
                  <c:v>45934</c:v>
                </c:pt>
                <c:pt idx="1739">
                  <c:v>45935</c:v>
                </c:pt>
                <c:pt idx="1740">
                  <c:v>45936</c:v>
                </c:pt>
                <c:pt idx="1741">
                  <c:v>45937</c:v>
                </c:pt>
                <c:pt idx="1742">
                  <c:v>45938</c:v>
                </c:pt>
                <c:pt idx="1743">
                  <c:v>45939</c:v>
                </c:pt>
                <c:pt idx="1744">
                  <c:v>45940</c:v>
                </c:pt>
                <c:pt idx="1745">
                  <c:v>45941</c:v>
                </c:pt>
                <c:pt idx="1746">
                  <c:v>45942</c:v>
                </c:pt>
                <c:pt idx="1747">
                  <c:v>45943</c:v>
                </c:pt>
                <c:pt idx="1748">
                  <c:v>45944</c:v>
                </c:pt>
                <c:pt idx="1749">
                  <c:v>45945</c:v>
                </c:pt>
                <c:pt idx="1750">
                  <c:v>45946</c:v>
                </c:pt>
                <c:pt idx="1751">
                  <c:v>45947</c:v>
                </c:pt>
                <c:pt idx="1752">
                  <c:v>45948</c:v>
                </c:pt>
                <c:pt idx="1753">
                  <c:v>45949</c:v>
                </c:pt>
                <c:pt idx="1754">
                  <c:v>45950</c:v>
                </c:pt>
                <c:pt idx="1755">
                  <c:v>45951</c:v>
                </c:pt>
                <c:pt idx="1756">
                  <c:v>45952</c:v>
                </c:pt>
                <c:pt idx="1757">
                  <c:v>45953</c:v>
                </c:pt>
                <c:pt idx="1758">
                  <c:v>45954</c:v>
                </c:pt>
                <c:pt idx="1759">
                  <c:v>45955</c:v>
                </c:pt>
                <c:pt idx="1760">
                  <c:v>45956</c:v>
                </c:pt>
                <c:pt idx="1761">
                  <c:v>45957</c:v>
                </c:pt>
                <c:pt idx="1762">
                  <c:v>45958</c:v>
                </c:pt>
                <c:pt idx="1763">
                  <c:v>45959</c:v>
                </c:pt>
                <c:pt idx="1764">
                  <c:v>45960</c:v>
                </c:pt>
                <c:pt idx="1765">
                  <c:v>45961</c:v>
                </c:pt>
                <c:pt idx="1766">
                  <c:v>45962</c:v>
                </c:pt>
                <c:pt idx="1767">
                  <c:v>45963</c:v>
                </c:pt>
                <c:pt idx="1768">
                  <c:v>45964</c:v>
                </c:pt>
                <c:pt idx="1769">
                  <c:v>45965</c:v>
                </c:pt>
                <c:pt idx="1770">
                  <c:v>45966</c:v>
                </c:pt>
                <c:pt idx="1771">
                  <c:v>45967</c:v>
                </c:pt>
                <c:pt idx="1772">
                  <c:v>45968</c:v>
                </c:pt>
                <c:pt idx="1773">
                  <c:v>45969</c:v>
                </c:pt>
                <c:pt idx="1774">
                  <c:v>45970</c:v>
                </c:pt>
                <c:pt idx="1775">
                  <c:v>45971</c:v>
                </c:pt>
                <c:pt idx="1776">
                  <c:v>45972</c:v>
                </c:pt>
                <c:pt idx="1777">
                  <c:v>45973</c:v>
                </c:pt>
                <c:pt idx="1778">
                  <c:v>45974</c:v>
                </c:pt>
                <c:pt idx="1779">
                  <c:v>45975</c:v>
                </c:pt>
                <c:pt idx="1780">
                  <c:v>45976</c:v>
                </c:pt>
                <c:pt idx="1781">
                  <c:v>45977</c:v>
                </c:pt>
                <c:pt idx="1782">
                  <c:v>45978</c:v>
                </c:pt>
                <c:pt idx="1783">
                  <c:v>45979</c:v>
                </c:pt>
                <c:pt idx="1784">
                  <c:v>45980</c:v>
                </c:pt>
                <c:pt idx="1785">
                  <c:v>45981</c:v>
                </c:pt>
                <c:pt idx="1786">
                  <c:v>45982</c:v>
                </c:pt>
                <c:pt idx="1787">
                  <c:v>45983</c:v>
                </c:pt>
                <c:pt idx="1788">
                  <c:v>45984</c:v>
                </c:pt>
                <c:pt idx="1789">
                  <c:v>45985</c:v>
                </c:pt>
                <c:pt idx="1790">
                  <c:v>45986</c:v>
                </c:pt>
                <c:pt idx="1791">
                  <c:v>45987</c:v>
                </c:pt>
                <c:pt idx="1792">
                  <c:v>45988</c:v>
                </c:pt>
                <c:pt idx="1793">
                  <c:v>45989</c:v>
                </c:pt>
                <c:pt idx="1794">
                  <c:v>45990</c:v>
                </c:pt>
                <c:pt idx="1795">
                  <c:v>45991</c:v>
                </c:pt>
                <c:pt idx="1796">
                  <c:v>45992</c:v>
                </c:pt>
                <c:pt idx="1797">
                  <c:v>45993</c:v>
                </c:pt>
                <c:pt idx="1798">
                  <c:v>45994</c:v>
                </c:pt>
                <c:pt idx="1799">
                  <c:v>45995</c:v>
                </c:pt>
                <c:pt idx="1800">
                  <c:v>45996</c:v>
                </c:pt>
                <c:pt idx="1801">
                  <c:v>45997</c:v>
                </c:pt>
                <c:pt idx="1802">
                  <c:v>45998</c:v>
                </c:pt>
                <c:pt idx="1803">
                  <c:v>45999</c:v>
                </c:pt>
                <c:pt idx="1804">
                  <c:v>46000</c:v>
                </c:pt>
                <c:pt idx="1805">
                  <c:v>46001</c:v>
                </c:pt>
                <c:pt idx="1806">
                  <c:v>46002</c:v>
                </c:pt>
                <c:pt idx="1807">
                  <c:v>46003</c:v>
                </c:pt>
                <c:pt idx="1808">
                  <c:v>46004</c:v>
                </c:pt>
                <c:pt idx="1809">
                  <c:v>46005</c:v>
                </c:pt>
                <c:pt idx="1810">
                  <c:v>46006</c:v>
                </c:pt>
                <c:pt idx="1811">
                  <c:v>46007</c:v>
                </c:pt>
                <c:pt idx="1812">
                  <c:v>46008</c:v>
                </c:pt>
                <c:pt idx="1813">
                  <c:v>46009</c:v>
                </c:pt>
                <c:pt idx="1814">
                  <c:v>46010</c:v>
                </c:pt>
                <c:pt idx="1815">
                  <c:v>46011</c:v>
                </c:pt>
                <c:pt idx="1816">
                  <c:v>46012</c:v>
                </c:pt>
                <c:pt idx="1817">
                  <c:v>46013</c:v>
                </c:pt>
                <c:pt idx="1818">
                  <c:v>46014</c:v>
                </c:pt>
                <c:pt idx="1819">
                  <c:v>46015</c:v>
                </c:pt>
                <c:pt idx="1820">
                  <c:v>46016</c:v>
                </c:pt>
                <c:pt idx="1821">
                  <c:v>46017</c:v>
                </c:pt>
                <c:pt idx="1822">
                  <c:v>46018</c:v>
                </c:pt>
                <c:pt idx="1823">
                  <c:v>46019</c:v>
                </c:pt>
                <c:pt idx="1824">
                  <c:v>46020</c:v>
                </c:pt>
                <c:pt idx="1825">
                  <c:v>46021</c:v>
                </c:pt>
                <c:pt idx="1826">
                  <c:v>46022</c:v>
                </c:pt>
              </c:numCache>
            </c:numRef>
          </c:cat>
          <c:val>
            <c:numRef>
              <c:f>Sheet1!$E$2:$E$2069</c:f>
              <c:numCache>
                <c:formatCode>0.00%</c:formatCode>
                <c:ptCount val="2068"/>
                <c:pt idx="0">
                  <c:v>0</c:v>
                </c:pt>
                <c:pt idx="1">
                  <c:v>0</c:v>
                </c:pt>
                <c:pt idx="2">
                  <c:v>0</c:v>
                </c:pt>
                <c:pt idx="3">
                  <c:v>0</c:v>
                </c:pt>
                <c:pt idx="4">
                  <c:v>8.8944081865520279E-4</c:v>
                </c:pt>
                <c:pt idx="5">
                  <c:v>-4.7538744346378795E-3</c:v>
                </c:pt>
                <c:pt idx="6">
                  <c:v>2.1468307162564315E-4</c:v>
                </c:pt>
                <c:pt idx="7">
                  <c:v>9.0477018592163456E-3</c:v>
                </c:pt>
                <c:pt idx="8">
                  <c:v>2.2481218412747382E-2</c:v>
                </c:pt>
                <c:pt idx="9">
                  <c:v>2.2481218412747382E-2</c:v>
                </c:pt>
                <c:pt idx="10">
                  <c:v>2.2481218412747382E-2</c:v>
                </c:pt>
                <c:pt idx="11">
                  <c:v>3.5362673021137991E-2</c:v>
                </c:pt>
                <c:pt idx="12">
                  <c:v>3.7202888726720861E-2</c:v>
                </c:pt>
                <c:pt idx="13">
                  <c:v>3.0026083439895501E-2</c:v>
                </c:pt>
                <c:pt idx="14">
                  <c:v>4.0453926329290936E-2</c:v>
                </c:pt>
                <c:pt idx="15">
                  <c:v>2.8676595611181029E-2</c:v>
                </c:pt>
                <c:pt idx="16">
                  <c:v>2.8676595611181029E-2</c:v>
                </c:pt>
                <c:pt idx="17">
                  <c:v>2.8676595611181029E-2</c:v>
                </c:pt>
                <c:pt idx="18">
                  <c:v>3.2418333425274566E-2</c:v>
                </c:pt>
                <c:pt idx="19">
                  <c:v>3.4258549130857151E-2</c:v>
                </c:pt>
                <c:pt idx="20">
                  <c:v>5.143383116382623E-2</c:v>
                </c:pt>
                <c:pt idx="21">
                  <c:v>4.3827632068405648E-2</c:v>
                </c:pt>
                <c:pt idx="22">
                  <c:v>4.4764297629749594E-2</c:v>
                </c:pt>
                <c:pt idx="23">
                  <c:v>4.4764297629749594E-2</c:v>
                </c:pt>
                <c:pt idx="24">
                  <c:v>4.4764297629749594E-2</c:v>
                </c:pt>
                <c:pt idx="25">
                  <c:v>5.3124460352878204E-2</c:v>
                </c:pt>
                <c:pt idx="26">
                  <c:v>4.5455765244725228E-2</c:v>
                </c:pt>
                <c:pt idx="27">
                  <c:v>2.9087287647042076E-2</c:v>
                </c:pt>
                <c:pt idx="28">
                  <c:v>3.8431506666269113E-2</c:v>
                </c:pt>
                <c:pt idx="29">
                  <c:v>2.1225267113048858E-2</c:v>
                </c:pt>
                <c:pt idx="30">
                  <c:v>2.1225267113048858E-2</c:v>
                </c:pt>
                <c:pt idx="31">
                  <c:v>3.2914843359097292E-3</c:v>
                </c:pt>
                <c:pt idx="32">
                  <c:v>1.5554314180818523E-2</c:v>
                </c:pt>
                <c:pt idx="33">
                  <c:v>4.3135832469298523E-2</c:v>
                </c:pt>
                <c:pt idx="34">
                  <c:v>5.3253353191886392E-2</c:v>
                </c:pt>
                <c:pt idx="35">
                  <c:v>6.105094113904741E-2</c:v>
                </c:pt>
                <c:pt idx="36">
                  <c:v>5.4606658838112027E-2</c:v>
                </c:pt>
                <c:pt idx="37">
                  <c:v>5.4606658838112027E-2</c:v>
                </c:pt>
                <c:pt idx="38">
                  <c:v>5.4606658838112027E-2</c:v>
                </c:pt>
                <c:pt idx="39">
                  <c:v>7.2908418359541399E-2</c:v>
                </c:pt>
                <c:pt idx="40">
                  <c:v>7.4841700283287765E-2</c:v>
                </c:pt>
                <c:pt idx="41">
                  <c:v>6.755965602681499E-2</c:v>
                </c:pt>
                <c:pt idx="42">
                  <c:v>7.3681720062902092E-2</c:v>
                </c:pt>
                <c:pt idx="43">
                  <c:v>7.587278766466482E-2</c:v>
                </c:pt>
                <c:pt idx="44">
                  <c:v>7.587278766466482E-2</c:v>
                </c:pt>
                <c:pt idx="45">
                  <c:v>7.587278766466482E-2</c:v>
                </c:pt>
                <c:pt idx="46">
                  <c:v>8.0448220628686326E-2</c:v>
                </c:pt>
                <c:pt idx="47">
                  <c:v>8.8374673749511315E-2</c:v>
                </c:pt>
                <c:pt idx="48">
                  <c:v>8.392813362449815E-2</c:v>
                </c:pt>
                <c:pt idx="49">
                  <c:v>6.8139632304335715E-2</c:v>
                </c:pt>
                <c:pt idx="50">
                  <c:v>7.580832741248883E-2</c:v>
                </c:pt>
                <c:pt idx="51">
                  <c:v>7.580832741248883E-2</c:v>
                </c:pt>
                <c:pt idx="52">
                  <c:v>7.580832741248883E-2</c:v>
                </c:pt>
                <c:pt idx="53">
                  <c:v>6.3886417605162796E-2</c:v>
                </c:pt>
                <c:pt idx="54">
                  <c:v>5.1320071268140026E-2</c:v>
                </c:pt>
                <c:pt idx="55">
                  <c:v>5.7699920982243781E-2</c:v>
                </c:pt>
                <c:pt idx="56">
                  <c:v>4.4682463541364542E-2</c:v>
                </c:pt>
                <c:pt idx="57">
                  <c:v>3.7271526445883579E-2</c:v>
                </c:pt>
                <c:pt idx="58">
                  <c:v>3.7271526445883579E-2</c:v>
                </c:pt>
                <c:pt idx="59">
                  <c:v>2.9618960233446928E-2</c:v>
                </c:pt>
                <c:pt idx="60">
                  <c:v>5.6475508175026334E-2</c:v>
                </c:pt>
                <c:pt idx="61">
                  <c:v>5.5766611393153198E-2</c:v>
                </c:pt>
                <c:pt idx="62">
                  <c:v>3.8689264678941127E-2</c:v>
                </c:pt>
                <c:pt idx="63">
                  <c:v>3.1987224365333591E-2</c:v>
                </c:pt>
                <c:pt idx="64">
                  <c:v>2.5865160329246351E-2</c:v>
                </c:pt>
                <c:pt idx="65">
                  <c:v>2.5865160329246351E-2</c:v>
                </c:pt>
                <c:pt idx="66">
                  <c:v>2.5865160329246351E-2</c:v>
                </c:pt>
                <c:pt idx="67">
                  <c:v>4.539133265789317E-2</c:v>
                </c:pt>
                <c:pt idx="68">
                  <c:v>4.7453507420647724E-2</c:v>
                </c:pt>
                <c:pt idx="69">
                  <c:v>5.0675634738443449E-2</c:v>
                </c:pt>
                <c:pt idx="70">
                  <c:v>5.8279897259764228E-2</c:v>
                </c:pt>
                <c:pt idx="71">
                  <c:v>5.0933420416459825E-2</c:v>
                </c:pt>
                <c:pt idx="72">
                  <c:v>5.0933420416459825E-2</c:v>
                </c:pt>
                <c:pt idx="73">
                  <c:v>5.0933420416459825E-2</c:v>
                </c:pt>
                <c:pt idx="74">
                  <c:v>6.5884132115741068E-2</c:v>
                </c:pt>
                <c:pt idx="75">
                  <c:v>8.8116915736839163E-2</c:v>
                </c:pt>
                <c:pt idx="76">
                  <c:v>7.683941479386576E-2</c:v>
                </c:pt>
                <c:pt idx="77">
                  <c:v>8.3090371668961327E-2</c:v>
                </c:pt>
                <c:pt idx="78">
                  <c:v>8.5474764696564162E-2</c:v>
                </c:pt>
                <c:pt idx="79">
                  <c:v>8.5474764696564162E-2</c:v>
                </c:pt>
                <c:pt idx="80">
                  <c:v>8.5474764696564162E-2</c:v>
                </c:pt>
                <c:pt idx="81">
                  <c:v>9.1016852455130526E-2</c:v>
                </c:pt>
                <c:pt idx="82">
                  <c:v>9.0307983338601752E-2</c:v>
                </c:pt>
                <c:pt idx="83">
                  <c:v>8.6248066399924717E-2</c:v>
                </c:pt>
                <c:pt idx="84">
                  <c:v>6.6077485206925524E-2</c:v>
                </c:pt>
                <c:pt idx="85">
                  <c:v>8.0190462616014174E-2</c:v>
                </c:pt>
                <c:pt idx="86">
                  <c:v>8.0190462616014174E-2</c:v>
                </c:pt>
                <c:pt idx="87">
                  <c:v>8.0190462616014174E-2</c:v>
                </c:pt>
                <c:pt idx="88">
                  <c:v>9.2047939836507733E-2</c:v>
                </c:pt>
                <c:pt idx="89">
                  <c:v>9.1145717628794365E-2</c:v>
                </c:pt>
                <c:pt idx="90">
                  <c:v>0.10054858717789855</c:v>
                </c:pt>
                <c:pt idx="91">
                  <c:v>0.10054858717789855</c:v>
                </c:pt>
                <c:pt idx="92">
                  <c:v>0.10054858717789855</c:v>
                </c:pt>
                <c:pt idx="93">
                  <c:v>0.10054858717789855</c:v>
                </c:pt>
                <c:pt idx="94">
                  <c:v>0.10054858717789855</c:v>
                </c:pt>
                <c:pt idx="95">
                  <c:v>0.10054858717789855</c:v>
                </c:pt>
                <c:pt idx="96">
                  <c:v>0.13039141537727275</c:v>
                </c:pt>
                <c:pt idx="97">
                  <c:v>0.1193716724469715</c:v>
                </c:pt>
                <c:pt idx="98">
                  <c:v>0.12536487130939464</c:v>
                </c:pt>
                <c:pt idx="99">
                  <c:v>0.12903810973104698</c:v>
                </c:pt>
                <c:pt idx="100">
                  <c:v>0.12903810973104698</c:v>
                </c:pt>
                <c:pt idx="101">
                  <c:v>0.12903810973104698</c:v>
                </c:pt>
                <c:pt idx="102">
                  <c:v>0.12478486736652968</c:v>
                </c:pt>
                <c:pt idx="103">
                  <c:v>0.13187358619716222</c:v>
                </c:pt>
                <c:pt idx="104">
                  <c:v>0.13490238808911756</c:v>
                </c:pt>
                <c:pt idx="105">
                  <c:v>0.14192667433291817</c:v>
                </c:pt>
                <c:pt idx="106">
                  <c:v>0.14450436512101689</c:v>
                </c:pt>
                <c:pt idx="107">
                  <c:v>0.14450436512101689</c:v>
                </c:pt>
                <c:pt idx="108">
                  <c:v>0.14450436512101689</c:v>
                </c:pt>
                <c:pt idx="109">
                  <c:v>0.13722234852988863</c:v>
                </c:pt>
                <c:pt idx="110">
                  <c:v>0.1201450018156764</c:v>
                </c:pt>
                <c:pt idx="111">
                  <c:v>0.12381824023732889</c:v>
                </c:pt>
                <c:pt idx="112">
                  <c:v>0.13657791200019176</c:v>
                </c:pt>
                <c:pt idx="113">
                  <c:v>0.13548239203198251</c:v>
                </c:pt>
                <c:pt idx="114">
                  <c:v>0.13548239203198251</c:v>
                </c:pt>
                <c:pt idx="115">
                  <c:v>0.13548239203198251</c:v>
                </c:pt>
                <c:pt idx="116">
                  <c:v>0.14379549600448796</c:v>
                </c:pt>
                <c:pt idx="117">
                  <c:v>0.13490238808911756</c:v>
                </c:pt>
                <c:pt idx="118">
                  <c:v>0.13922006304046675</c:v>
                </c:pt>
                <c:pt idx="119">
                  <c:v>0.13316243159121172</c:v>
                </c:pt>
                <c:pt idx="120">
                  <c:v>0.12077010026972061</c:v>
                </c:pt>
                <c:pt idx="121">
                  <c:v>0.12077010026972061</c:v>
                </c:pt>
                <c:pt idx="122">
                  <c:v>0.12077010026972061</c:v>
                </c:pt>
                <c:pt idx="123">
                  <c:v>0.12033832724151679</c:v>
                </c:pt>
                <c:pt idx="124">
                  <c:v>0.1077075206523179</c:v>
                </c:pt>
                <c:pt idx="125">
                  <c:v>0.11395847752741319</c:v>
                </c:pt>
                <c:pt idx="126">
                  <c:v>9.7074456239041498E-2</c:v>
                </c:pt>
                <c:pt idx="127">
                  <c:v>0.10616091724559638</c:v>
                </c:pt>
                <c:pt idx="128">
                  <c:v>0.10616091724559638</c:v>
                </c:pt>
                <c:pt idx="129">
                  <c:v>0.10616091724559638</c:v>
                </c:pt>
                <c:pt idx="130">
                  <c:v>9.7010023652209301E-2</c:v>
                </c:pt>
                <c:pt idx="131">
                  <c:v>6.0986480886871419E-2</c:v>
                </c:pt>
                <c:pt idx="132">
                  <c:v>5.6668833600866435E-2</c:v>
                </c:pt>
                <c:pt idx="133">
                  <c:v>5.6668833600866435E-2</c:v>
                </c:pt>
                <c:pt idx="134">
                  <c:v>5.6668833600866435E-2</c:v>
                </c:pt>
                <c:pt idx="135">
                  <c:v>5.6668833600866435E-2</c:v>
                </c:pt>
                <c:pt idx="136">
                  <c:v>5.6668833600866435E-2</c:v>
                </c:pt>
                <c:pt idx="137">
                  <c:v>5.5186635115632751E-2</c:v>
                </c:pt>
                <c:pt idx="138">
                  <c:v>6.1373159403895983E-2</c:v>
                </c:pt>
                <c:pt idx="139">
                  <c:v>5.0675634738443449E-2</c:v>
                </c:pt>
                <c:pt idx="140">
                  <c:v>7.2199549243012764E-2</c:v>
                </c:pt>
                <c:pt idx="141">
                  <c:v>8.6699177503781477E-2</c:v>
                </c:pt>
                <c:pt idx="142">
                  <c:v>8.6699177503781477E-2</c:v>
                </c:pt>
                <c:pt idx="143">
                  <c:v>8.6699177503781477E-2</c:v>
                </c:pt>
                <c:pt idx="144">
                  <c:v>8.6699177503781477E-2</c:v>
                </c:pt>
                <c:pt idx="145">
                  <c:v>9.5270067154303459E-2</c:v>
                </c:pt>
                <c:pt idx="146">
                  <c:v>9.6236721948848747E-2</c:v>
                </c:pt>
                <c:pt idx="147">
                  <c:v>0.10364763137898507</c:v>
                </c:pt>
                <c:pt idx="148">
                  <c:v>0.10976969541507245</c:v>
                </c:pt>
                <c:pt idx="149">
                  <c:v>0.10976969541507245</c:v>
                </c:pt>
                <c:pt idx="150">
                  <c:v>0.10976969541507245</c:v>
                </c:pt>
                <c:pt idx="151">
                  <c:v>0.10456595481707055</c:v>
                </c:pt>
                <c:pt idx="152">
                  <c:v>0.10635424267143662</c:v>
                </c:pt>
                <c:pt idx="153">
                  <c:v>0.10338987336631306</c:v>
                </c:pt>
                <c:pt idx="154">
                  <c:v>9.4690090876782734E-2</c:v>
                </c:pt>
                <c:pt idx="155">
                  <c:v>9.9781067531492768E-2</c:v>
                </c:pt>
                <c:pt idx="156">
                  <c:v>9.9781067531492768E-2</c:v>
                </c:pt>
                <c:pt idx="157">
                  <c:v>9.9781067531492768E-2</c:v>
                </c:pt>
                <c:pt idx="158">
                  <c:v>0.10248765115859967</c:v>
                </c:pt>
                <c:pt idx="159">
                  <c:v>0.10435650049551398</c:v>
                </c:pt>
                <c:pt idx="160">
                  <c:v>0.10635424267143662</c:v>
                </c:pt>
                <c:pt idx="161">
                  <c:v>0.10287432967562453</c:v>
                </c:pt>
                <c:pt idx="162">
                  <c:v>0.11498956490879038</c:v>
                </c:pt>
                <c:pt idx="163">
                  <c:v>0.11498956490879038</c:v>
                </c:pt>
                <c:pt idx="164">
                  <c:v>0.11498956490879038</c:v>
                </c:pt>
                <c:pt idx="165">
                  <c:v>0.11382961235374921</c:v>
                </c:pt>
                <c:pt idx="166">
                  <c:v>0.11917834702113141</c:v>
                </c:pt>
                <c:pt idx="167">
                  <c:v>0.1201450018156764</c:v>
                </c:pt>
                <c:pt idx="168">
                  <c:v>0.13148693534548173</c:v>
                </c:pt>
                <c:pt idx="169">
                  <c:v>0.12330269654664022</c:v>
                </c:pt>
                <c:pt idx="170">
                  <c:v>0.12330269654664022</c:v>
                </c:pt>
                <c:pt idx="171">
                  <c:v>0.12330269654664022</c:v>
                </c:pt>
                <c:pt idx="172">
                  <c:v>0.12504265304454634</c:v>
                </c:pt>
                <c:pt idx="173">
                  <c:v>0.1248493276187061</c:v>
                </c:pt>
                <c:pt idx="174">
                  <c:v>0.12897364947887069</c:v>
                </c:pt>
                <c:pt idx="175">
                  <c:v>0.14405328168250434</c:v>
                </c:pt>
                <c:pt idx="176">
                  <c:v>0.14701765098762792</c:v>
                </c:pt>
                <c:pt idx="177">
                  <c:v>0.14701765098762792</c:v>
                </c:pt>
                <c:pt idx="178">
                  <c:v>0.14701765098762792</c:v>
                </c:pt>
                <c:pt idx="179">
                  <c:v>0.14766208751732463</c:v>
                </c:pt>
                <c:pt idx="180">
                  <c:v>0.16042175928018751</c:v>
                </c:pt>
                <c:pt idx="181">
                  <c:v>0.16336034448444067</c:v>
                </c:pt>
                <c:pt idx="182">
                  <c:v>0.16512608508321705</c:v>
                </c:pt>
                <c:pt idx="183">
                  <c:v>0.16364388659798323</c:v>
                </c:pt>
                <c:pt idx="184">
                  <c:v>0.16364388659798323</c:v>
                </c:pt>
                <c:pt idx="185">
                  <c:v>0.16364388659798323</c:v>
                </c:pt>
                <c:pt idx="186">
                  <c:v>0.16712379959379534</c:v>
                </c:pt>
                <c:pt idx="187">
                  <c:v>0.16415943028867189</c:v>
                </c:pt>
                <c:pt idx="188">
                  <c:v>0.16925040694338178</c:v>
                </c:pt>
                <c:pt idx="189">
                  <c:v>0.14353773799181596</c:v>
                </c:pt>
                <c:pt idx="190">
                  <c:v>0.16183949751324533</c:v>
                </c:pt>
                <c:pt idx="191">
                  <c:v>0.16183949751324533</c:v>
                </c:pt>
                <c:pt idx="192">
                  <c:v>0.16183949751324533</c:v>
                </c:pt>
                <c:pt idx="193">
                  <c:v>0.16577049394756968</c:v>
                </c:pt>
                <c:pt idx="194">
                  <c:v>0.17247256192652174</c:v>
                </c:pt>
                <c:pt idx="195">
                  <c:v>0.17679023687787065</c:v>
                </c:pt>
                <c:pt idx="196">
                  <c:v>0.16615717246459424</c:v>
                </c:pt>
                <c:pt idx="197">
                  <c:v>0.1649327596573768</c:v>
                </c:pt>
                <c:pt idx="198">
                  <c:v>0.1649327596573768</c:v>
                </c:pt>
                <c:pt idx="199">
                  <c:v>0.1649327596573768</c:v>
                </c:pt>
                <c:pt idx="200">
                  <c:v>0.1387689796019545</c:v>
                </c:pt>
                <c:pt idx="201">
                  <c:v>0.1550729969474611</c:v>
                </c:pt>
                <c:pt idx="202">
                  <c:v>0.16254836662977426</c:v>
                </c:pt>
                <c:pt idx="203">
                  <c:v>0.17202145082266512</c:v>
                </c:pt>
                <c:pt idx="204">
                  <c:v>0.18355673744365489</c:v>
                </c:pt>
                <c:pt idx="205">
                  <c:v>0.18355673744365489</c:v>
                </c:pt>
                <c:pt idx="206">
                  <c:v>0.18355673744365489</c:v>
                </c:pt>
                <c:pt idx="207">
                  <c:v>0.18181678094574877</c:v>
                </c:pt>
                <c:pt idx="208">
                  <c:v>0.17060371258960744</c:v>
                </c:pt>
                <c:pt idx="209">
                  <c:v>0.17601690750916574</c:v>
                </c:pt>
                <c:pt idx="210">
                  <c:v>0.16873486325269313</c:v>
                </c:pt>
                <c:pt idx="211">
                  <c:v>0.1675104504454758</c:v>
                </c:pt>
                <c:pt idx="212">
                  <c:v>0.16463566152513637</c:v>
                </c:pt>
                <c:pt idx="213">
                  <c:v>0.16463566152513637</c:v>
                </c:pt>
                <c:pt idx="214">
                  <c:v>0.17053928000277538</c:v>
                </c:pt>
                <c:pt idx="215">
                  <c:v>0.1586173425301054</c:v>
                </c:pt>
                <c:pt idx="216">
                  <c:v>0.16248393404294206</c:v>
                </c:pt>
                <c:pt idx="217">
                  <c:v>0.16499719224420886</c:v>
                </c:pt>
                <c:pt idx="218">
                  <c:v>0.16177506492641314</c:v>
                </c:pt>
                <c:pt idx="219">
                  <c:v>0.16177506492641314</c:v>
                </c:pt>
                <c:pt idx="220">
                  <c:v>0.16177506492641314</c:v>
                </c:pt>
                <c:pt idx="221">
                  <c:v>0.16222614836492569</c:v>
                </c:pt>
                <c:pt idx="222">
                  <c:v>0.1630639103204625</c:v>
                </c:pt>
                <c:pt idx="223">
                  <c:v>0.14985312745374316</c:v>
                </c:pt>
                <c:pt idx="224">
                  <c:v>0.13851119392393785</c:v>
                </c:pt>
                <c:pt idx="225">
                  <c:v>0.13767343196840101</c:v>
                </c:pt>
                <c:pt idx="226">
                  <c:v>0.13767343196840101</c:v>
                </c:pt>
                <c:pt idx="227">
                  <c:v>0.13767343196840101</c:v>
                </c:pt>
                <c:pt idx="228">
                  <c:v>0.13522460635396613</c:v>
                </c:pt>
                <c:pt idx="229">
                  <c:v>0.14070226152570059</c:v>
                </c:pt>
                <c:pt idx="230">
                  <c:v>0.14643767471010746</c:v>
                </c:pt>
                <c:pt idx="231">
                  <c:v>0.13934895587947493</c:v>
                </c:pt>
                <c:pt idx="232">
                  <c:v>0.15204419505550576</c:v>
                </c:pt>
                <c:pt idx="233">
                  <c:v>0.15204419505550576</c:v>
                </c:pt>
                <c:pt idx="234">
                  <c:v>0.15204419505550576</c:v>
                </c:pt>
                <c:pt idx="235">
                  <c:v>0.16409499770183969</c:v>
                </c:pt>
                <c:pt idx="236">
                  <c:v>0.17060371258960744</c:v>
                </c:pt>
                <c:pt idx="237">
                  <c:v>0.17041038716376719</c:v>
                </c:pt>
                <c:pt idx="238">
                  <c:v>0.16299947773363072</c:v>
                </c:pt>
                <c:pt idx="239">
                  <c:v>0.1668015813289469</c:v>
                </c:pt>
                <c:pt idx="240">
                  <c:v>0.1668015813289469</c:v>
                </c:pt>
                <c:pt idx="241">
                  <c:v>0.1668015813289469</c:v>
                </c:pt>
                <c:pt idx="242">
                  <c:v>0.17260145476552993</c:v>
                </c:pt>
                <c:pt idx="243">
                  <c:v>0.17342823357938714</c:v>
                </c:pt>
                <c:pt idx="244">
                  <c:v>0.1737614073205711</c:v>
                </c:pt>
                <c:pt idx="245">
                  <c:v>0.17582358208332566</c:v>
                </c:pt>
                <c:pt idx="246">
                  <c:v>0.17769243142023997</c:v>
                </c:pt>
                <c:pt idx="247">
                  <c:v>0.17769243142023997</c:v>
                </c:pt>
                <c:pt idx="248">
                  <c:v>0.17769243142023997</c:v>
                </c:pt>
                <c:pt idx="249">
                  <c:v>0.1912254048864635</c:v>
                </c:pt>
                <c:pt idx="250">
                  <c:v>0.189034364950045</c:v>
                </c:pt>
                <c:pt idx="251">
                  <c:v>0.18265451523594151</c:v>
                </c:pt>
                <c:pt idx="252">
                  <c:v>0.18239675722326923</c:v>
                </c:pt>
                <c:pt idx="253">
                  <c:v>0.17247256192652174</c:v>
                </c:pt>
                <c:pt idx="254">
                  <c:v>0.17247256192652174</c:v>
                </c:pt>
                <c:pt idx="255">
                  <c:v>0.17247256192652174</c:v>
                </c:pt>
                <c:pt idx="256">
                  <c:v>0.17627469318718211</c:v>
                </c:pt>
                <c:pt idx="257">
                  <c:v>0.17363254214690713</c:v>
                </c:pt>
                <c:pt idx="258">
                  <c:v>0.16957262520823008</c:v>
                </c:pt>
                <c:pt idx="259">
                  <c:v>0.17885241164062521</c:v>
                </c:pt>
                <c:pt idx="260">
                  <c:v>0.17801464968508823</c:v>
                </c:pt>
                <c:pt idx="261">
                  <c:v>0.17801464968508823</c:v>
                </c:pt>
                <c:pt idx="262">
                  <c:v>0.17801464968508823</c:v>
                </c:pt>
                <c:pt idx="263">
                  <c:v>0.1595839973246504</c:v>
                </c:pt>
                <c:pt idx="264">
                  <c:v>0.16119506098354847</c:v>
                </c:pt>
                <c:pt idx="265">
                  <c:v>0.16022843385434754</c:v>
                </c:pt>
                <c:pt idx="266">
                  <c:v>0.17401919299858748</c:v>
                </c:pt>
                <c:pt idx="267">
                  <c:v>0.17653245119985428</c:v>
                </c:pt>
                <c:pt idx="268">
                  <c:v>0.17653245119985428</c:v>
                </c:pt>
                <c:pt idx="269">
                  <c:v>0.17653245119985428</c:v>
                </c:pt>
                <c:pt idx="270">
                  <c:v>0.17943238791814595</c:v>
                </c:pt>
                <c:pt idx="271">
                  <c:v>0.1475976272651485</c:v>
                </c:pt>
                <c:pt idx="272">
                  <c:v>0.14688875814861974</c:v>
                </c:pt>
                <c:pt idx="273">
                  <c:v>0.13131101142119492</c:v>
                </c:pt>
                <c:pt idx="274">
                  <c:v>0.12394713307633708</c:v>
                </c:pt>
                <c:pt idx="275">
                  <c:v>0.12394713307633708</c:v>
                </c:pt>
                <c:pt idx="276">
                  <c:v>0.12394713307633708</c:v>
                </c:pt>
                <c:pt idx="277">
                  <c:v>0.11041413194476916</c:v>
                </c:pt>
                <c:pt idx="278">
                  <c:v>0.1228515854427836</c:v>
                </c:pt>
                <c:pt idx="279">
                  <c:v>0.10609645699342024</c:v>
                </c:pt>
                <c:pt idx="280">
                  <c:v>0.13322689184338785</c:v>
                </c:pt>
                <c:pt idx="281">
                  <c:v>0.13097139165479318</c:v>
                </c:pt>
                <c:pt idx="282">
                  <c:v>0.13097139165479318</c:v>
                </c:pt>
                <c:pt idx="283">
                  <c:v>0.13097139165479318</c:v>
                </c:pt>
                <c:pt idx="284">
                  <c:v>0.1279425620974935</c:v>
                </c:pt>
                <c:pt idx="285">
                  <c:v>0.11640730314184822</c:v>
                </c:pt>
                <c:pt idx="286">
                  <c:v>0.11827615247876239</c:v>
                </c:pt>
                <c:pt idx="287">
                  <c:v>0.13967117414432323</c:v>
                </c:pt>
                <c:pt idx="288">
                  <c:v>0.14914425833721454</c:v>
                </c:pt>
                <c:pt idx="289">
                  <c:v>0.14914425833721454</c:v>
                </c:pt>
                <c:pt idx="290">
                  <c:v>0.14914425833721454</c:v>
                </c:pt>
                <c:pt idx="291">
                  <c:v>0.14688875814861974</c:v>
                </c:pt>
                <c:pt idx="292">
                  <c:v>0.15842401710426501</c:v>
                </c:pt>
                <c:pt idx="293">
                  <c:v>0.16609271221241811</c:v>
                </c:pt>
                <c:pt idx="294">
                  <c:v>0.16776823612349218</c:v>
                </c:pt>
                <c:pt idx="295">
                  <c:v>0.17537249864481325</c:v>
                </c:pt>
                <c:pt idx="296">
                  <c:v>0.17537249864481325</c:v>
                </c:pt>
                <c:pt idx="297">
                  <c:v>0.17537249864481325</c:v>
                </c:pt>
                <c:pt idx="298">
                  <c:v>0.17801464968508823</c:v>
                </c:pt>
                <c:pt idx="299">
                  <c:v>0.18413671372117535</c:v>
                </c:pt>
                <c:pt idx="300">
                  <c:v>0.17111925628029609</c:v>
                </c:pt>
                <c:pt idx="301">
                  <c:v>0.1722792365006815</c:v>
                </c:pt>
                <c:pt idx="302">
                  <c:v>0.18329895176563824</c:v>
                </c:pt>
                <c:pt idx="303">
                  <c:v>0.18329895176563824</c:v>
                </c:pt>
                <c:pt idx="304">
                  <c:v>0.19141875797764782</c:v>
                </c:pt>
                <c:pt idx="305">
                  <c:v>0.19212762709417675</c:v>
                </c:pt>
                <c:pt idx="306">
                  <c:v>0.19483421072128365</c:v>
                </c:pt>
                <c:pt idx="307">
                  <c:v>0.19567197267682077</c:v>
                </c:pt>
                <c:pt idx="308">
                  <c:v>0.1997318619501533</c:v>
                </c:pt>
                <c:pt idx="309">
                  <c:v>0.22209353841025986</c:v>
                </c:pt>
                <c:pt idx="310">
                  <c:v>0.22209353841025986</c:v>
                </c:pt>
                <c:pt idx="311">
                  <c:v>0.22209353841025986</c:v>
                </c:pt>
                <c:pt idx="312">
                  <c:v>0.21680920866436537</c:v>
                </c:pt>
                <c:pt idx="313">
                  <c:v>0.21526257759229964</c:v>
                </c:pt>
                <c:pt idx="314">
                  <c:v>0.22164242730640324</c:v>
                </c:pt>
                <c:pt idx="315">
                  <c:v>0.21687366891654164</c:v>
                </c:pt>
                <c:pt idx="316">
                  <c:v>0.22492901487637496</c:v>
                </c:pt>
                <c:pt idx="317">
                  <c:v>0.22492901487637496</c:v>
                </c:pt>
                <c:pt idx="318">
                  <c:v>0.22492901487637496</c:v>
                </c:pt>
                <c:pt idx="319">
                  <c:v>0.23639984124518848</c:v>
                </c:pt>
                <c:pt idx="320">
                  <c:v>0.25057725124110886</c:v>
                </c:pt>
                <c:pt idx="321">
                  <c:v>0.25399273165008895</c:v>
                </c:pt>
                <c:pt idx="322">
                  <c:v>0.22821560244634681</c:v>
                </c:pt>
                <c:pt idx="323">
                  <c:v>0.23581983730232353</c:v>
                </c:pt>
                <c:pt idx="324">
                  <c:v>0.23581983730232353</c:v>
                </c:pt>
                <c:pt idx="325">
                  <c:v>0.23581983730232353</c:v>
                </c:pt>
                <c:pt idx="326">
                  <c:v>0.22641118569626456</c:v>
                </c:pt>
                <c:pt idx="327">
                  <c:v>0.20327623519814167</c:v>
                </c:pt>
                <c:pt idx="328">
                  <c:v>0.20694947361979416</c:v>
                </c:pt>
                <c:pt idx="329">
                  <c:v>0.21848473257543957</c:v>
                </c:pt>
                <c:pt idx="330">
                  <c:v>0.18259008264910931</c:v>
                </c:pt>
                <c:pt idx="331">
                  <c:v>0.18259008264910931</c:v>
                </c:pt>
                <c:pt idx="332">
                  <c:v>0.18259008264910931</c:v>
                </c:pt>
                <c:pt idx="333">
                  <c:v>0.1912254048864635</c:v>
                </c:pt>
                <c:pt idx="334">
                  <c:v>0.18317329577191102</c:v>
                </c:pt>
                <c:pt idx="335">
                  <c:v>0.19128986513863963</c:v>
                </c:pt>
                <c:pt idx="336">
                  <c:v>0.16525497792222538</c:v>
                </c:pt>
                <c:pt idx="337">
                  <c:v>0.1674460178586436</c:v>
                </c:pt>
                <c:pt idx="338">
                  <c:v>0.1674460178586436</c:v>
                </c:pt>
                <c:pt idx="339">
                  <c:v>0.1674460178586436</c:v>
                </c:pt>
                <c:pt idx="340">
                  <c:v>0.17975460618299421</c:v>
                </c:pt>
                <c:pt idx="341">
                  <c:v>0.22074023276403396</c:v>
                </c:pt>
                <c:pt idx="342">
                  <c:v>0.21616479980001288</c:v>
                </c:pt>
                <c:pt idx="343">
                  <c:v>0.22666897137428094</c:v>
                </c:pt>
                <c:pt idx="344">
                  <c:v>0.21951581995681665</c:v>
                </c:pt>
                <c:pt idx="345">
                  <c:v>0.21951581995681665</c:v>
                </c:pt>
                <c:pt idx="346">
                  <c:v>0.21951581995681665</c:v>
                </c:pt>
                <c:pt idx="347">
                  <c:v>0.21526257759229964</c:v>
                </c:pt>
                <c:pt idx="348">
                  <c:v>0.20759388248414651</c:v>
                </c:pt>
                <c:pt idx="349">
                  <c:v>0.20746501731048256</c:v>
                </c:pt>
                <c:pt idx="350">
                  <c:v>0.22782892392932211</c:v>
                </c:pt>
                <c:pt idx="351">
                  <c:v>0.21294264481687292</c:v>
                </c:pt>
                <c:pt idx="352">
                  <c:v>0.21294264481687292</c:v>
                </c:pt>
                <c:pt idx="353">
                  <c:v>0.21294264481687292</c:v>
                </c:pt>
                <c:pt idx="354">
                  <c:v>0.19708971090987831</c:v>
                </c:pt>
                <c:pt idx="355">
                  <c:v>0.21133158115797529</c:v>
                </c:pt>
                <c:pt idx="356">
                  <c:v>0.22602453484458424</c:v>
                </c:pt>
                <c:pt idx="357">
                  <c:v>0.23910642487229566</c:v>
                </c:pt>
                <c:pt idx="358">
                  <c:v>0.23910642487229566</c:v>
                </c:pt>
                <c:pt idx="359">
                  <c:v>0.23910642487229566</c:v>
                </c:pt>
                <c:pt idx="360">
                  <c:v>0.23910642487229566</c:v>
                </c:pt>
                <c:pt idx="361">
                  <c:v>0.24864396931736252</c:v>
                </c:pt>
                <c:pt idx="362">
                  <c:v>0.26191918477091419</c:v>
                </c:pt>
                <c:pt idx="363">
                  <c:v>0.25057725124110886</c:v>
                </c:pt>
                <c:pt idx="364">
                  <c:v>0.26056587912468854</c:v>
                </c:pt>
                <c:pt idx="365">
                  <c:v>0.23920696073341502</c:v>
                </c:pt>
                <c:pt idx="366">
                  <c:v>0.23920696073341502</c:v>
                </c:pt>
                <c:pt idx="367">
                  <c:v>0.23920696073341502</c:v>
                </c:pt>
                <c:pt idx="368">
                  <c:v>0.25167277120931814</c:v>
                </c:pt>
                <c:pt idx="369">
                  <c:v>0.24683958023262462</c:v>
                </c:pt>
                <c:pt idx="370">
                  <c:v>0.23762425405240578</c:v>
                </c:pt>
                <c:pt idx="371">
                  <c:v>0.20392064406249433</c:v>
                </c:pt>
                <c:pt idx="372">
                  <c:v>0.18433003914701543</c:v>
                </c:pt>
                <c:pt idx="373">
                  <c:v>0.18433003914701543</c:v>
                </c:pt>
                <c:pt idx="374">
                  <c:v>0.18433003914701543</c:v>
                </c:pt>
                <c:pt idx="375">
                  <c:v>0.14682432556178782</c:v>
                </c:pt>
                <c:pt idx="376">
                  <c:v>0.16151727924839704</c:v>
                </c:pt>
                <c:pt idx="377">
                  <c:v>0.18909879753687706</c:v>
                </c:pt>
                <c:pt idx="378">
                  <c:v>0.18091455873803539</c:v>
                </c:pt>
                <c:pt idx="379">
                  <c:v>0.1655771685217296</c:v>
                </c:pt>
                <c:pt idx="380">
                  <c:v>0.1655771685217296</c:v>
                </c:pt>
                <c:pt idx="381">
                  <c:v>0.1655771685217296</c:v>
                </c:pt>
                <c:pt idx="382">
                  <c:v>0.17685466946470285</c:v>
                </c:pt>
                <c:pt idx="383">
                  <c:v>0.16577049394756968</c:v>
                </c:pt>
                <c:pt idx="384">
                  <c:v>0.16435275571451213</c:v>
                </c:pt>
                <c:pt idx="385">
                  <c:v>0.17195701823583293</c:v>
                </c:pt>
                <c:pt idx="386">
                  <c:v>0.1399933924091718</c:v>
                </c:pt>
                <c:pt idx="387">
                  <c:v>0.1399933924091718</c:v>
                </c:pt>
                <c:pt idx="388">
                  <c:v>0.1399933924091718</c:v>
                </c:pt>
                <c:pt idx="389">
                  <c:v>0.10087658749970202</c:v>
                </c:pt>
                <c:pt idx="390">
                  <c:v>0.10732086980063742</c:v>
                </c:pt>
                <c:pt idx="391">
                  <c:v>0.11208965585584324</c:v>
                </c:pt>
                <c:pt idx="392">
                  <c:v>0.11318517582405235</c:v>
                </c:pt>
                <c:pt idx="393">
                  <c:v>7.9803784098989319E-2</c:v>
                </c:pt>
                <c:pt idx="394">
                  <c:v>7.9803784098989319E-2</c:v>
                </c:pt>
                <c:pt idx="395">
                  <c:v>7.9803784098989319E-2</c:v>
                </c:pt>
                <c:pt idx="396">
                  <c:v>0.1356750811549044</c:v>
                </c:pt>
                <c:pt idx="397">
                  <c:v>0.13006919711242418</c:v>
                </c:pt>
                <c:pt idx="398">
                  <c:v>0.14766208751732463</c:v>
                </c:pt>
                <c:pt idx="399">
                  <c:v>0.11872726358261886</c:v>
                </c:pt>
                <c:pt idx="400">
                  <c:v>0.11247630670752358</c:v>
                </c:pt>
                <c:pt idx="401">
                  <c:v>0.11247630670752358</c:v>
                </c:pt>
                <c:pt idx="402">
                  <c:v>0.11247630670752358</c:v>
                </c:pt>
                <c:pt idx="403">
                  <c:v>0.12504265304454634</c:v>
                </c:pt>
                <c:pt idx="404">
                  <c:v>0.1177045588005592</c:v>
                </c:pt>
                <c:pt idx="405">
                  <c:v>0.14521160198223299</c:v>
                </c:pt>
                <c:pt idx="406">
                  <c:v>0.14433806873653993</c:v>
                </c:pt>
                <c:pt idx="407">
                  <c:v>0.14149905110635658</c:v>
                </c:pt>
                <c:pt idx="408">
                  <c:v>0.14149905110635658</c:v>
                </c:pt>
                <c:pt idx="409">
                  <c:v>0.14149905110635658</c:v>
                </c:pt>
                <c:pt idx="410">
                  <c:v>0.12002451924133012</c:v>
                </c:pt>
                <c:pt idx="411">
                  <c:v>0.12839594175958127</c:v>
                </c:pt>
                <c:pt idx="412">
                  <c:v>0.11835024027074866</c:v>
                </c:pt>
                <c:pt idx="413">
                  <c:v>0.10779494314024789</c:v>
                </c:pt>
                <c:pt idx="414">
                  <c:v>9.7166886154286522E-2</c:v>
                </c:pt>
                <c:pt idx="415">
                  <c:v>9.7166886154286522E-2</c:v>
                </c:pt>
                <c:pt idx="416">
                  <c:v>9.7166886154286522E-2</c:v>
                </c:pt>
                <c:pt idx="417">
                  <c:v>8.4573344783835006E-2</c:v>
                </c:pt>
                <c:pt idx="418">
                  <c:v>8.3772599058946892E-2</c:v>
                </c:pt>
                <c:pt idx="419">
                  <c:v>7.2125378454993547E-2</c:v>
                </c:pt>
                <c:pt idx="420">
                  <c:v>5.0068491092838202E-2</c:v>
                </c:pt>
                <c:pt idx="421">
                  <c:v>0.1049559531754089</c:v>
                </c:pt>
                <c:pt idx="422">
                  <c:v>0.1049559531754089</c:v>
                </c:pt>
                <c:pt idx="423">
                  <c:v>0.1049559531754089</c:v>
                </c:pt>
                <c:pt idx="424">
                  <c:v>0.11676695261750965</c:v>
                </c:pt>
                <c:pt idx="425">
                  <c:v>0.12046129969684884</c:v>
                </c:pt>
                <c:pt idx="426">
                  <c:v>0.1327636633187359</c:v>
                </c:pt>
                <c:pt idx="427">
                  <c:v>0.12694005301675929</c:v>
                </c:pt>
                <c:pt idx="428" formatCode="0.0%">
                  <c:v>0.1117258842438838</c:v>
                </c:pt>
                <c:pt idx="429" formatCode="0.0%">
                  <c:v>0.1117258842438838</c:v>
                </c:pt>
                <c:pt idx="430" formatCode="0.0%">
                  <c:v>0.1117258842438838</c:v>
                </c:pt>
                <c:pt idx="431" formatCode="0.0%">
                  <c:v>9.7676454130610324E-2</c:v>
                </c:pt>
                <c:pt idx="432" formatCode="0.0%">
                  <c:v>7.3144514407641026E-2</c:v>
                </c:pt>
                <c:pt idx="433" formatCode="0.0%">
                  <c:v>9.8913952645672792E-2</c:v>
                </c:pt>
                <c:pt idx="434" formatCode="0.0%">
                  <c:v>9.3745513026974259E-2</c:v>
                </c:pt>
                <c:pt idx="435" formatCode="0.0%">
                  <c:v>0.1080861485541567</c:v>
                </c:pt>
                <c:pt idx="436" formatCode="0.0%">
                  <c:v>0.1080861485541567</c:v>
                </c:pt>
                <c:pt idx="437" formatCode="0.0%">
                  <c:v>0.1080861485541567</c:v>
                </c:pt>
                <c:pt idx="438" formatCode="0.0%">
                  <c:v>8.4937310053204554E-2</c:v>
                </c:pt>
                <c:pt idx="439" formatCode="0.0%">
                  <c:v>8.2607860399344729E-2</c:v>
                </c:pt>
                <c:pt idx="440" formatCode="0.0%">
                  <c:v>0.12475620606985388</c:v>
                </c:pt>
                <c:pt idx="441" formatCode="0.0%">
                  <c:v>0.12992464568855255</c:v>
                </c:pt>
                <c:pt idx="442" formatCode="0.0%">
                  <c:v>0.16020738052734912</c:v>
                </c:pt>
                <c:pt idx="443" formatCode="0.0%">
                  <c:v>0.16020738052734912</c:v>
                </c:pt>
                <c:pt idx="444" formatCode="0.0%">
                  <c:v>0.16020738052734912</c:v>
                </c:pt>
                <c:pt idx="445" formatCode="0.0%">
                  <c:v>0.16035298323430339</c:v>
                </c:pt>
                <c:pt idx="446" formatCode="0.0%">
                  <c:v>0.17796938918184352</c:v>
                </c:pt>
                <c:pt idx="447" formatCode="0.0%">
                  <c:v>0.16843322800399035</c:v>
                </c:pt>
                <c:pt idx="448" formatCode="0.0%">
                  <c:v>0.16508464239748322</c:v>
                </c:pt>
                <c:pt idx="449" formatCode="0.0%">
                  <c:v>0.16479346464891889</c:v>
                </c:pt>
                <c:pt idx="450" formatCode="0.0%">
                  <c:v>0.16479346464891889</c:v>
                </c:pt>
                <c:pt idx="451" formatCode="0.0%">
                  <c:v>0.16479346464891889</c:v>
                </c:pt>
                <c:pt idx="452" formatCode="0.0%">
                  <c:v>0.17200017617291238</c:v>
                </c:pt>
                <c:pt idx="453" formatCode="0.0%">
                  <c:v>0.18481210777112339</c:v>
                </c:pt>
                <c:pt idx="454" formatCode="0.0%">
                  <c:v>0.18393857452543003</c:v>
                </c:pt>
                <c:pt idx="455" formatCode="0.0%">
                  <c:v>0.15480962286989977</c:v>
                </c:pt>
                <c:pt idx="456" formatCode="0.0%">
                  <c:v>0.16734130453053767</c:v>
                </c:pt>
                <c:pt idx="457" formatCode="0.0%">
                  <c:v>0.16734130453053767</c:v>
                </c:pt>
                <c:pt idx="458" formatCode="0.0%">
                  <c:v>0.16734130453053767</c:v>
                </c:pt>
                <c:pt idx="459" formatCode="0.0%">
                  <c:v>0.1817547275785249</c:v>
                </c:pt>
                <c:pt idx="460" formatCode="0.0%">
                  <c:v>0.17745982120551956</c:v>
                </c:pt>
                <c:pt idx="461" formatCode="0.0%">
                  <c:v>0.14557559491694691</c:v>
                </c:pt>
                <c:pt idx="462" formatCode="0.0%">
                  <c:v>0.14208143426882969</c:v>
                </c:pt>
                <c:pt idx="463" formatCode="0.0%">
                  <c:v>0.14863297510954523</c:v>
                </c:pt>
                <c:pt idx="464" formatCode="0.0%">
                  <c:v>0.14863297510954523</c:v>
                </c:pt>
                <c:pt idx="465" formatCode="0.0%">
                  <c:v>0.14863297510954523</c:v>
                </c:pt>
                <c:pt idx="466" formatCode="0.0%">
                  <c:v>0.12249954393679957</c:v>
                </c:pt>
                <c:pt idx="467" formatCode="0.0%">
                  <c:v>0.12592091706411154</c:v>
                </c:pt>
                <c:pt idx="468" formatCode="0.0%">
                  <c:v>0.12300911191312337</c:v>
                </c:pt>
                <c:pt idx="469" formatCode="0.0%">
                  <c:v>0.12300911191312337</c:v>
                </c:pt>
                <c:pt idx="470" formatCode="0.0%">
                  <c:v>0.12300911191312337</c:v>
                </c:pt>
                <c:pt idx="471" formatCode="0.0%">
                  <c:v>0.12300911191312337</c:v>
                </c:pt>
                <c:pt idx="472" formatCode="0.0%">
                  <c:v>0.12300911191312337</c:v>
                </c:pt>
                <c:pt idx="473" formatCode="0.0%">
                  <c:v>0.12300911191312337</c:v>
                </c:pt>
                <c:pt idx="474" formatCode="0.0%">
                  <c:v>0.12402824786577085</c:v>
                </c:pt>
                <c:pt idx="475" formatCode="0.0%">
                  <c:v>0.13007024839550696</c:v>
                </c:pt>
                <c:pt idx="476" formatCode="0.0%">
                  <c:v>0.12191718843967053</c:v>
                </c:pt>
                <c:pt idx="477" formatCode="0.0%">
                  <c:v>8.6247623754416344E-2</c:v>
                </c:pt>
                <c:pt idx="478" formatCode="0.0%">
                  <c:v>8.6247623754416344E-2</c:v>
                </c:pt>
                <c:pt idx="479" formatCode="0.0%">
                  <c:v>8.6247623754416344E-2</c:v>
                </c:pt>
                <c:pt idx="480" formatCode="0.0%">
                  <c:v>6.775768456118314E-2</c:v>
                </c:pt>
                <c:pt idx="481" formatCode="0.0%">
                  <c:v>6.9504751052569425E-2</c:v>
                </c:pt>
                <c:pt idx="482" formatCode="0.0%">
                  <c:v>6.9504751052569425E-2</c:v>
                </c:pt>
                <c:pt idx="483" formatCode="0.0%">
                  <c:v>7.9259302458182079E-2</c:v>
                </c:pt>
                <c:pt idx="484" formatCode="0.0%">
                  <c:v>9.097931058294037E-2</c:v>
                </c:pt>
                <c:pt idx="485" formatCode="0.0%">
                  <c:v>7.058505508142375E-2</c:v>
                </c:pt>
                <c:pt idx="486" formatCode="0.0%">
                  <c:v>7.058505508142375E-2</c:v>
                </c:pt>
                <c:pt idx="487" formatCode="0.0%">
                  <c:v>7.2634946431317363E-2</c:v>
                </c:pt>
                <c:pt idx="488" formatCode="0.0%">
                  <c:v>7.9332089978987164E-2</c:v>
                </c:pt>
                <c:pt idx="489" formatCode="0.0%">
                  <c:v>8.3044640854863724E-2</c:v>
                </c:pt>
                <c:pt idx="490" formatCode="0.0%">
                  <c:v>8.5810843298897488E-2</c:v>
                </c:pt>
                <c:pt idx="491" formatCode="0.0%">
                  <c:v>5.0578059069162011E-2</c:v>
                </c:pt>
                <c:pt idx="492" formatCode="0.0%">
                  <c:v>5.0578059069162011E-2</c:v>
                </c:pt>
                <c:pt idx="493" formatCode="0.0%">
                  <c:v>5.0578059069162011E-2</c:v>
                </c:pt>
                <c:pt idx="494" formatCode="0.0%">
                  <c:v>1.942176331932785E-2</c:v>
                </c:pt>
                <c:pt idx="495" formatCode="0.0%">
                  <c:v>2.3877405342609846E-3</c:v>
                </c:pt>
                <c:pt idx="496" formatCode="0.0%">
                  <c:v>1.3525365496546442E-2</c:v>
                </c:pt>
                <c:pt idx="497" formatCode="0.0%">
                  <c:v>3.1884862591491014E-3</c:v>
                </c:pt>
                <c:pt idx="498" formatCode="0.0%">
                  <c:v>3.1884862591491014E-3</c:v>
                </c:pt>
                <c:pt idx="499" formatCode="0.0%">
                  <c:v>3.1884862591491014E-3</c:v>
                </c:pt>
                <c:pt idx="500" formatCode="0.0%">
                  <c:v>3.1884862591491014E-3</c:v>
                </c:pt>
                <c:pt idx="501" formatCode="0.0%">
                  <c:v>4.7229473462654853E-2</c:v>
                </c:pt>
                <c:pt idx="502" formatCode="0.0%">
                  <c:v>4.8539787163866921E-2</c:v>
                </c:pt>
                <c:pt idx="503" formatCode="0.0%">
                  <c:v>5.4800177921362235E-2</c:v>
                </c:pt>
                <c:pt idx="504" formatCode="0.0%">
                  <c:v>3.1942517168974408E-2</c:v>
                </c:pt>
                <c:pt idx="505" formatCode="0.0%">
                  <c:v>4.8685389870821327E-2</c:v>
                </c:pt>
                <c:pt idx="506" formatCode="0.0%">
                  <c:v>4.8685389870821327E-2</c:v>
                </c:pt>
                <c:pt idx="507" formatCode="0.0%">
                  <c:v>4.8685389870821327E-2</c:v>
                </c:pt>
                <c:pt idx="508" formatCode="0.0%">
                  <c:v>4.0750720142744397E-2</c:v>
                </c:pt>
                <c:pt idx="509" formatCode="0.0%">
                  <c:v>1.3015797520222493E-2</c:v>
                </c:pt>
                <c:pt idx="510" formatCode="0.0%">
                  <c:v>2.7502035754358899E-2</c:v>
                </c:pt>
                <c:pt idx="511" formatCode="0.0%">
                  <c:v>2.7502035754358899E-2</c:v>
                </c:pt>
                <c:pt idx="512" formatCode="0.0%">
                  <c:v>2.7502035754358899E-2</c:v>
                </c:pt>
                <c:pt idx="513" formatCode="0.0%">
                  <c:v>2.7502035754358899E-2</c:v>
                </c:pt>
                <c:pt idx="514" formatCode="0.0%">
                  <c:v>2.7502035754358899E-2</c:v>
                </c:pt>
                <c:pt idx="515" formatCode="0.0%">
                  <c:v>8.7921902724997808E-2</c:v>
                </c:pt>
                <c:pt idx="516" formatCode="0.0%">
                  <c:v>8.2085206715175899E-2</c:v>
                </c:pt>
                <c:pt idx="517" formatCode="0.0%">
                  <c:v>7.82401665055346E-2</c:v>
                </c:pt>
                <c:pt idx="518" formatCode="0.0%">
                  <c:v>7.2634946431317363E-2</c:v>
                </c:pt>
                <c:pt idx="519" formatCode="0.0%">
                  <c:v>7.5692354289260064E-2</c:v>
                </c:pt>
                <c:pt idx="520" formatCode="0.0%">
                  <c:v>7.5692354289260064E-2</c:v>
                </c:pt>
                <c:pt idx="521" formatCode="0.0%">
                  <c:v>7.5692354289260064E-2</c:v>
                </c:pt>
                <c:pt idx="522" formatCode="0.0%">
                  <c:v>7.5692354289260064E-2</c:v>
                </c:pt>
                <c:pt idx="523" formatCode="0.0%">
                  <c:v>8.6829979251544953E-2</c:v>
                </c:pt>
                <c:pt idx="524" formatCode="0.0%">
                  <c:v>9.0324139899662162E-2</c:v>
                </c:pt>
                <c:pt idx="525" formatCode="0.0%">
                  <c:v>8.0860793907958459E-2</c:v>
                </c:pt>
                <c:pt idx="526" formatCode="0.0%">
                  <c:v>4.0459542394180092E-2</c:v>
                </c:pt>
                <c:pt idx="527" formatCode="0.0%">
                  <c:v>4.0459542394180092E-2</c:v>
                </c:pt>
                <c:pt idx="528" formatCode="0.0%">
                  <c:v>4.0459542394180092E-2</c:v>
                </c:pt>
                <c:pt idx="529" formatCode="0.0%">
                  <c:v>-4.309403013408826E-3</c:v>
                </c:pt>
                <c:pt idx="530" formatCode="0.0%">
                  <c:v>-1.3044818466373868E-2</c:v>
                </c:pt>
                <c:pt idx="531" formatCode="0.0%">
                  <c:v>-5.7653194215751572E-3</c:v>
                </c:pt>
                <c:pt idx="532" formatCode="0.0%">
                  <c:v>-4.28907728496516E-2</c:v>
                </c:pt>
                <c:pt idx="533" formatCode="0.0%">
                  <c:v>-3.6484807050546096E-2</c:v>
                </c:pt>
                <c:pt idx="534" formatCode="0.0%">
                  <c:v>-3.6484807050546096E-2</c:v>
                </c:pt>
                <c:pt idx="535" formatCode="0.0%">
                  <c:v>-3.6484807050546096E-2</c:v>
                </c:pt>
                <c:pt idx="536" formatCode="0.0%">
                  <c:v>-2.4036868387048854E-2</c:v>
                </c:pt>
                <c:pt idx="537" formatCode="0.0%">
                  <c:v>-8.7499120933685511E-3</c:v>
                </c:pt>
                <c:pt idx="538" formatCode="0.0%">
                  <c:v>-1.5301452934083954E-2</c:v>
                </c:pt>
                <c:pt idx="539" formatCode="0.0%">
                  <c:v>-8.1675565962396491E-3</c:v>
                </c:pt>
                <c:pt idx="540" formatCode="0.0%">
                  <c:v>1.6000417857360106E-2</c:v>
                </c:pt>
                <c:pt idx="541" formatCode="0.0%">
                  <c:v>1.6000417857360106E-2</c:v>
                </c:pt>
                <c:pt idx="542" formatCode="0.0%">
                  <c:v>1.6000417857360106E-2</c:v>
                </c:pt>
                <c:pt idx="543" formatCode="0.0%">
                  <c:v>1.7237916372422717E-2</c:v>
                </c:pt>
                <c:pt idx="544" formatCode="0.0%">
                  <c:v>2.2551958698075511E-2</c:v>
                </c:pt>
                <c:pt idx="545" formatCode="0.0%">
                  <c:v>1.2230018746591043E-3</c:v>
                </c:pt>
                <c:pt idx="546" formatCode="0.0%">
                  <c:v>-1.7153371080297859E-2</c:v>
                </c:pt>
                <c:pt idx="547" formatCode="0.0%">
                  <c:v>-2.1925808960948815E-2</c:v>
                </c:pt>
                <c:pt idx="548" formatCode="0.0%">
                  <c:v>-2.1925808960948815E-2</c:v>
                </c:pt>
                <c:pt idx="549" formatCode="0.0%">
                  <c:v>-2.1925808960948815E-2</c:v>
                </c:pt>
                <c:pt idx="550" formatCode="0.0%">
                  <c:v>-2.2362589416467529E-2</c:v>
                </c:pt>
                <c:pt idx="551" formatCode="0.0%">
                  <c:v>-1.2462462969244968E-2</c:v>
                </c:pt>
                <c:pt idx="552" formatCode="0.0%">
                  <c:v>1.8912223008348262E-2</c:v>
                </c:pt>
                <c:pt idx="553" formatCode="0.0%">
                  <c:v>3.2015304689779499E-2</c:v>
                </c:pt>
                <c:pt idx="554" formatCode="0.0%">
                  <c:v>4.2497814299475183E-2</c:v>
                </c:pt>
                <c:pt idx="555" formatCode="0.0%">
                  <c:v>4.2497814299475183E-2</c:v>
                </c:pt>
                <c:pt idx="556" formatCode="0.0%">
                  <c:v>4.2497814299475183E-2</c:v>
                </c:pt>
                <c:pt idx="557" formatCode="0.0%">
                  <c:v>2.9394704952699868E-2</c:v>
                </c:pt>
                <c:pt idx="558" formatCode="0.0%">
                  <c:v>1.6364383126729509E-2</c:v>
                </c:pt>
                <c:pt idx="559" formatCode="0.0%">
                  <c:v>8.4297133986525816E-3</c:v>
                </c:pt>
                <c:pt idx="560" formatCode="0.0%">
                  <c:v>-3.6542599954749733E-3</c:v>
                </c:pt>
                <c:pt idx="561" formatCode="0.0%">
                  <c:v>1.7165128851617625E-2</c:v>
                </c:pt>
                <c:pt idx="562" formatCode="0.0%">
                  <c:v>1.7165128851617625E-2</c:v>
                </c:pt>
                <c:pt idx="563" formatCode="0.0%">
                  <c:v>1.7165128851617625E-2</c:v>
                </c:pt>
                <c:pt idx="564" formatCode="0.0%">
                  <c:v>2.8739534269421652E-2</c:v>
                </c:pt>
                <c:pt idx="565" formatCode="0.0%">
                  <c:v>3.49271098407678E-2</c:v>
                </c:pt>
                <c:pt idx="566" formatCode="0.0%">
                  <c:v>6.0332582809430164E-2</c:v>
                </c:pt>
                <c:pt idx="567" formatCode="0.0%">
                  <c:v>6.4045133685306441E-2</c:v>
                </c:pt>
                <c:pt idx="568" formatCode="0.0%">
                  <c:v>6.994153150808842E-2</c:v>
                </c:pt>
                <c:pt idx="569" formatCode="0.0%">
                  <c:v>6.994153150808842E-2</c:v>
                </c:pt>
                <c:pt idx="570" formatCode="0.0%">
                  <c:v>6.994153150808842E-2</c:v>
                </c:pt>
                <c:pt idx="571" formatCode="0.0%">
                  <c:v>5.6984024868267369E-2</c:v>
                </c:pt>
                <c:pt idx="572" formatCode="0.0%">
                  <c:v>4.8685389870821327E-2</c:v>
                </c:pt>
                <c:pt idx="573" formatCode="0.0%">
                  <c:v>6.0187007767820121E-2</c:v>
                </c:pt>
                <c:pt idx="574" formatCode="0.0%">
                  <c:v>6.433631143387103E-2</c:v>
                </c:pt>
                <c:pt idx="575" formatCode="0.0%">
                  <c:v>9.6438927950203354E-2</c:v>
                </c:pt>
                <c:pt idx="576" formatCode="0.0%">
                  <c:v>9.6438927950203354E-2</c:v>
                </c:pt>
                <c:pt idx="577" formatCode="0.0%">
                  <c:v>0.10082045451615443</c:v>
                </c:pt>
                <c:pt idx="578" formatCode="0.0%">
                  <c:v>9.469186145881707E-2</c:v>
                </c:pt>
                <c:pt idx="579" formatCode="0.0%">
                  <c:v>8.3772599058946892E-2</c:v>
                </c:pt>
                <c:pt idx="580" formatCode="0.0%">
                  <c:v>0.1065574446251854</c:v>
                </c:pt>
                <c:pt idx="581" formatCode="0.0%">
                  <c:v>0.11740389183890614</c:v>
                </c:pt>
                <c:pt idx="582" formatCode="0.0%">
                  <c:v>0.1330548410673002</c:v>
                </c:pt>
                <c:pt idx="583" formatCode="0.0%">
                  <c:v>0.1330548410673002</c:v>
                </c:pt>
                <c:pt idx="584" formatCode="0.0%">
                  <c:v>0.1330548410673002</c:v>
                </c:pt>
                <c:pt idx="585" formatCode="0.0%">
                  <c:v>0.14179022885492087</c:v>
                </c:pt>
                <c:pt idx="586" formatCode="0.0%">
                  <c:v>0.10313607149787302</c:v>
                </c:pt>
                <c:pt idx="587" formatCode="0.0%">
                  <c:v>0.10939643459002425</c:v>
                </c:pt>
                <c:pt idx="588" formatCode="0.0%">
                  <c:v>0.11136191897451425</c:v>
                </c:pt>
                <c:pt idx="589" formatCode="0.0%">
                  <c:v>0.11136191897451425</c:v>
                </c:pt>
                <c:pt idx="590" formatCode="0.0%">
                  <c:v>0.11136191897451425</c:v>
                </c:pt>
                <c:pt idx="591" formatCode="0.0%">
                  <c:v>0.11136191897451425</c:v>
                </c:pt>
                <c:pt idx="592" formatCode="0.0%">
                  <c:v>0.12628490999882544</c:v>
                </c:pt>
                <c:pt idx="593" formatCode="0.0%">
                  <c:v>0.11958776645115549</c:v>
                </c:pt>
                <c:pt idx="594" formatCode="0.0%">
                  <c:v>0.11274502019653142</c:v>
                </c:pt>
                <c:pt idx="595" formatCode="0.0%">
                  <c:v>0.12075247744541315</c:v>
                </c:pt>
                <c:pt idx="596" formatCode="0.0%">
                  <c:v>0.10852290134433119</c:v>
                </c:pt>
                <c:pt idx="597" formatCode="0.0%">
                  <c:v>0.10852290134433119</c:v>
                </c:pt>
                <c:pt idx="598" formatCode="0.0%">
                  <c:v>0.10852290134433119</c:v>
                </c:pt>
                <c:pt idx="599" formatCode="0.0%">
                  <c:v>8.7921902724997808E-2</c:v>
                </c:pt>
                <c:pt idx="600" formatCode="0.0%">
                  <c:v>8.2535072878539922E-2</c:v>
                </c:pt>
                <c:pt idx="601" formatCode="0.0%">
                  <c:v>8.2826250627104234E-2</c:v>
                </c:pt>
                <c:pt idx="602" formatCode="0.0%">
                  <c:v>9.1197673145355651E-2</c:v>
                </c:pt>
                <c:pt idx="603" formatCode="0.0%">
                  <c:v>7.0887879939930801E-2</c:v>
                </c:pt>
                <c:pt idx="604" formatCode="0.0%">
                  <c:v>7.0887879939930801E-2</c:v>
                </c:pt>
                <c:pt idx="605" formatCode="0.0%">
                  <c:v>7.0887879939930801E-2</c:v>
                </c:pt>
                <c:pt idx="606" formatCode="0.0%">
                  <c:v>4.6428727737766594E-2</c:v>
                </c:pt>
                <c:pt idx="607" formatCode="0.0%">
                  <c:v>3.5509465337896701E-2</c:v>
                </c:pt>
                <c:pt idx="608" formatCode="0.0%">
                  <c:v>3.5227749137076499E-2</c:v>
                </c:pt>
                <c:pt idx="609" formatCode="0.0%">
                  <c:v>2.2042390721751702E-2</c:v>
                </c:pt>
                <c:pt idx="610" formatCode="0.0%">
                  <c:v>3.5655068044850823E-2</c:v>
                </c:pt>
                <c:pt idx="611" formatCode="0.0%">
                  <c:v>3.5655068044850823E-2</c:v>
                </c:pt>
                <c:pt idx="612" formatCode="0.0%">
                  <c:v>3.5655068044850823E-2</c:v>
                </c:pt>
                <c:pt idx="613" formatCode="0.0%">
                  <c:v>2.7866001023728444E-2</c:v>
                </c:pt>
                <c:pt idx="614" formatCode="0.0%">
                  <c:v>2.2988739153594367E-2</c:v>
                </c:pt>
                <c:pt idx="615" formatCode="0.0%">
                  <c:v>2.3207129381353865E-2</c:v>
                </c:pt>
                <c:pt idx="616" formatCode="0.0%">
                  <c:v>3.5946245793415273E-2</c:v>
                </c:pt>
                <c:pt idx="617" formatCode="0.0%">
                  <c:v>5.2689118495262054E-2</c:v>
                </c:pt>
                <c:pt idx="618" formatCode="0.0%">
                  <c:v>5.2689118495262054E-2</c:v>
                </c:pt>
                <c:pt idx="619" formatCode="0.0%">
                  <c:v>5.2689118495262054E-2</c:v>
                </c:pt>
                <c:pt idx="620" formatCode="0.0%">
                  <c:v>5.8003160820914841E-2</c:v>
                </c:pt>
                <c:pt idx="621" formatCode="0.0%">
                  <c:v>2.8885136976376059E-2</c:v>
                </c:pt>
                <c:pt idx="622" formatCode="0.0%">
                  <c:v>1.7674696827941573E-2</c:v>
                </c:pt>
                <c:pt idx="623" formatCode="0.0%">
                  <c:v>1.2797434957807212E-2</c:v>
                </c:pt>
                <c:pt idx="624" formatCode="0.0%">
                  <c:v>-5.4741416730107063E-3</c:v>
                </c:pt>
                <c:pt idx="625" formatCode="0.0%">
                  <c:v>-5.4741416730107063E-3</c:v>
                </c:pt>
                <c:pt idx="626" formatCode="0.0%">
                  <c:v>-5.4741416730107063E-3</c:v>
                </c:pt>
                <c:pt idx="627" formatCode="0.0%">
                  <c:v>-6.4204624395090091E-3</c:v>
                </c:pt>
                <c:pt idx="628" formatCode="0.0%">
                  <c:v>-1.5301452934083954E-2</c:v>
                </c:pt>
                <c:pt idx="629" formatCode="0.0%">
                  <c:v>-6.4932499603139607E-3</c:v>
                </c:pt>
                <c:pt idx="630" formatCode="0.0%">
                  <c:v>-3.4009782355076512E-2</c:v>
                </c:pt>
                <c:pt idx="631" formatCode="0.0%">
                  <c:v>-4.5802578000639756E-2</c:v>
                </c:pt>
                <c:pt idx="632" formatCode="0.0%">
                  <c:v>-4.5802578000639756E-2</c:v>
                </c:pt>
                <c:pt idx="633" formatCode="0.0%">
                  <c:v>-4.5802578000639756E-2</c:v>
                </c:pt>
                <c:pt idx="634" formatCode="0.0%">
                  <c:v>-3.7795120751758164E-2</c:v>
                </c:pt>
                <c:pt idx="635" formatCode="0.0%">
                  <c:v>-3.6994375026870044E-2</c:v>
                </c:pt>
                <c:pt idx="636" formatCode="0.0%">
                  <c:v>-4.0124570405617559E-2</c:v>
                </c:pt>
                <c:pt idx="637" formatCode="0.0%">
                  <c:v>-6.2327060474727317E-2</c:v>
                </c:pt>
                <c:pt idx="638" formatCode="0.0%">
                  <c:v>-7.1984783175354033E-2</c:v>
                </c:pt>
                <c:pt idx="639" formatCode="0.0%">
                  <c:v>-7.1984783175354033E-2</c:v>
                </c:pt>
                <c:pt idx="640" formatCode="0.0%">
                  <c:v>-7.1984783175354033E-2</c:v>
                </c:pt>
                <c:pt idx="641" formatCode="0.0%">
                  <c:v>-5.5993882196426911E-2</c:v>
                </c:pt>
                <c:pt idx="642" formatCode="0.0%">
                  <c:v>-2.8622952508618623E-2</c:v>
                </c:pt>
                <c:pt idx="643" formatCode="0.0%">
                  <c:v>-3.8814256704405775E-2</c:v>
                </c:pt>
                <c:pt idx="644" formatCode="0.0%">
                  <c:v>-2.8550164987813532E-2</c:v>
                </c:pt>
                <c:pt idx="645" formatCode="0.0%">
                  <c:v>-4.7622459678175633E-2</c:v>
                </c:pt>
                <c:pt idx="646" formatCode="0.0%">
                  <c:v>-4.7622459678175633E-2</c:v>
                </c:pt>
                <c:pt idx="647" formatCode="0.0%">
                  <c:v>-4.7622459678175633E-2</c:v>
                </c:pt>
                <c:pt idx="648" formatCode="0.0%">
                  <c:v>-6.2035882726162866E-2</c:v>
                </c:pt>
                <c:pt idx="649" formatCode="0.0%">
                  <c:v>-7.4629424096614369E-2</c:v>
                </c:pt>
                <c:pt idx="650" formatCode="0.0%">
                  <c:v>-8.0161856650026661E-2</c:v>
                </c:pt>
                <c:pt idx="651" formatCode="0.0%">
                  <c:v>-0.10076282760401568</c:v>
                </c:pt>
                <c:pt idx="652" formatCode="0.0%">
                  <c:v>-8.2855271573255604E-2</c:v>
                </c:pt>
                <c:pt idx="653" formatCode="0.0%">
                  <c:v>-8.2855271573255604E-2</c:v>
                </c:pt>
                <c:pt idx="654" formatCode="0.0%">
                  <c:v>-8.2855271573255604E-2</c:v>
                </c:pt>
                <c:pt idx="655" formatCode="0.0%">
                  <c:v>-7.2736754898273692E-2</c:v>
                </c:pt>
                <c:pt idx="656" formatCode="0.0%">
                  <c:v>-6.6403576619973134E-2</c:v>
                </c:pt>
                <c:pt idx="657" formatCode="0.0%">
                  <c:v>-6.7786677841990162E-2</c:v>
                </c:pt>
                <c:pt idx="658" formatCode="0.0%">
                  <c:v>-6.0725569024950944E-2</c:v>
                </c:pt>
                <c:pt idx="659" formatCode="0.0%">
                  <c:v>-7.7322839019843312E-2</c:v>
                </c:pt>
                <c:pt idx="660" formatCode="0.0%">
                  <c:v>-7.7322839019843312E-2</c:v>
                </c:pt>
                <c:pt idx="661" formatCode="0.0%">
                  <c:v>-7.7322839019843312E-2</c:v>
                </c:pt>
                <c:pt idx="662" formatCode="0.0%">
                  <c:v>-7.3537500623161806E-2</c:v>
                </c:pt>
                <c:pt idx="663" formatCode="0.0%">
                  <c:v>-5.4465205932799847E-2</c:v>
                </c:pt>
                <c:pt idx="664" formatCode="0.0%">
                  <c:v>-4.0998103651310916E-2</c:v>
                </c:pt>
                <c:pt idx="665" formatCode="0.0%">
                  <c:v>-5.4610780974410036E-2</c:v>
                </c:pt>
                <c:pt idx="666" formatCode="0.0%">
                  <c:v>-5.4537993453604938E-2</c:v>
                </c:pt>
                <c:pt idx="667" formatCode="0.0%">
                  <c:v>-5.4537993453604938E-2</c:v>
                </c:pt>
                <c:pt idx="668" formatCode="0.0%">
                  <c:v>-5.4537993453604938E-2</c:v>
                </c:pt>
                <c:pt idx="669" formatCode="0.0%">
                  <c:v>-4.2558097084664723E-2</c:v>
                </c:pt>
                <c:pt idx="670" formatCode="0.0%">
                  <c:v>-3.7795120751758164E-2</c:v>
                </c:pt>
                <c:pt idx="671" formatCode="0.0%">
                  <c:v>-4.6821713953287374E-2</c:v>
                </c:pt>
                <c:pt idx="672" formatCode="0.0%">
                  <c:v>-5.6649052879704981E-2</c:v>
                </c:pt>
                <c:pt idx="673" formatCode="0.0%">
                  <c:v>-5.7595373646203284E-2</c:v>
                </c:pt>
                <c:pt idx="674" formatCode="0.0%">
                  <c:v>-5.7595373646203284E-2</c:v>
                </c:pt>
                <c:pt idx="675" formatCode="0.0%">
                  <c:v>-5.7595373646203284E-2</c:v>
                </c:pt>
                <c:pt idx="676" formatCode="0.0%">
                  <c:v>-5.8323331850286306E-2</c:v>
                </c:pt>
                <c:pt idx="677" formatCode="0.0%">
                  <c:v>-4.7185679222656915E-2</c:v>
                </c:pt>
                <c:pt idx="678" formatCode="0.0%">
                  <c:v>-5.5338739178493059E-2</c:v>
                </c:pt>
                <c:pt idx="679" formatCode="0.0%">
                  <c:v>-3.0952402162478309E-2</c:v>
                </c:pt>
                <c:pt idx="680" formatCode="0.0%">
                  <c:v>-8.7499120933685511E-3</c:v>
                </c:pt>
                <c:pt idx="681" formatCode="0.0%">
                  <c:v>-8.7499120933685511E-3</c:v>
                </c:pt>
                <c:pt idx="682" formatCode="0.0%">
                  <c:v>-8.7499120933685511E-3</c:v>
                </c:pt>
                <c:pt idx="683" formatCode="0.0%">
                  <c:v>-6.9300304158328172E-3</c:v>
                </c:pt>
                <c:pt idx="684" formatCode="0.0%">
                  <c:v>1.4413921024183196E-3</c:v>
                </c:pt>
                <c:pt idx="685" formatCode="0.0%">
                  <c:v>-1.6684554156100973E-2</c:v>
                </c:pt>
                <c:pt idx="686" formatCode="0.0%">
                  <c:v>-2.3236122662160737E-2</c:v>
                </c:pt>
                <c:pt idx="687" formatCode="0.0%">
                  <c:v>-1.8431648312831755E-2</c:v>
                </c:pt>
                <c:pt idx="688" formatCode="0.0%">
                  <c:v>-1.8431648312831755E-2</c:v>
                </c:pt>
                <c:pt idx="689" formatCode="0.0%">
                  <c:v>-1.8431648312831755E-2</c:v>
                </c:pt>
                <c:pt idx="690" formatCode="0.0%">
                  <c:v>-2.1634631212384361E-2</c:v>
                </c:pt>
                <c:pt idx="691" formatCode="0.0%">
                  <c:v>-2.2653767165031979E-2</c:v>
                </c:pt>
                <c:pt idx="692" formatCode="0.0%">
                  <c:v>-1.0278616022339832E-2</c:v>
                </c:pt>
                <c:pt idx="693" formatCode="0.0%">
                  <c:v>-6.2748873978988231E-3</c:v>
                </c:pt>
                <c:pt idx="694" formatCode="0.0%">
                  <c:v>-8.9683023211280504E-3</c:v>
                </c:pt>
                <c:pt idx="695" formatCode="0.0%">
                  <c:v>-8.9683023211280504E-3</c:v>
                </c:pt>
                <c:pt idx="696" formatCode="0.0%">
                  <c:v>-8.9683023211280504E-3</c:v>
                </c:pt>
                <c:pt idx="697" formatCode="0.0%">
                  <c:v>-1.2680825531660105E-2</c:v>
                </c:pt>
                <c:pt idx="698" formatCode="0.0%">
                  <c:v>-1.7485299880989232E-2</c:v>
                </c:pt>
                <c:pt idx="699" formatCode="0.0%">
                  <c:v>1.0877100415184913E-2</c:v>
                </c:pt>
                <c:pt idx="700" formatCode="0.0%">
                  <c:v>-8.3859191586547858E-3</c:v>
                </c:pt>
                <c:pt idx="701" formatCode="0.0%">
                  <c:v>-6.4932499603139607E-3</c:v>
                </c:pt>
                <c:pt idx="702" formatCode="0.0%">
                  <c:v>-6.4932499603139607E-3</c:v>
                </c:pt>
                <c:pt idx="703" formatCode="0.0%">
                  <c:v>-6.4932499603139607E-3</c:v>
                </c:pt>
                <c:pt idx="704" formatCode="0.0%">
                  <c:v>-1.399113923287203E-2</c:v>
                </c:pt>
                <c:pt idx="705" formatCode="0.0%">
                  <c:v>-3.0224443958394999E-2</c:v>
                </c:pt>
                <c:pt idx="706" formatCode="0.0%">
                  <c:v>-4.3400340825975263E-2</c:v>
                </c:pt>
                <c:pt idx="707" formatCode="0.0%">
                  <c:v>-3.2117113156735828E-2</c:v>
                </c:pt>
                <c:pt idx="708" formatCode="0.0%">
                  <c:v>-3.1680332701217111E-2</c:v>
                </c:pt>
                <c:pt idx="709" formatCode="0.0%">
                  <c:v>-3.1680332701217111E-2</c:v>
                </c:pt>
                <c:pt idx="710" formatCode="0.0%">
                  <c:v>-3.1680332701217111E-2</c:v>
                </c:pt>
                <c:pt idx="711" formatCode="0.0%">
                  <c:v>-3.3427426857947612E-2</c:v>
                </c:pt>
                <c:pt idx="712" formatCode="0.0%">
                  <c:v>-1.2316860262290704E-2</c:v>
                </c:pt>
                <c:pt idx="713" formatCode="0.0%">
                  <c:v>-1.5956623617362026E-2</c:v>
                </c:pt>
                <c:pt idx="714" formatCode="0.0%">
                  <c:v>-4.5147434982706042E-2</c:v>
                </c:pt>
                <c:pt idx="715" formatCode="0.0%">
                  <c:v>-5.9415255323738876E-2</c:v>
                </c:pt>
                <c:pt idx="716" formatCode="0.0%">
                  <c:v>-5.9415255323738876E-2</c:v>
                </c:pt>
                <c:pt idx="717" formatCode="0.0%">
                  <c:v>-5.9415255323738876E-2</c:v>
                </c:pt>
                <c:pt idx="718" formatCode="0.0%">
                  <c:v>-6.0871144066560842E-2</c:v>
                </c:pt>
                <c:pt idx="719" formatCode="0.0%">
                  <c:v>-6.4365332380022552E-2</c:v>
                </c:pt>
                <c:pt idx="720" formatCode="0.0%">
                  <c:v>-5.7013018149074383E-2</c:v>
                </c:pt>
                <c:pt idx="721" formatCode="0.0%">
                  <c:v>-7.0552907951368551E-2</c:v>
                </c:pt>
                <c:pt idx="722" formatCode="0.0%">
                  <c:v>-6.8514636046073468E-2</c:v>
                </c:pt>
                <c:pt idx="723" formatCode="0.0%">
                  <c:v>-6.8514636046073468E-2</c:v>
                </c:pt>
                <c:pt idx="724" formatCode="0.0%">
                  <c:v>-6.8514636046073468E-2</c:v>
                </c:pt>
                <c:pt idx="725" formatCode="0.0%">
                  <c:v>-6.8514636046073468E-2</c:v>
                </c:pt>
                <c:pt idx="726" formatCode="0.0%">
                  <c:v>-7.1135263448497313E-2</c:v>
                </c:pt>
                <c:pt idx="727" formatCode="0.0%">
                  <c:v>-7.6958873750473916E-2</c:v>
                </c:pt>
                <c:pt idx="728" formatCode="0.0%">
                  <c:v>-6.7131534824056302E-2</c:v>
                </c:pt>
                <c:pt idx="729" formatCode="0.0%">
                  <c:v>-7.4993389365983779E-2</c:v>
                </c:pt>
                <c:pt idx="730" formatCode="0.0%">
                  <c:v>-6.761415675504992E-2</c:v>
                </c:pt>
                <c:pt idx="731" formatCode="0.0%">
                  <c:v>-6.761415675504992E-2</c:v>
                </c:pt>
                <c:pt idx="732" formatCode="0.0%">
                  <c:v>-6.5530043374280075E-2</c:v>
                </c:pt>
                <c:pt idx="733" formatCode="0.0%">
                  <c:v>-5.7449798604593101E-2</c:v>
                </c:pt>
                <c:pt idx="734" formatCode="0.0%">
                  <c:v>-5.854172207804581E-2</c:v>
                </c:pt>
                <c:pt idx="735" formatCode="0.0%">
                  <c:v>-5.8614509598850902E-2</c:v>
                </c:pt>
                <c:pt idx="736" formatCode="0.0%">
                  <c:v>-6.1235137001274753E-2</c:v>
                </c:pt>
                <c:pt idx="737" formatCode="0.0%">
                  <c:v>-6.1235137001274753E-2</c:v>
                </c:pt>
                <c:pt idx="738" formatCode="0.0%">
                  <c:v>-6.1235137001274753E-2</c:v>
                </c:pt>
                <c:pt idx="739" formatCode="0.0%">
                  <c:v>-4.2454020059477099E-2</c:v>
                </c:pt>
                <c:pt idx="740" formatCode="0.0%">
                  <c:v>-5.0898230098533476E-2</c:v>
                </c:pt>
                <c:pt idx="741" formatCode="0.0%">
                  <c:v>-3.0952402162478309E-2</c:v>
                </c:pt>
                <c:pt idx="742" formatCode="0.0%">
                  <c:v>-2.418244342865904E-2</c:v>
                </c:pt>
                <c:pt idx="743" formatCode="0.0%">
                  <c:v>-1.7266937318574094E-2</c:v>
                </c:pt>
                <c:pt idx="744" formatCode="0.0%">
                  <c:v>-1.7266937318574094E-2</c:v>
                </c:pt>
                <c:pt idx="745" formatCode="0.0%">
                  <c:v>-1.7266937318574094E-2</c:v>
                </c:pt>
                <c:pt idx="746" formatCode="0.0%">
                  <c:v>-1.6247801365926476E-2</c:v>
                </c:pt>
                <c:pt idx="747" formatCode="0.0%">
                  <c:v>-1.4719097436955195E-2</c:v>
                </c:pt>
                <c:pt idx="748" formatCode="0.0%">
                  <c:v>-5.6197167146207509E-3</c:v>
                </c:pt>
                <c:pt idx="749" formatCode="0.0%">
                  <c:v>-2.4619223884177758E-2</c:v>
                </c:pt>
                <c:pt idx="750" formatCode="0.0%">
                  <c:v>-2.2216986709513265E-2</c:v>
                </c:pt>
                <c:pt idx="751" formatCode="0.0%">
                  <c:v>-2.2216986709513265E-2</c:v>
                </c:pt>
                <c:pt idx="752" formatCode="0.0%">
                  <c:v>-2.2216986709513265E-2</c:v>
                </c:pt>
                <c:pt idx="753" formatCode="0.0%">
                  <c:v>-1.6887756109849762E-3</c:v>
                </c:pt>
                <c:pt idx="754" formatCode="0.0%">
                  <c:v>3.7708417562780029E-3</c:v>
                </c:pt>
                <c:pt idx="755" formatCode="0.0%">
                  <c:v>-2.592953758538968E-2</c:v>
                </c:pt>
                <c:pt idx="756" formatCode="0.0%">
                  <c:v>-4.8917585105377271E-3</c:v>
                </c:pt>
                <c:pt idx="757" formatCode="0.0%">
                  <c:v>3.1156987383440084E-3</c:v>
                </c:pt>
                <c:pt idx="758" formatCode="0.0%">
                  <c:v>3.1156987383440084E-3</c:v>
                </c:pt>
                <c:pt idx="759" formatCode="0.0%">
                  <c:v>3.1156987383440084E-3</c:v>
                </c:pt>
                <c:pt idx="760" formatCode="0.0%">
                  <c:v>-9.332267590497309E-3</c:v>
                </c:pt>
                <c:pt idx="761" formatCode="0.0%">
                  <c:v>-4.3334441975896709E-3</c:v>
                </c:pt>
                <c:pt idx="762" formatCode="0.0%">
                  <c:v>-4.273742384629884E-3</c:v>
                </c:pt>
                <c:pt idx="763" formatCode="0.0%">
                  <c:v>2.1784660374423767E-2</c:v>
                </c:pt>
                <c:pt idx="764" formatCode="0.0%">
                  <c:v>1.6828690599808453E-2</c:v>
                </c:pt>
                <c:pt idx="765" formatCode="0.0%">
                  <c:v>1.6828690599808453E-2</c:v>
                </c:pt>
                <c:pt idx="766" formatCode="0.0%">
                  <c:v>1.6828690599808453E-2</c:v>
                </c:pt>
                <c:pt idx="767" formatCode="0.0%">
                  <c:v>3.8966637420709562E-3</c:v>
                </c:pt>
                <c:pt idx="768" formatCode="0.0%">
                  <c:v>5.2130914843691303E-3</c:v>
                </c:pt>
                <c:pt idx="769" formatCode="0.0%">
                  <c:v>1.8996934292538726E-2</c:v>
                </c:pt>
                <c:pt idx="770" formatCode="0.0%">
                  <c:v>1.2259897318414942E-2</c:v>
                </c:pt>
                <c:pt idx="771" formatCode="0.0%">
                  <c:v>-1.3690748924662444E-3</c:v>
                </c:pt>
                <c:pt idx="772" formatCode="0.0%">
                  <c:v>-1.3690748924662444E-3</c:v>
                </c:pt>
                <c:pt idx="773" formatCode="0.0%">
                  <c:v>-1.3690748924662444E-3</c:v>
                </c:pt>
                <c:pt idx="774" formatCode="0.0%">
                  <c:v>3.4320519502048798E-3</c:v>
                </c:pt>
                <c:pt idx="775" formatCode="0.0%">
                  <c:v>3.0448477916390003E-3</c:v>
                </c:pt>
                <c:pt idx="776" formatCode="0.0%">
                  <c:v>9.2398376752522889E-3</c:v>
                </c:pt>
                <c:pt idx="777" formatCode="0.0%">
                  <c:v>1.7215867093030256E-2</c:v>
                </c:pt>
                <c:pt idx="778" formatCode="0.0%">
                  <c:v>-2.0751774745647822E-4</c:v>
                </c:pt>
                <c:pt idx="779" formatCode="0.0%">
                  <c:v>-2.0751774745647822E-4</c:v>
                </c:pt>
                <c:pt idx="780" formatCode="0.0%">
                  <c:v>-2.0751774745647822E-4</c:v>
                </c:pt>
                <c:pt idx="781" formatCode="0.0%">
                  <c:v>2.967412492994299E-3</c:v>
                </c:pt>
                <c:pt idx="782" formatCode="0.0%">
                  <c:v>-1.3913897591637721E-2</c:v>
                </c:pt>
                <c:pt idx="783" formatCode="0.0%">
                  <c:v>-2.2044825272048599E-2</c:v>
                </c:pt>
                <c:pt idx="784" formatCode="0.0%">
                  <c:v>-1.3216979903838535E-2</c:v>
                </c:pt>
                <c:pt idx="785" formatCode="0.0%">
                  <c:v>-2.3206382417057938E-2</c:v>
                </c:pt>
                <c:pt idx="786" formatCode="0.0%">
                  <c:v>-2.3206382417057938E-2</c:v>
                </c:pt>
                <c:pt idx="787" formatCode="0.0%">
                  <c:v>-2.3206382417057938E-2</c:v>
                </c:pt>
                <c:pt idx="788" formatCode="0.0%">
                  <c:v>-2.7984242705188223E-2</c:v>
                </c:pt>
                <c:pt idx="789" formatCode="0.0%">
                  <c:v>-2.476286235168814E-2</c:v>
                </c:pt>
                <c:pt idx="790" formatCode="0.0%">
                  <c:v>-3.0020854689826421E-2</c:v>
                </c:pt>
                <c:pt idx="791" formatCode="0.0%">
                  <c:v>-3.0330595884403806E-2</c:v>
                </c:pt>
                <c:pt idx="792" formatCode="0.0%">
                  <c:v>-1.0738967351186518E-2</c:v>
                </c:pt>
                <c:pt idx="793" formatCode="0.0%">
                  <c:v>-1.0738967351186518E-2</c:v>
                </c:pt>
                <c:pt idx="794" formatCode="0.0%">
                  <c:v>-1.0738967351186518E-2</c:v>
                </c:pt>
                <c:pt idx="795" formatCode="0.0%">
                  <c:v>1.7284200493405421E-3</c:v>
                </c:pt>
                <c:pt idx="796" formatCode="0.0%">
                  <c:v>-4.156800974351285E-3</c:v>
                </c:pt>
                <c:pt idx="797" formatCode="0.0%">
                  <c:v>-7.7963706720126421E-3</c:v>
                </c:pt>
                <c:pt idx="798" formatCode="0.0%">
                  <c:v>2.4253654024842318E-3</c:v>
                </c:pt>
                <c:pt idx="799" formatCode="0.0%">
                  <c:v>-3.791944880895997E-2</c:v>
                </c:pt>
                <c:pt idx="800" formatCode="0.0%">
                  <c:v>-3.791944880895997E-2</c:v>
                </c:pt>
                <c:pt idx="801" formatCode="0.0%">
                  <c:v>-3.791944880895997E-2</c:v>
                </c:pt>
                <c:pt idx="802" formatCode="0.0%">
                  <c:v>-4.0319998397623208E-2</c:v>
                </c:pt>
                <c:pt idx="803" formatCode="0.0%">
                  <c:v>-3.025316058575939E-2</c:v>
                </c:pt>
                <c:pt idx="804" formatCode="0.0%">
                  <c:v>-2.9169038739394183E-2</c:v>
                </c:pt>
                <c:pt idx="805" formatCode="0.0%">
                  <c:v>-1.9257071524819196E-2</c:v>
                </c:pt>
                <c:pt idx="806" formatCode="0.0%">
                  <c:v>-1.9644248018040857E-2</c:v>
                </c:pt>
                <c:pt idx="807" formatCode="0.0%">
                  <c:v>-1.9644248018040857E-2</c:v>
                </c:pt>
                <c:pt idx="808" formatCode="0.0%">
                  <c:v>-1.9644248018040857E-2</c:v>
                </c:pt>
                <c:pt idx="809" formatCode="0.0%">
                  <c:v>-2.08058328283947E-2</c:v>
                </c:pt>
                <c:pt idx="810" formatCode="0.0%">
                  <c:v>-2.1502750516193742E-2</c:v>
                </c:pt>
                <c:pt idx="811" formatCode="0.0%">
                  <c:v>-1.3062081641205623E-2</c:v>
                </c:pt>
                <c:pt idx="812" formatCode="0.0%">
                  <c:v>-1.0506661455253408E-2</c:v>
                </c:pt>
                <c:pt idx="813" formatCode="0.0%">
                  <c:v>-1.7476031990654804E-2</c:v>
                </c:pt>
                <c:pt idx="814" formatCode="0.0%">
                  <c:v>-1.7476031990654804E-2</c:v>
                </c:pt>
                <c:pt idx="815" formatCode="0.0%">
                  <c:v>-1.7476031990654804E-2</c:v>
                </c:pt>
                <c:pt idx="816" formatCode="0.0%">
                  <c:v>-1.4068768188926271E-2</c:v>
                </c:pt>
                <c:pt idx="817" formatCode="0.0%">
                  <c:v>-2.6923359748019494E-2</c:v>
                </c:pt>
                <c:pt idx="818" formatCode="0.0%">
                  <c:v>-1.8637589135664285E-2</c:v>
                </c:pt>
                <c:pt idx="819" formatCode="0.0%">
                  <c:v>-7.021990020224962E-3</c:v>
                </c:pt>
                <c:pt idx="820" formatCode="0.0%">
                  <c:v>9.1190231167743718E-3</c:v>
                </c:pt>
                <c:pt idx="821" formatCode="0.0%">
                  <c:v>9.1190231167743718E-3</c:v>
                </c:pt>
                <c:pt idx="822" formatCode="0.0%">
                  <c:v>9.1190231167743718E-3</c:v>
                </c:pt>
                <c:pt idx="823" formatCode="0.0%">
                  <c:v>6.9167233852331835E-3</c:v>
                </c:pt>
                <c:pt idx="824" formatCode="0.0%">
                  <c:v>4.4387384979256697E-3</c:v>
                </c:pt>
                <c:pt idx="825" formatCode="0.0%">
                  <c:v>-5.0860522234276572E-3</c:v>
                </c:pt>
                <c:pt idx="826" formatCode="0.0%">
                  <c:v>-5.0860522234276572E-3</c:v>
                </c:pt>
                <c:pt idx="827" formatCode="0.0%">
                  <c:v>-5.0860522234276572E-3</c:v>
                </c:pt>
                <c:pt idx="828" formatCode="0.0%">
                  <c:v>-5.0860522234276572E-3</c:v>
                </c:pt>
                <c:pt idx="829" formatCode="0.0%">
                  <c:v>-5.0860522234276572E-3</c:v>
                </c:pt>
                <c:pt idx="830" formatCode="0.0%">
                  <c:v>-5.0860522234276572E-3</c:v>
                </c:pt>
                <c:pt idx="831" formatCode="0.0%">
                  <c:v>-1.3690748924662444E-3</c:v>
                </c:pt>
                <c:pt idx="832" formatCode="0.0%">
                  <c:v>-2.8403732320529686E-3</c:v>
                </c:pt>
                <c:pt idx="833" formatCode="0.0%">
                  <c:v>-3.3824479879078239E-3</c:v>
                </c:pt>
                <c:pt idx="834" formatCode="0.0%">
                  <c:v>1.1089376601857736E-3</c:v>
                </c:pt>
                <c:pt idx="835" formatCode="0.0%">
                  <c:v>1.1089376601857736E-3</c:v>
                </c:pt>
                <c:pt idx="836" formatCode="0.0%">
                  <c:v>1.1089376601857736E-3</c:v>
                </c:pt>
                <c:pt idx="837" formatCode="0.0%">
                  <c:v>4.9807855884363046E-3</c:v>
                </c:pt>
                <c:pt idx="838" formatCode="0.0%">
                  <c:v>5.6686290433120238E-4</c:v>
                </c:pt>
                <c:pt idx="839" formatCode="0.0%">
                  <c:v>-5.6281269792825125E-3</c:v>
                </c:pt>
                <c:pt idx="840" formatCode="0.0%">
                  <c:v>-1.4765713542069675E-2</c:v>
                </c:pt>
                <c:pt idx="841" formatCode="0.0%">
                  <c:v>-1.0119484962031749E-2</c:v>
                </c:pt>
                <c:pt idx="842" formatCode="0.0%">
                  <c:v>-1.0119484962031749E-2</c:v>
                </c:pt>
                <c:pt idx="843" formatCode="0.0%">
                  <c:v>-1.0119484962031749E-2</c:v>
                </c:pt>
                <c:pt idx="844" formatCode="0.0%">
                  <c:v>-1.5385223596568949E-2</c:v>
                </c:pt>
                <c:pt idx="845" formatCode="0.0%">
                  <c:v>-1.2365163953406295E-2</c:v>
                </c:pt>
                <c:pt idx="846" formatCode="0.0%">
                  <c:v>-2.5761802603010153E-2</c:v>
                </c:pt>
                <c:pt idx="847" formatCode="0.0%">
                  <c:v>-1.4533407646136708E-2</c:v>
                </c:pt>
                <c:pt idx="848" formatCode="0.0%">
                  <c:v>-7.5640371107354555E-3</c:v>
                </c:pt>
                <c:pt idx="849" formatCode="0.0%">
                  <c:v>-7.5640371107354555E-3</c:v>
                </c:pt>
                <c:pt idx="850" formatCode="0.0%">
                  <c:v>-8.3422909107225968E-3</c:v>
                </c:pt>
                <c:pt idx="851" formatCode="0.0%">
                  <c:v>-8.8804925183779918E-3</c:v>
                </c:pt>
                <c:pt idx="852" formatCode="0.0%">
                  <c:v>-2.6381312657509141E-2</c:v>
                </c:pt>
                <c:pt idx="853" formatCode="0.0%">
                  <c:v>-2.9478807599315929E-2</c:v>
                </c:pt>
                <c:pt idx="854" formatCode="0.0%">
                  <c:v>-3.4357342075286963E-2</c:v>
                </c:pt>
                <c:pt idx="855" formatCode="0.0%">
                  <c:v>-3.4357342075286963E-2</c:v>
                </c:pt>
                <c:pt idx="856" formatCode="0.0%">
                  <c:v>-3.4357342075286963E-2</c:v>
                </c:pt>
                <c:pt idx="857" formatCode="0.0%">
                  <c:v>-3.4357342075286963E-2</c:v>
                </c:pt>
                <c:pt idx="858" formatCode="0.0%">
                  <c:v>-1.1823089197551581E-2</c:v>
                </c:pt>
                <c:pt idx="859" formatCode="0.0%">
                  <c:v>-9.0443543525580599E-4</c:v>
                </c:pt>
                <c:pt idx="860" formatCode="0.0%">
                  <c:v>-1.059306032544498E-3</c:v>
                </c:pt>
                <c:pt idx="861" formatCode="0.0%">
                  <c:v>4.5161737965699446E-3</c:v>
                </c:pt>
                <c:pt idx="862" formatCode="0.0%">
                  <c:v>1.0091653625684529E-2</c:v>
                </c:pt>
                <c:pt idx="863" formatCode="0.0%">
                  <c:v>1.0091653625684529E-2</c:v>
                </c:pt>
                <c:pt idx="864" formatCode="0.0%">
                  <c:v>1.0091653625684529E-2</c:v>
                </c:pt>
                <c:pt idx="865" formatCode="0.0%">
                  <c:v>1.1717822562560088E-2</c:v>
                </c:pt>
                <c:pt idx="866" formatCode="0.0%">
                  <c:v>1.7757941848884969E-2</c:v>
                </c:pt>
                <c:pt idx="867" formatCode="0.0%">
                  <c:v>2.132004858255783E-2</c:v>
                </c:pt>
                <c:pt idx="868" formatCode="0.0%">
                  <c:v>2.132004858255783E-2</c:v>
                </c:pt>
                <c:pt idx="869" formatCode="0.0%">
                  <c:v>2.132004858255783E-2</c:v>
                </c:pt>
                <c:pt idx="870" formatCode="0.0%">
                  <c:v>2.132004858255783E-2</c:v>
                </c:pt>
                <c:pt idx="871" formatCode="0.0%">
                  <c:v>2.132004858255783E-2</c:v>
                </c:pt>
                <c:pt idx="872" formatCode="0.0%">
                  <c:v>4.4706089745381095E-2</c:v>
                </c:pt>
                <c:pt idx="873" formatCode="0.0%">
                  <c:v>3.8278821631178628E-2</c:v>
                </c:pt>
                <c:pt idx="874" formatCode="0.0%">
                  <c:v>2.132004858255783E-2</c:v>
                </c:pt>
                <c:pt idx="875" formatCode="0.0%">
                  <c:v>3.3942334245718089E-2</c:v>
                </c:pt>
                <c:pt idx="876" formatCode="0.0%">
                  <c:v>5.0436467837128587E-2</c:v>
                </c:pt>
                <c:pt idx="877" formatCode="0.0%">
                  <c:v>5.0436467837128587E-2</c:v>
                </c:pt>
                <c:pt idx="878" formatCode="0.0%">
                  <c:v>5.0436467837128587E-2</c:v>
                </c:pt>
                <c:pt idx="879" formatCode="0.0%">
                  <c:v>5.0436467837128587E-2</c:v>
                </c:pt>
                <c:pt idx="880" formatCode="0.0%">
                  <c:v>5.0901079628994525E-2</c:v>
                </c:pt>
                <c:pt idx="881" formatCode="0.0%">
                  <c:v>4.6082938599590194E-2</c:v>
                </c:pt>
                <c:pt idx="882" formatCode="0.0%">
                  <c:v>4.5712776293101741E-2</c:v>
                </c:pt>
                <c:pt idx="883" formatCode="0.0%">
                  <c:v>6.1587427495357332E-2</c:v>
                </c:pt>
                <c:pt idx="884" formatCode="0.0%">
                  <c:v>6.1587427495357332E-2</c:v>
                </c:pt>
                <c:pt idx="885" formatCode="0.0%">
                  <c:v>6.1587427495357332E-2</c:v>
                </c:pt>
                <c:pt idx="886" formatCode="0.0%">
                  <c:v>6.1587427495357332E-2</c:v>
                </c:pt>
                <c:pt idx="887" formatCode="0.0%">
                  <c:v>7.0725014058144783E-2</c:v>
                </c:pt>
                <c:pt idx="888" formatCode="0.0%">
                  <c:v>6.0270999753059301E-2</c:v>
                </c:pt>
                <c:pt idx="889" formatCode="0.0%">
                  <c:v>4.8732835936264249E-2</c:v>
                </c:pt>
                <c:pt idx="890" formatCode="0.0%">
                  <c:v>5.6941198915319402E-2</c:v>
                </c:pt>
                <c:pt idx="891" formatCode="0.0%">
                  <c:v>5.6941198915319402E-2</c:v>
                </c:pt>
                <c:pt idx="892" formatCode="0.0%">
                  <c:v>5.6941198915319402E-2</c:v>
                </c:pt>
                <c:pt idx="893" formatCode="0.0%">
                  <c:v>6.3213596432232885E-2</c:v>
                </c:pt>
                <c:pt idx="894" formatCode="0.0%">
                  <c:v>7.8236431684056529E-2</c:v>
                </c:pt>
                <c:pt idx="895" formatCode="0.0%">
                  <c:v>7.1809135904509838E-2</c:v>
                </c:pt>
                <c:pt idx="896" formatCode="0.0%">
                  <c:v>6.7859852677615323E-2</c:v>
                </c:pt>
                <c:pt idx="897" formatCode="0.0%">
                  <c:v>7.2196340063075862E-2</c:v>
                </c:pt>
                <c:pt idx="898" formatCode="0.0%">
                  <c:v>7.2196340063075862E-2</c:v>
                </c:pt>
                <c:pt idx="899" formatCode="0.0%">
                  <c:v>7.2196340063075862E-2</c:v>
                </c:pt>
                <c:pt idx="900" formatCode="0.0%">
                  <c:v>6.6388526672683953E-2</c:v>
                </c:pt>
                <c:pt idx="901" formatCode="0.0%">
                  <c:v>5.9574054399915755E-2</c:v>
                </c:pt>
                <c:pt idx="902" formatCode="0.0%">
                  <c:v>5.0436467837128587E-2</c:v>
                </c:pt>
                <c:pt idx="903" formatCode="0.0%">
                  <c:v>5.1055950226283071E-2</c:v>
                </c:pt>
                <c:pt idx="904" formatCode="0.0%">
                  <c:v>5.2837017425791687E-2</c:v>
                </c:pt>
                <c:pt idx="905" formatCode="0.0%">
                  <c:v>5.2837017425791687E-2</c:v>
                </c:pt>
                <c:pt idx="906" formatCode="0.0%">
                  <c:v>5.2837017425791687E-2</c:v>
                </c:pt>
                <c:pt idx="907" formatCode="0.0%">
                  <c:v>5.2140072072648425E-2</c:v>
                </c:pt>
                <c:pt idx="908" formatCode="0.0%">
                  <c:v>4.3776866161648942E-2</c:v>
                </c:pt>
                <c:pt idx="909" formatCode="0.0%">
                  <c:v>6.0813046843569654E-2</c:v>
                </c:pt>
                <c:pt idx="910" formatCode="0.0%">
                  <c:v>6.0813046843569654E-2</c:v>
                </c:pt>
                <c:pt idx="911" formatCode="0.0%">
                  <c:v>6.9572752468813948E-2</c:v>
                </c:pt>
                <c:pt idx="912" formatCode="0.0%">
                  <c:v>6.9572752468813948E-2</c:v>
                </c:pt>
                <c:pt idx="913" formatCode="0.0%">
                  <c:v>6.9572752468813948E-2</c:v>
                </c:pt>
                <c:pt idx="914" formatCode="0.0%">
                  <c:v>6.6311091374039954E-2</c:v>
                </c:pt>
                <c:pt idx="915" formatCode="0.0%">
                  <c:v>6.8711640962703061E-2</c:v>
                </c:pt>
                <c:pt idx="916" formatCode="0.0%">
                  <c:v>6.6853166129894531E-2</c:v>
                </c:pt>
                <c:pt idx="917" formatCode="0.0%">
                  <c:v>4.5403035098524357E-2</c:v>
                </c:pt>
                <c:pt idx="918" formatCode="0.0%">
                  <c:v>4.1918363663495911E-2</c:v>
                </c:pt>
                <c:pt idx="919" formatCode="0.0%">
                  <c:v>4.1918363663495911E-2</c:v>
                </c:pt>
                <c:pt idx="920" formatCode="0.0%">
                  <c:v>4.1918363663495911E-2</c:v>
                </c:pt>
                <c:pt idx="921" formatCode="0.0%">
                  <c:v>3.8588562825756012E-2</c:v>
                </c:pt>
                <c:pt idx="922" formatCode="0.0%">
                  <c:v>4.2382975455361988E-2</c:v>
                </c:pt>
                <c:pt idx="923" formatCode="0.0%">
                  <c:v>4.8500530040331141E-2</c:v>
                </c:pt>
                <c:pt idx="924" formatCode="0.0%">
                  <c:v>5.9032007309405256E-2</c:v>
                </c:pt>
                <c:pt idx="925" formatCode="0.0%">
                  <c:v>6.6543397269972784E-2</c:v>
                </c:pt>
                <c:pt idx="926" formatCode="0.0%">
                  <c:v>6.6543397269972784E-2</c:v>
                </c:pt>
                <c:pt idx="927" formatCode="0.0%">
                  <c:v>6.6543397269972784E-2</c:v>
                </c:pt>
                <c:pt idx="928" formatCode="0.0%">
                  <c:v>6.5923914880818016E-2</c:v>
                </c:pt>
                <c:pt idx="929" formatCode="0.0%">
                  <c:v>6.4375181242586732E-2</c:v>
                </c:pt>
                <c:pt idx="930" formatCode="0.0%">
                  <c:v>8.0327240078142237E-2</c:v>
                </c:pt>
                <c:pt idx="931" formatCode="0.0%">
                  <c:v>6.4142847681309553E-2</c:v>
                </c:pt>
                <c:pt idx="932" formatCode="0.0%">
                  <c:v>6.1200251002135671E-2</c:v>
                </c:pt>
                <c:pt idx="933" formatCode="0.0%">
                  <c:v>6.1200251002135671E-2</c:v>
                </c:pt>
                <c:pt idx="934" formatCode="0.0%">
                  <c:v>6.1200251002135671E-2</c:v>
                </c:pt>
                <c:pt idx="935" formatCode="0.0%">
                  <c:v>6.7627519116337992E-2</c:v>
                </c:pt>
                <c:pt idx="936" formatCode="0.0%">
                  <c:v>7.5371270303527207E-2</c:v>
                </c:pt>
                <c:pt idx="937" formatCode="0.0%">
                  <c:v>7.2196340063075862E-2</c:v>
                </c:pt>
                <c:pt idx="938" formatCode="0.0%">
                  <c:v>9.6124455981753842E-2</c:v>
                </c:pt>
                <c:pt idx="939" formatCode="0.0%">
                  <c:v>8.6212488767178713E-2</c:v>
                </c:pt>
                <c:pt idx="940" formatCode="0.0%">
                  <c:v>8.6212488767178713E-2</c:v>
                </c:pt>
                <c:pt idx="941" formatCode="0.0%">
                  <c:v>8.6212488767178713E-2</c:v>
                </c:pt>
                <c:pt idx="942" formatCode="0.0%">
                  <c:v>9.0202052735347274E-2</c:v>
                </c:pt>
                <c:pt idx="943" formatCode="0.0%">
                  <c:v>9.3104396338591328E-2</c:v>
                </c:pt>
                <c:pt idx="944" formatCode="0.0%">
                  <c:v>7.4209713158517585E-2</c:v>
                </c:pt>
                <c:pt idx="945" formatCode="0.0%">
                  <c:v>6.6001350179462293E-2</c:v>
                </c:pt>
                <c:pt idx="946" formatCode="0.0%">
                  <c:v>6.5691608984884908E-2</c:v>
                </c:pt>
                <c:pt idx="947" formatCode="0.0%">
                  <c:v>6.5691608984884908E-2</c:v>
                </c:pt>
                <c:pt idx="948" formatCode="0.0%">
                  <c:v>6.5691608984884908E-2</c:v>
                </c:pt>
                <c:pt idx="949" formatCode="0.0%">
                  <c:v>6.6078785478106569E-2</c:v>
                </c:pt>
                <c:pt idx="950" formatCode="0.0%">
                  <c:v>5.9574054399915755E-2</c:v>
                </c:pt>
                <c:pt idx="951" formatCode="0.0%">
                  <c:v>6.1819733391290439E-2</c:v>
                </c:pt>
                <c:pt idx="952" formatCode="0.0%">
                  <c:v>6.7008036727183223E-2</c:v>
                </c:pt>
                <c:pt idx="953" formatCode="0.0%">
                  <c:v>5.934174850398264E-2</c:v>
                </c:pt>
                <c:pt idx="954" formatCode="0.0%">
                  <c:v>5.934174850398264E-2</c:v>
                </c:pt>
                <c:pt idx="955" formatCode="0.0%">
                  <c:v>5.934174850398264E-2</c:v>
                </c:pt>
                <c:pt idx="956" formatCode="0.0%">
                  <c:v>6.2594114043078408E-2</c:v>
                </c:pt>
                <c:pt idx="957" formatCode="0.0%">
                  <c:v>5.5005261118522102E-2</c:v>
                </c:pt>
                <c:pt idx="958" formatCode="0.0%">
                  <c:v>5.3146758620369071E-2</c:v>
                </c:pt>
                <c:pt idx="959" formatCode="0.0%">
                  <c:v>3.9595249373476804E-2</c:v>
                </c:pt>
                <c:pt idx="960" formatCode="0.0%">
                  <c:v>3.1541756991710204E-2</c:v>
                </c:pt>
                <c:pt idx="961" formatCode="0.0%">
                  <c:v>3.1541756991710204E-2</c:v>
                </c:pt>
                <c:pt idx="962" formatCode="0.0%">
                  <c:v>3.1541756991710204E-2</c:v>
                </c:pt>
                <c:pt idx="963" formatCode="0.0%">
                  <c:v>3.6652625028958712E-2</c:v>
                </c:pt>
                <c:pt idx="964" formatCode="0.0%">
                  <c:v>4.5403035098524357E-2</c:v>
                </c:pt>
                <c:pt idx="965" formatCode="0.0%">
                  <c:v>5.2140072072648425E-2</c:v>
                </c:pt>
                <c:pt idx="966" formatCode="0.0%">
                  <c:v>5.2217507371292694E-2</c:v>
                </c:pt>
                <c:pt idx="967" formatCode="0.0%">
                  <c:v>4.3621967899015741E-2</c:v>
                </c:pt>
                <c:pt idx="968" formatCode="0.0%">
                  <c:v>4.3621967899015741E-2</c:v>
                </c:pt>
                <c:pt idx="969" formatCode="0.0%">
                  <c:v>4.3621967899015741E-2</c:v>
                </c:pt>
                <c:pt idx="970" formatCode="0.0%">
                  <c:v>5.3456527480290672E-2</c:v>
                </c:pt>
                <c:pt idx="971" formatCode="0.0%">
                  <c:v>6.3987977084020861E-2</c:v>
                </c:pt>
                <c:pt idx="972" formatCode="0.0%">
                  <c:v>6.3755671188087601E-2</c:v>
                </c:pt>
                <c:pt idx="973" formatCode="0.0%">
                  <c:v>7.3314517948251709E-2</c:v>
                </c:pt>
                <c:pt idx="974" formatCode="0.0%">
                  <c:v>8.0791879535352815E-2</c:v>
                </c:pt>
                <c:pt idx="975" formatCode="0.0%">
                  <c:v>8.0791879535352815E-2</c:v>
                </c:pt>
                <c:pt idx="976" formatCode="0.0%">
                  <c:v>8.0791879535352815E-2</c:v>
                </c:pt>
                <c:pt idx="977" formatCode="0.0%">
                  <c:v>8.3192429124016198E-2</c:v>
                </c:pt>
                <c:pt idx="978" formatCode="0.0%">
                  <c:v>8.5747849309968413E-2</c:v>
                </c:pt>
                <c:pt idx="979" formatCode="0.0%">
                  <c:v>8.4586292164958651E-2</c:v>
                </c:pt>
                <c:pt idx="980" formatCode="0.0%">
                  <c:v>7.5681011498104314E-2</c:v>
                </c:pt>
                <c:pt idx="981" formatCode="0.0%">
                  <c:v>7.1112218216710807E-2</c:v>
                </c:pt>
                <c:pt idx="982" formatCode="0.0%">
                  <c:v>7.1112218216710807E-2</c:v>
                </c:pt>
                <c:pt idx="983" formatCode="0.0%">
                  <c:v>7.1112218216710807E-2</c:v>
                </c:pt>
                <c:pt idx="984" formatCode="0.0%">
                  <c:v>7.2428645959009122E-2</c:v>
                </c:pt>
                <c:pt idx="985" formatCode="0.0%">
                  <c:v>7.0957347619422115E-2</c:v>
                </c:pt>
                <c:pt idx="986" formatCode="0.0%">
                  <c:v>6.5536738387596216E-2</c:v>
                </c:pt>
                <c:pt idx="987" formatCode="0.0%">
                  <c:v>7.4751760249027938E-2</c:v>
                </c:pt>
                <c:pt idx="988" formatCode="0.0%">
                  <c:v>7.0957347619422115E-2</c:v>
                </c:pt>
                <c:pt idx="989" formatCode="0.0%">
                  <c:v>7.0957347619422115E-2</c:v>
                </c:pt>
                <c:pt idx="990" formatCode="0.0%">
                  <c:v>7.0957347619422115E-2</c:v>
                </c:pt>
                <c:pt idx="991" formatCode="0.0%">
                  <c:v>6.0967917440858346E-2</c:v>
                </c:pt>
                <c:pt idx="992" formatCode="0.0%">
                  <c:v>4.6642027542178111E-2</c:v>
                </c:pt>
                <c:pt idx="993" formatCode="0.0%">
                  <c:v>4.9816957782629318E-2</c:v>
                </c:pt>
                <c:pt idx="994" formatCode="0.0%">
                  <c:v>3.4484381336228297E-2</c:v>
                </c:pt>
                <c:pt idx="995" formatCode="0.0%">
                  <c:v>3.5336197286660535E-2</c:v>
                </c:pt>
                <c:pt idx="996" formatCode="0.0%">
                  <c:v>3.5336197286660535E-2</c:v>
                </c:pt>
                <c:pt idx="997" formatCode="0.0%">
                  <c:v>3.5336197286660535E-2</c:v>
                </c:pt>
                <c:pt idx="998" formatCode="0.0%">
                  <c:v>3.5878244377171027E-2</c:v>
                </c:pt>
                <c:pt idx="999" formatCode="0.0%">
                  <c:v>2.4340108225720202E-2</c:v>
                </c:pt>
                <c:pt idx="1000" formatCode="0.0%">
                  <c:v>2.6818093113027998E-2</c:v>
                </c:pt>
                <c:pt idx="1001" formatCode="0.0%">
                  <c:v>2.6663222515739306E-2</c:v>
                </c:pt>
                <c:pt idx="1002" formatCode="0.0%">
                  <c:v>4.1221418310352503E-2</c:v>
                </c:pt>
                <c:pt idx="1003" formatCode="0.0%">
                  <c:v>3.3521848677981157E-2</c:v>
                </c:pt>
                <c:pt idx="1004" formatCode="0.0%">
                  <c:v>3.3521848677981157E-2</c:v>
                </c:pt>
                <c:pt idx="1005" formatCode="0.0%">
                  <c:v>4.0989112414419535E-2</c:v>
                </c:pt>
                <c:pt idx="1006" formatCode="0.0%">
                  <c:v>3.2471008240786858E-2</c:v>
                </c:pt>
                <c:pt idx="1007" formatCode="0.0%">
                  <c:v>2.9528411561612983E-2</c:v>
                </c:pt>
                <c:pt idx="1008" formatCode="0.0%">
                  <c:v>2.8908901507113994E-2</c:v>
                </c:pt>
                <c:pt idx="1009" formatCode="0.0%">
                  <c:v>3.4871557829450096E-2</c:v>
                </c:pt>
                <c:pt idx="1010" formatCode="0.0%">
                  <c:v>3.4871557829450096E-2</c:v>
                </c:pt>
                <c:pt idx="1011" formatCode="0.0%">
                  <c:v>3.4871557829450096E-2</c:v>
                </c:pt>
                <c:pt idx="1012" formatCode="0.0%">
                  <c:v>3.5491067883949227E-2</c:v>
                </c:pt>
                <c:pt idx="1013" formatCode="0.0%">
                  <c:v>5.2837017425791687E-2</c:v>
                </c:pt>
                <c:pt idx="1014" formatCode="0.0%">
                  <c:v>5.0901079628994525E-2</c:v>
                </c:pt>
                <c:pt idx="1015" formatCode="0.0%">
                  <c:v>6.4375181242586732E-2</c:v>
                </c:pt>
                <c:pt idx="1016" formatCode="0.0%">
                  <c:v>5.7792987200407285E-2</c:v>
                </c:pt>
                <c:pt idx="1017" formatCode="0.0%">
                  <c:v>5.7792987200407285E-2</c:v>
                </c:pt>
                <c:pt idx="1018" formatCode="0.0%">
                  <c:v>5.7792987200407285E-2</c:v>
                </c:pt>
                <c:pt idx="1019" formatCode="0.0%">
                  <c:v>5.0126698977206841E-2</c:v>
                </c:pt>
                <c:pt idx="1020" formatCode="0.0%">
                  <c:v>4.8655400637619833E-2</c:v>
                </c:pt>
                <c:pt idx="1021" formatCode="0.0%">
                  <c:v>4.3234791405793942E-2</c:v>
                </c:pt>
                <c:pt idx="1022" formatCode="0.0%">
                  <c:v>3.3942334245718089E-2</c:v>
                </c:pt>
                <c:pt idx="1023" formatCode="0.0%">
                  <c:v>1.2492203214347767E-2</c:v>
                </c:pt>
                <c:pt idx="1024" formatCode="0.0%">
                  <c:v>1.2492203214347767E-2</c:v>
                </c:pt>
                <c:pt idx="1025" formatCode="0.0%">
                  <c:v>1.2492203214347767E-2</c:v>
                </c:pt>
                <c:pt idx="1026" formatCode="0.0%">
                  <c:v>6.9941586838777429E-3</c:v>
                </c:pt>
                <c:pt idx="1027" formatCode="0.0%">
                  <c:v>2.5811406565307209E-2</c:v>
                </c:pt>
                <c:pt idx="1028" formatCode="0.0%">
                  <c:v>8.6977629193978594E-3</c:v>
                </c:pt>
                <c:pt idx="1029" formatCode="0.0%">
                  <c:v>-8.3384177625231357E-3</c:v>
                </c:pt>
                <c:pt idx="1030" formatCode="0.0%">
                  <c:v>-1.6237011881656684E-2</c:v>
                </c:pt>
                <c:pt idx="1031" formatCode="0.0%">
                  <c:v>-1.6237011881656684E-2</c:v>
                </c:pt>
                <c:pt idx="1032" formatCode="0.0%">
                  <c:v>-1.6237011881656684E-2</c:v>
                </c:pt>
                <c:pt idx="1033" formatCode="0.0%">
                  <c:v>-1.3836462292993446E-2</c:v>
                </c:pt>
                <c:pt idx="1034" formatCode="0.0%">
                  <c:v>2.3765637351711179E-3</c:v>
                </c:pt>
                <c:pt idx="1035" formatCode="0.0%">
                  <c:v>3.7417931447822641E-3</c:v>
                </c:pt>
                <c:pt idx="1036" formatCode="0.0%">
                  <c:v>1.4737882205722457E-2</c:v>
                </c:pt>
                <c:pt idx="1037" formatCode="0.0%">
                  <c:v>1.4815317504366874E-2</c:v>
                </c:pt>
                <c:pt idx="1038" formatCode="0.0%">
                  <c:v>1.4815317504366874E-2</c:v>
                </c:pt>
                <c:pt idx="1039" formatCode="0.0%">
                  <c:v>1.4815317504366874E-2</c:v>
                </c:pt>
                <c:pt idx="1040" formatCode="0.0%">
                  <c:v>1.729330239167453E-2</c:v>
                </c:pt>
                <c:pt idx="1041" formatCode="0.0%">
                  <c:v>2.7747344362104513E-2</c:v>
                </c:pt>
                <c:pt idx="1042" formatCode="0.0%">
                  <c:v>3.0457635145345135E-2</c:v>
                </c:pt>
                <c:pt idx="1043" formatCode="0.0%">
                  <c:v>4.0137296463987296E-2</c:v>
                </c:pt>
                <c:pt idx="1044" formatCode="0.0%">
                  <c:v>4.0834241817130842E-2</c:v>
                </c:pt>
                <c:pt idx="1045" formatCode="0.0%">
                  <c:v>4.0834241817130842E-2</c:v>
                </c:pt>
                <c:pt idx="1046" formatCode="0.0%">
                  <c:v>4.0834241817130842E-2</c:v>
                </c:pt>
                <c:pt idx="1047" formatCode="0.0%">
                  <c:v>5.0978514927638656E-2</c:v>
                </c:pt>
                <c:pt idx="1048" formatCode="0.0%">
                  <c:v>6.3600800590799048E-2</c:v>
                </c:pt>
                <c:pt idx="1049" formatCode="0.0%">
                  <c:v>7.0957347619422115E-2</c:v>
                </c:pt>
                <c:pt idx="1050" formatCode="0.0%">
                  <c:v>6.6853166129894531E-2</c:v>
                </c:pt>
                <c:pt idx="1051" formatCode="0.0%">
                  <c:v>6.5536738387596216E-2</c:v>
                </c:pt>
                <c:pt idx="1052" formatCode="0.0%">
                  <c:v>6.5536738387596216E-2</c:v>
                </c:pt>
                <c:pt idx="1053" formatCode="0.0%">
                  <c:v>6.5536738387596216E-2</c:v>
                </c:pt>
                <c:pt idx="1054" formatCode="0.0%">
                  <c:v>6.7550083817693715E-2</c:v>
                </c:pt>
                <c:pt idx="1055" formatCode="0.0%">
                  <c:v>6.6620860233961562E-2</c:v>
                </c:pt>
                <c:pt idx="1056" formatCode="0.0%">
                  <c:v>8.3811911513170967E-2</c:v>
                </c:pt>
                <c:pt idx="1057" formatCode="0.0%">
                  <c:v>7.9397988829066152E-2</c:v>
                </c:pt>
                <c:pt idx="1058" formatCode="0.0%">
                  <c:v>7.3203026610796793E-2</c:v>
                </c:pt>
                <c:pt idx="1059" formatCode="0.0%">
                  <c:v>7.3203026610796793E-2</c:v>
                </c:pt>
                <c:pt idx="1060" formatCode="0.0%">
                  <c:v>7.3203026610796793E-2</c:v>
                </c:pt>
                <c:pt idx="1061" formatCode="0.0%">
                  <c:v>7.5216372040894014E-2</c:v>
                </c:pt>
                <c:pt idx="1062" formatCode="0.0%">
                  <c:v>6.8556770365414368E-2</c:v>
                </c:pt>
                <c:pt idx="1063" formatCode="0.0%">
                  <c:v>7.5758446796748868E-2</c:v>
                </c:pt>
                <c:pt idx="1064" formatCode="0.0%">
                  <c:v>7.7780340818229099E-2</c:v>
                </c:pt>
                <c:pt idx="1065" formatCode="0.0%">
                  <c:v>8.3502170318593583E-2</c:v>
                </c:pt>
                <c:pt idx="1066" formatCode="0.0%">
                  <c:v>8.3502170318593583E-2</c:v>
                </c:pt>
                <c:pt idx="1067" formatCode="0.0%">
                  <c:v>8.3502170318593583E-2</c:v>
                </c:pt>
                <c:pt idx="1068" formatCode="0.0%">
                  <c:v>7.8623635842622691E-2</c:v>
                </c:pt>
                <c:pt idx="1069" formatCode="0.0%">
                  <c:v>8.3347299721304891E-2</c:v>
                </c:pt>
                <c:pt idx="1070" formatCode="0.0%">
                  <c:v>8.9697160202207152E-2</c:v>
                </c:pt>
                <c:pt idx="1071" formatCode="0.0%">
                  <c:v>9.2872090442658359E-2</c:v>
                </c:pt>
                <c:pt idx="1072" formatCode="0.0%">
                  <c:v>9.7673189619984987E-2</c:v>
                </c:pt>
                <c:pt idx="1073" formatCode="0.0%">
                  <c:v>9.7673189619984987E-2</c:v>
                </c:pt>
                <c:pt idx="1074" formatCode="0.0%">
                  <c:v>9.7673189619984987E-2</c:v>
                </c:pt>
                <c:pt idx="1075" formatCode="0.0%">
                  <c:v>0.10309379885181073</c:v>
                </c:pt>
                <c:pt idx="1076" formatCode="0.0%">
                  <c:v>0.10495230134996376</c:v>
                </c:pt>
                <c:pt idx="1077" formatCode="0.0%">
                  <c:v>0.10905645517414712</c:v>
                </c:pt>
                <c:pt idx="1078" formatCode="0.0%">
                  <c:v>0.11091495767229986</c:v>
                </c:pt>
                <c:pt idx="1079" formatCode="0.0%">
                  <c:v>0.11850381059685616</c:v>
                </c:pt>
                <c:pt idx="1080" formatCode="0.0%">
                  <c:v>0.11850381059685616</c:v>
                </c:pt>
                <c:pt idx="1081" formatCode="0.0%">
                  <c:v>0.11850381059685616</c:v>
                </c:pt>
                <c:pt idx="1082" formatCode="0.0%">
                  <c:v>0.11811663410363436</c:v>
                </c:pt>
                <c:pt idx="1083" formatCode="0.0%">
                  <c:v>0.12043974839365347</c:v>
                </c:pt>
                <c:pt idx="1084" formatCode="0.0%">
                  <c:v>0.12632496941734517</c:v>
                </c:pt>
                <c:pt idx="1085" formatCode="0.0%">
                  <c:v>0.11966536774186551</c:v>
                </c:pt>
                <c:pt idx="1086" formatCode="0.0%">
                  <c:v>0.11594839041090395</c:v>
                </c:pt>
                <c:pt idx="1087" formatCode="0.0%">
                  <c:v>0.11594839041090395</c:v>
                </c:pt>
                <c:pt idx="1088" formatCode="0.0%">
                  <c:v>0.11594839041090395</c:v>
                </c:pt>
                <c:pt idx="1089" formatCode="0.0%">
                  <c:v>0.11594839041090395</c:v>
                </c:pt>
                <c:pt idx="1090" formatCode="0.0%">
                  <c:v>0.11594839041090395</c:v>
                </c:pt>
                <c:pt idx="1091" formatCode="0.0%">
                  <c:v>0.11199907951866521</c:v>
                </c:pt>
                <c:pt idx="1092" formatCode="0.0%">
                  <c:v>0.11633556690412576</c:v>
                </c:pt>
                <c:pt idx="1093" formatCode="0.0%">
                  <c:v>0.11579351981361526</c:v>
                </c:pt>
                <c:pt idx="1094" formatCode="0.0%">
                  <c:v>0.11579351981361526</c:v>
                </c:pt>
                <c:pt idx="1095" formatCode="0.0%">
                  <c:v>0.11551241225036947</c:v>
                </c:pt>
                <c:pt idx="1096" formatCode="0.0%">
                  <c:v>0.11551241225036947</c:v>
                </c:pt>
                <c:pt idx="1097" formatCode="0.0%">
                  <c:v>0.11037291058178937</c:v>
                </c:pt>
                <c:pt idx="1098" formatCode="0.0%">
                  <c:v>0.10046094336721438</c:v>
                </c:pt>
                <c:pt idx="1099" formatCode="0.0%">
                  <c:v>9.7518319022696295E-2</c:v>
                </c:pt>
                <c:pt idx="1100" formatCode="0.0%">
                  <c:v>9.3646443429101819E-2</c:v>
                </c:pt>
                <c:pt idx="1101" formatCode="0.0%">
                  <c:v>9.3646443429101819E-2</c:v>
                </c:pt>
                <c:pt idx="1102" formatCode="0.0%">
                  <c:v>9.3646443429101819E-2</c:v>
                </c:pt>
                <c:pt idx="1103" formatCode="0.0%">
                  <c:v>0.10123529635365784</c:v>
                </c:pt>
                <c:pt idx="1104" formatCode="0.0%">
                  <c:v>0.10921135343678003</c:v>
                </c:pt>
                <c:pt idx="1105" formatCode="0.0%">
                  <c:v>0.11254115427451979</c:v>
                </c:pt>
                <c:pt idx="1106" formatCode="0.0%">
                  <c:v>0.11556118625233779</c:v>
                </c:pt>
                <c:pt idx="1107" formatCode="0.0%">
                  <c:v>0.117187382854558</c:v>
                </c:pt>
                <c:pt idx="1108" formatCode="0.0%">
                  <c:v>0.117187382854558</c:v>
                </c:pt>
                <c:pt idx="1109" formatCode="0.0%">
                  <c:v>0.117187382854558</c:v>
                </c:pt>
                <c:pt idx="1110" formatCode="0.0%">
                  <c:v>0.11385758201681824</c:v>
                </c:pt>
                <c:pt idx="1111" formatCode="0.0%">
                  <c:v>0.11618069630683707</c:v>
                </c:pt>
                <c:pt idx="1112" formatCode="0.0%">
                  <c:v>0.10603642319632883</c:v>
                </c:pt>
                <c:pt idx="1113" formatCode="0.0%">
                  <c:v>0.11571608451497099</c:v>
                </c:pt>
                <c:pt idx="1114" formatCode="0.0%">
                  <c:v>0.12260799208638361</c:v>
                </c:pt>
                <c:pt idx="1115" formatCode="0.0%">
                  <c:v>0.12260799208638361</c:v>
                </c:pt>
                <c:pt idx="1116" formatCode="0.0%">
                  <c:v>0.12260799208638361</c:v>
                </c:pt>
                <c:pt idx="1117" formatCode="0.0%">
                  <c:v>0.1362369366319203</c:v>
                </c:pt>
                <c:pt idx="1118" formatCode="0.0%">
                  <c:v>0.14119293407188011</c:v>
                </c:pt>
                <c:pt idx="1119" formatCode="0.0%">
                  <c:v>0.1536603214724073</c:v>
                </c:pt>
                <c:pt idx="1120" formatCode="0.0%">
                  <c:v>0.15699012231014706</c:v>
                </c:pt>
                <c:pt idx="1121" formatCode="0.0%">
                  <c:v>0.15528651807462693</c:v>
                </c:pt>
                <c:pt idx="1122" formatCode="0.0%">
                  <c:v>0.15528651807462693</c:v>
                </c:pt>
                <c:pt idx="1123" formatCode="0.0%">
                  <c:v>0.15528651807462693</c:v>
                </c:pt>
                <c:pt idx="1124" formatCode="0.0%">
                  <c:v>0.1592358013015216</c:v>
                </c:pt>
                <c:pt idx="1125" formatCode="0.0%">
                  <c:v>0.16241073154197294</c:v>
                </c:pt>
                <c:pt idx="1126" formatCode="0.0%">
                  <c:v>0.16207155442107976</c:v>
                </c:pt>
                <c:pt idx="1127" formatCode="0.0%">
                  <c:v>0.15255348637838678</c:v>
                </c:pt>
                <c:pt idx="1128" formatCode="0.0%">
                  <c:v>0.16928233275068294</c:v>
                </c:pt>
                <c:pt idx="1129" formatCode="0.0%">
                  <c:v>0.16928233275068294</c:v>
                </c:pt>
                <c:pt idx="1130" formatCode="0.0%">
                  <c:v>0.16928233275068294</c:v>
                </c:pt>
                <c:pt idx="1131" formatCode="0.0%">
                  <c:v>0.17669982653275837</c:v>
                </c:pt>
                <c:pt idx="1132" formatCode="0.0%">
                  <c:v>0.18277585543596089</c:v>
                </c:pt>
                <c:pt idx="1133" formatCode="0.0%">
                  <c:v>0.19358647602883677</c:v>
                </c:pt>
                <c:pt idx="1134" formatCode="0.0%">
                  <c:v>0.20471273053462241</c:v>
                </c:pt>
                <c:pt idx="1135" formatCode="0.0%">
                  <c:v>0.20992075926098791</c:v>
                </c:pt>
                <c:pt idx="1136" formatCode="0.0%">
                  <c:v>0.20992075926098791</c:v>
                </c:pt>
                <c:pt idx="1137" formatCode="0.0%">
                  <c:v>0.20992075926098791</c:v>
                </c:pt>
                <c:pt idx="1138" formatCode="0.0%">
                  <c:v>0.21915318262397279</c:v>
                </c:pt>
                <c:pt idx="1139" formatCode="0.0%">
                  <c:v>0.20447599818360415</c:v>
                </c:pt>
                <c:pt idx="1140" formatCode="0.0%">
                  <c:v>0.20479163209651347</c:v>
                </c:pt>
                <c:pt idx="1141" formatCode="0.0%">
                  <c:v>0.20581746306247736</c:v>
                </c:pt>
                <c:pt idx="1142" formatCode="0.0%">
                  <c:v>0.21007859005011484</c:v>
                </c:pt>
                <c:pt idx="1143" formatCode="0.0%">
                  <c:v>0.21007859005011484</c:v>
                </c:pt>
                <c:pt idx="1144" formatCode="0.0%">
                  <c:v>0.21007859005011484</c:v>
                </c:pt>
                <c:pt idx="1145" formatCode="0.0%">
                  <c:v>0.21031532240113293</c:v>
                </c:pt>
                <c:pt idx="1146" formatCode="0.0%">
                  <c:v>0.19200827879894561</c:v>
                </c:pt>
                <c:pt idx="1147" formatCode="0.0%">
                  <c:v>0.18064531960748639</c:v>
                </c:pt>
                <c:pt idx="1148" formatCode="0.0%">
                  <c:v>0.20818475890731405</c:v>
                </c:pt>
                <c:pt idx="1149" formatCode="0.0%">
                  <c:v>0.21134112570175234</c:v>
                </c:pt>
                <c:pt idx="1150" formatCode="0.0%">
                  <c:v>0.21134112570175234</c:v>
                </c:pt>
                <c:pt idx="1151" formatCode="0.0%">
                  <c:v>0.21134112570175234</c:v>
                </c:pt>
                <c:pt idx="1152" formatCode="0.0%">
                  <c:v>0.20715892794135043</c:v>
                </c:pt>
                <c:pt idx="1153" formatCode="0.0%">
                  <c:v>0.2056596599386947</c:v>
                </c:pt>
                <c:pt idx="1154" formatCode="0.0%">
                  <c:v>0.19887343398243787</c:v>
                </c:pt>
                <c:pt idx="1155" formatCode="0.0%">
                  <c:v>0.20003418883246327</c:v>
                </c:pt>
                <c:pt idx="1156" formatCode="0.0%">
                  <c:v>0.20731675873047734</c:v>
                </c:pt>
                <c:pt idx="1157" formatCode="0.0%">
                  <c:v>0.20731675873047734</c:v>
                </c:pt>
                <c:pt idx="1158" formatCode="0.0%">
                  <c:v>0.20731675873047734</c:v>
                </c:pt>
                <c:pt idx="1159" formatCode="0.0%">
                  <c:v>0.20984185769909658</c:v>
                </c:pt>
                <c:pt idx="1160" formatCode="0.0%">
                  <c:v>0.18727371477461646</c:v>
                </c:pt>
                <c:pt idx="1161" formatCode="0.0%">
                  <c:v>0.1904300815690543</c:v>
                </c:pt>
                <c:pt idx="1162" formatCode="0.0%">
                  <c:v>0.20889492829502429</c:v>
                </c:pt>
                <c:pt idx="1163" formatCode="0.0%">
                  <c:v>0.21812735165800917</c:v>
                </c:pt>
                <c:pt idx="1164" formatCode="0.0%">
                  <c:v>0.21812735165800917</c:v>
                </c:pt>
                <c:pt idx="1165" formatCode="0.0%">
                  <c:v>0.21812735165800917</c:v>
                </c:pt>
                <c:pt idx="1166" formatCode="0.0%">
                  <c:v>0.19879450475520244</c:v>
                </c:pt>
                <c:pt idx="1167" formatCode="0.0%">
                  <c:v>0.21236695666771596</c:v>
                </c:pt>
                <c:pt idx="1168" formatCode="0.0%">
                  <c:v>0.20826366046920541</c:v>
                </c:pt>
                <c:pt idx="1169" formatCode="0.0%">
                  <c:v>0.21362951998469781</c:v>
                </c:pt>
                <c:pt idx="1170" formatCode="0.0%">
                  <c:v>0.20210870233876763</c:v>
                </c:pt>
                <c:pt idx="1171" formatCode="0.0%">
                  <c:v>0.20210870233876763</c:v>
                </c:pt>
                <c:pt idx="1172" formatCode="0.0%">
                  <c:v>0.20210870233876763</c:v>
                </c:pt>
                <c:pt idx="1173" formatCode="0.0%">
                  <c:v>0.2115778580527703</c:v>
                </c:pt>
                <c:pt idx="1174" formatCode="0.0%">
                  <c:v>0.20747456185425975</c:v>
                </c:pt>
                <c:pt idx="1175" formatCode="0.0%">
                  <c:v>0.21386625233571593</c:v>
                </c:pt>
                <c:pt idx="1176" formatCode="0.0%">
                  <c:v>0.23667112761121431</c:v>
                </c:pt>
                <c:pt idx="1177" formatCode="0.0%">
                  <c:v>0.23296236688750427</c:v>
                </c:pt>
                <c:pt idx="1178" formatCode="0.0%">
                  <c:v>0.23296236688750427</c:v>
                </c:pt>
                <c:pt idx="1179" formatCode="0.0%">
                  <c:v>0.23296236688750427</c:v>
                </c:pt>
                <c:pt idx="1180" formatCode="0.0%">
                  <c:v>0.22451904213946519</c:v>
                </c:pt>
                <c:pt idx="1181" formatCode="0.0%">
                  <c:v>0.2258605070183384</c:v>
                </c:pt>
                <c:pt idx="1182" formatCode="0.0%">
                  <c:v>0.22317757726059198</c:v>
                </c:pt>
                <c:pt idx="1183" formatCode="0.0%">
                  <c:v>0.22317757726059198</c:v>
                </c:pt>
                <c:pt idx="1184" formatCode="0.0%">
                  <c:v>0.22317757726059198</c:v>
                </c:pt>
                <c:pt idx="1185" formatCode="0.0%">
                  <c:v>0.22317757726059198</c:v>
                </c:pt>
                <c:pt idx="1186" formatCode="0.0%">
                  <c:v>0.22842978754177537</c:v>
                </c:pt>
                <c:pt idx="1187" formatCode="0.0%">
                  <c:v>0.22842978754177537</c:v>
                </c:pt>
                <c:pt idx="1188" formatCode="0.0%">
                  <c:v>0.21773281618320836</c:v>
                </c:pt>
                <c:pt idx="1189" formatCode="0.0%">
                  <c:v>0.22270411255855577</c:v>
                </c:pt>
                <c:pt idx="1190" formatCode="0.0%">
                  <c:v>0.22428230978844696</c:v>
                </c:pt>
                <c:pt idx="1191" formatCode="0.0%">
                  <c:v>0.2131560552826616</c:v>
                </c:pt>
                <c:pt idx="1192" formatCode="0.0%">
                  <c:v>0.2131560552826616</c:v>
                </c:pt>
                <c:pt idx="1193" formatCode="0.0%">
                  <c:v>0.2131560552826616</c:v>
                </c:pt>
                <c:pt idx="1194" formatCode="0.0%">
                  <c:v>0.2211259153286646</c:v>
                </c:pt>
                <c:pt idx="1195" formatCode="0.0%">
                  <c:v>0.21520771721458901</c:v>
                </c:pt>
                <c:pt idx="1196" formatCode="0.0%">
                  <c:v>0.22641287328226567</c:v>
                </c:pt>
                <c:pt idx="1197" formatCode="0.0%">
                  <c:v>0.22223064785651941</c:v>
                </c:pt>
                <c:pt idx="1198" formatCode="0.0%">
                  <c:v>0.22380884508641088</c:v>
                </c:pt>
                <c:pt idx="1199" formatCode="0.0%">
                  <c:v>0.22380884508641088</c:v>
                </c:pt>
                <c:pt idx="1200" formatCode="0.0%">
                  <c:v>0.22380884508641088</c:v>
                </c:pt>
                <c:pt idx="1201" formatCode="0.0%">
                  <c:v>0.22735977502099389</c:v>
                </c:pt>
                <c:pt idx="1202" formatCode="0.0%">
                  <c:v>0.20826366046920541</c:v>
                </c:pt>
                <c:pt idx="1203" formatCode="0.0%">
                  <c:v>0.20984185769909658</c:v>
                </c:pt>
                <c:pt idx="1204" formatCode="0.0%">
                  <c:v>0.20273999782993044</c:v>
                </c:pt>
                <c:pt idx="1205" formatCode="0.0%">
                  <c:v>0.17969839020341397</c:v>
                </c:pt>
                <c:pt idx="1206" formatCode="0.0%">
                  <c:v>0.17969839020341397</c:v>
                </c:pt>
                <c:pt idx="1207" formatCode="0.0%">
                  <c:v>0.17969839020341397</c:v>
                </c:pt>
                <c:pt idx="1208" formatCode="0.0%">
                  <c:v>0.18127658743330513</c:v>
                </c:pt>
                <c:pt idx="1209" formatCode="0.0%">
                  <c:v>0.19555920873352875</c:v>
                </c:pt>
                <c:pt idx="1210" formatCode="0.0%">
                  <c:v>0.20076726512523863</c:v>
                </c:pt>
                <c:pt idx="1211" formatCode="0.0%">
                  <c:v>0.18096095352039585</c:v>
                </c:pt>
                <c:pt idx="1212" formatCode="0.0%">
                  <c:v>0.21765391462131703</c:v>
                </c:pt>
                <c:pt idx="1213" formatCode="0.0%">
                  <c:v>0.21765391462131703</c:v>
                </c:pt>
                <c:pt idx="1214" formatCode="0.0%">
                  <c:v>0.21765391462131703</c:v>
                </c:pt>
                <c:pt idx="1215" formatCode="0.0%">
                  <c:v>0.2122880551058246</c:v>
                </c:pt>
                <c:pt idx="1216" formatCode="0.0%">
                  <c:v>0.19258670581718632</c:v>
                </c:pt>
                <c:pt idx="1217" formatCode="0.0%">
                  <c:v>0.19650613813760118</c:v>
                </c:pt>
                <c:pt idx="1218" formatCode="0.0%">
                  <c:v>0.19035118000716339</c:v>
                </c:pt>
                <c:pt idx="1219" formatCode="0.0%">
                  <c:v>0.20266106860269489</c:v>
                </c:pt>
                <c:pt idx="1220" formatCode="0.0%">
                  <c:v>0.20266106860269489</c:v>
                </c:pt>
                <c:pt idx="1221" formatCode="0.0%">
                  <c:v>0.20266106860269489</c:v>
                </c:pt>
                <c:pt idx="1222" formatCode="0.0%">
                  <c:v>0.21031532240113293</c:v>
                </c:pt>
                <c:pt idx="1223" formatCode="0.0%">
                  <c:v>0.22917470460190331</c:v>
                </c:pt>
                <c:pt idx="1224" formatCode="0.0%">
                  <c:v>0.22735977502099389</c:v>
                </c:pt>
                <c:pt idx="1225" formatCode="0.0%">
                  <c:v>0.22735977502099389</c:v>
                </c:pt>
                <c:pt idx="1226" formatCode="0.0%">
                  <c:v>0.23484120341370443</c:v>
                </c:pt>
                <c:pt idx="1227" formatCode="0.0%">
                  <c:v>0.23484120341370443</c:v>
                </c:pt>
                <c:pt idx="1228" formatCode="0.0%">
                  <c:v>0.23484120341370443</c:v>
                </c:pt>
                <c:pt idx="1229" formatCode="0.0%">
                  <c:v>0.22854343677608441</c:v>
                </c:pt>
                <c:pt idx="1230" formatCode="0.0%">
                  <c:v>0.23264673297459509</c:v>
                </c:pt>
                <c:pt idx="1231" formatCode="0.0%">
                  <c:v>0.24590355097419916</c:v>
                </c:pt>
                <c:pt idx="1232" formatCode="0.0%">
                  <c:v>0.25253194614132907</c:v>
                </c:pt>
                <c:pt idx="1233" formatCode="0.0%">
                  <c:v>0.24977011482169162</c:v>
                </c:pt>
                <c:pt idx="1234" formatCode="0.0%">
                  <c:v>0.24977011482169162</c:v>
                </c:pt>
                <c:pt idx="1235" formatCode="0.0%">
                  <c:v>0.24977011482169162</c:v>
                </c:pt>
                <c:pt idx="1236" formatCode="0.0%">
                  <c:v>0.24977011482169162</c:v>
                </c:pt>
                <c:pt idx="1237" formatCode="0.0%">
                  <c:v>0.25158501673725664</c:v>
                </c:pt>
                <c:pt idx="1238" formatCode="0.0%">
                  <c:v>0.26136980636416896</c:v>
                </c:pt>
                <c:pt idx="1239" formatCode="0.0%">
                  <c:v>0.26089636932747723</c:v>
                </c:pt>
                <c:pt idx="1240" formatCode="0.0%">
                  <c:v>0.25268974926511162</c:v>
                </c:pt>
                <c:pt idx="1241" formatCode="0.0%">
                  <c:v>0.25268974926511162</c:v>
                </c:pt>
                <c:pt idx="1242" formatCode="0.0%">
                  <c:v>0.25268974926511162</c:v>
                </c:pt>
                <c:pt idx="1243" formatCode="0.0%">
                  <c:v>0.25442577728412985</c:v>
                </c:pt>
                <c:pt idx="1244" formatCode="0.0%">
                  <c:v>0.24882318541761933</c:v>
                </c:pt>
                <c:pt idx="1245" formatCode="0.0%">
                  <c:v>0.24109005772263431</c:v>
                </c:pt>
                <c:pt idx="1246" formatCode="0.0%">
                  <c:v>0.22625504249313891</c:v>
                </c:pt>
                <c:pt idx="1247" formatCode="0.0%">
                  <c:v>0.22386251585431707</c:v>
                </c:pt>
                <c:pt idx="1248" formatCode="0.0%">
                  <c:v>0.22386251585431707</c:v>
                </c:pt>
                <c:pt idx="1249" formatCode="0.0%">
                  <c:v>0.22386251585431707</c:v>
                </c:pt>
                <c:pt idx="1250" formatCode="0.0%">
                  <c:v>0.22238847864564648</c:v>
                </c:pt>
                <c:pt idx="1251" formatCode="0.0%">
                  <c:v>0.22507140840339276</c:v>
                </c:pt>
                <c:pt idx="1252" formatCode="0.0%">
                  <c:v>0.22507140840339276</c:v>
                </c:pt>
                <c:pt idx="1253" formatCode="0.0%">
                  <c:v>0.25150611517536531</c:v>
                </c:pt>
                <c:pt idx="1254" formatCode="0.0%">
                  <c:v>0.26523639787700576</c:v>
                </c:pt>
                <c:pt idx="1255" formatCode="0.0%">
                  <c:v>0.26523639787700576</c:v>
                </c:pt>
                <c:pt idx="1256" formatCode="0.0%">
                  <c:v>0.26523639787700576</c:v>
                </c:pt>
                <c:pt idx="1257" formatCode="0.0%">
                  <c:v>0.26381600377089698</c:v>
                </c:pt>
                <c:pt idx="1258" formatCode="0.0%">
                  <c:v>0.26933969407551644</c:v>
                </c:pt>
                <c:pt idx="1259" formatCode="0.0%">
                  <c:v>0.27746738491064632</c:v>
                </c:pt>
                <c:pt idx="1260" formatCode="0.0%">
                  <c:v>0.27936121605344683</c:v>
                </c:pt>
                <c:pt idx="1261" formatCode="0.0%">
                  <c:v>0.28204411814584884</c:v>
                </c:pt>
                <c:pt idx="1262" formatCode="0.0%">
                  <c:v>0.28204411814584884</c:v>
                </c:pt>
                <c:pt idx="1263" formatCode="0.0%">
                  <c:v>0.28204411814584884</c:v>
                </c:pt>
                <c:pt idx="1264" formatCode="0.0%">
                  <c:v>0.27833538508748307</c:v>
                </c:pt>
                <c:pt idx="1265" formatCode="0.0%">
                  <c:v>0.28788344236337737</c:v>
                </c:pt>
                <c:pt idx="1266" formatCode="0.0%">
                  <c:v>0.28512161104374001</c:v>
                </c:pt>
                <c:pt idx="1267" formatCode="0.0%">
                  <c:v>0.28504268181650444</c:v>
                </c:pt>
                <c:pt idx="1268" formatCode="0.0%">
                  <c:v>0.28567397730766741</c:v>
                </c:pt>
                <c:pt idx="1269" formatCode="0.0%">
                  <c:v>0.28567397730766741</c:v>
                </c:pt>
                <c:pt idx="1270" formatCode="0.0%">
                  <c:v>0.28567397730766741</c:v>
                </c:pt>
                <c:pt idx="1271" formatCode="0.0%">
                  <c:v>0.28243868128599386</c:v>
                </c:pt>
                <c:pt idx="1272" formatCode="0.0%">
                  <c:v>0.28512161104374001</c:v>
                </c:pt>
                <c:pt idx="1273" formatCode="0.0%">
                  <c:v>0.2891460056803592</c:v>
                </c:pt>
                <c:pt idx="1274" formatCode="0.0%">
                  <c:v>0.2892249072422507</c:v>
                </c:pt>
                <c:pt idx="1275" formatCode="0.0%">
                  <c:v>0.29143437229796038</c:v>
                </c:pt>
                <c:pt idx="1276" formatCode="0.0%">
                  <c:v>0.29143437229796038</c:v>
                </c:pt>
                <c:pt idx="1277" formatCode="0.0%">
                  <c:v>0.2764375978004503</c:v>
                </c:pt>
                <c:pt idx="1278" formatCode="0.0%">
                  <c:v>0.27320625792300901</c:v>
                </c:pt>
                <c:pt idx="1279" formatCode="0.0%">
                  <c:v>0.27770408959632009</c:v>
                </c:pt>
                <c:pt idx="1280" formatCode="0.0%">
                  <c:v>0.28480597713083056</c:v>
                </c:pt>
                <c:pt idx="1281" formatCode="0.0%">
                  <c:v>0.28591070965868537</c:v>
                </c:pt>
                <c:pt idx="1282" formatCode="0.0%">
                  <c:v>0.29372273891556178</c:v>
                </c:pt>
                <c:pt idx="1283" formatCode="0.0%">
                  <c:v>0.29372273891556178</c:v>
                </c:pt>
                <c:pt idx="1284" formatCode="0.0%">
                  <c:v>0.29372273891556178</c:v>
                </c:pt>
                <c:pt idx="1285" formatCode="0.0%">
                  <c:v>0.29601113319850725</c:v>
                </c:pt>
                <c:pt idx="1286" formatCode="0.0%">
                  <c:v>0.29530093614545277</c:v>
                </c:pt>
                <c:pt idx="1287" formatCode="0.0%">
                  <c:v>0.29490640067065244</c:v>
                </c:pt>
                <c:pt idx="1288" formatCode="0.0%">
                  <c:v>0.29072417524490618</c:v>
                </c:pt>
                <c:pt idx="1289" formatCode="0.0%">
                  <c:v>0.29837842904334394</c:v>
                </c:pt>
                <c:pt idx="1290" formatCode="0.0%">
                  <c:v>0.29837842904334394</c:v>
                </c:pt>
                <c:pt idx="1291" formatCode="0.0%">
                  <c:v>0.29837842904334394</c:v>
                </c:pt>
                <c:pt idx="1292" formatCode="0.0%">
                  <c:v>0.30137699271399981</c:v>
                </c:pt>
                <c:pt idx="1293" formatCode="0.0%">
                  <c:v>0.30477009185945603</c:v>
                </c:pt>
                <c:pt idx="1294" formatCode="0.0%">
                  <c:v>0.28030811779217485</c:v>
                </c:pt>
                <c:pt idx="1295" formatCode="0.0%">
                  <c:v>0.27147025756933502</c:v>
                </c:pt>
                <c:pt idx="1296" formatCode="0.0%">
                  <c:v>0.26192217262809664</c:v>
                </c:pt>
                <c:pt idx="1297" formatCode="0.0%">
                  <c:v>0.26192217262809664</c:v>
                </c:pt>
                <c:pt idx="1298" formatCode="0.0%">
                  <c:v>0.26192217262809664</c:v>
                </c:pt>
                <c:pt idx="1299" formatCode="0.0%">
                  <c:v>0.2748633567147914</c:v>
                </c:pt>
                <c:pt idx="1300" formatCode="0.0%">
                  <c:v>0.27896665291330192</c:v>
                </c:pt>
                <c:pt idx="1301" formatCode="0.0%">
                  <c:v>0.25253194614132907</c:v>
                </c:pt>
                <c:pt idx="1302" formatCode="0.0%">
                  <c:v>0.23193653592154065</c:v>
                </c:pt>
                <c:pt idx="1303" formatCode="0.0%">
                  <c:v>0.23446163489016</c:v>
                </c:pt>
                <c:pt idx="1304" formatCode="0.0%">
                  <c:v>0.23446163489016</c:v>
                </c:pt>
                <c:pt idx="1305" formatCode="0.0%">
                  <c:v>0.23446163489016</c:v>
                </c:pt>
                <c:pt idx="1306" formatCode="0.0%">
                  <c:v>0.24961228403256469</c:v>
                </c:pt>
                <c:pt idx="1307" formatCode="0.0%">
                  <c:v>0.24921774855776405</c:v>
                </c:pt>
                <c:pt idx="1308" formatCode="0.0%">
                  <c:v>0.27250079164382668</c:v>
                </c:pt>
                <c:pt idx="1309" formatCode="0.0%">
                  <c:v>0.2664989335286434</c:v>
                </c:pt>
                <c:pt idx="1310" formatCode="0.0%">
                  <c:v>0.20147743451294858</c:v>
                </c:pt>
                <c:pt idx="1311" formatCode="0.0%">
                  <c:v>0.20147743451294858</c:v>
                </c:pt>
                <c:pt idx="1312" formatCode="0.0%">
                  <c:v>0.20147743451294858</c:v>
                </c:pt>
                <c:pt idx="1313" formatCode="0.0%">
                  <c:v>0.16344300853315416</c:v>
                </c:pt>
                <c:pt idx="1314" formatCode="0.0%">
                  <c:v>0.19216610958807251</c:v>
                </c:pt>
                <c:pt idx="1315" formatCode="0.0%">
                  <c:v>0.20905275908415105</c:v>
                </c:pt>
                <c:pt idx="1316" formatCode="0.0%">
                  <c:v>0.20779019576716934</c:v>
                </c:pt>
                <c:pt idx="1317" formatCode="0.0%">
                  <c:v>0.21015749161200589</c:v>
                </c:pt>
                <c:pt idx="1318" formatCode="0.0%">
                  <c:v>0.21015749161200589</c:v>
                </c:pt>
                <c:pt idx="1319" formatCode="0.0%">
                  <c:v>0.21015749161200589</c:v>
                </c:pt>
                <c:pt idx="1320" formatCode="0.0%">
                  <c:v>0.22294084490957403</c:v>
                </c:pt>
                <c:pt idx="1321" formatCode="0.0%">
                  <c:v>0.23027943712975826</c:v>
                </c:pt>
                <c:pt idx="1322" formatCode="0.0%">
                  <c:v>0.23146307121950443</c:v>
                </c:pt>
                <c:pt idx="1323" formatCode="0.0%">
                  <c:v>0.26310583438318713</c:v>
                </c:pt>
                <c:pt idx="1324" formatCode="0.0%">
                  <c:v>0.26752476449460699</c:v>
                </c:pt>
                <c:pt idx="1325" formatCode="0.0%">
                  <c:v>0.26752476449460699</c:v>
                </c:pt>
                <c:pt idx="1326" formatCode="0.0%">
                  <c:v>0.26752476449460699</c:v>
                </c:pt>
                <c:pt idx="1327" formatCode="0.0%">
                  <c:v>0.26200110185533204</c:v>
                </c:pt>
                <c:pt idx="1328" formatCode="0.0%">
                  <c:v>0.26334256673420525</c:v>
                </c:pt>
                <c:pt idx="1329" formatCode="0.0%">
                  <c:v>0.2712335252183169</c:v>
                </c:pt>
                <c:pt idx="1330" formatCode="0.0%">
                  <c:v>0.26760366605649821</c:v>
                </c:pt>
                <c:pt idx="1331" formatCode="0.0%">
                  <c:v>0.26200110185533204</c:v>
                </c:pt>
                <c:pt idx="1332" formatCode="0.0%">
                  <c:v>0.26200110185533204</c:v>
                </c:pt>
                <c:pt idx="1333" formatCode="0.0%">
                  <c:v>0.26200110185533204</c:v>
                </c:pt>
                <c:pt idx="1334" formatCode="0.0%">
                  <c:v>0.25174284752638343</c:v>
                </c:pt>
                <c:pt idx="1335" formatCode="0.0%">
                  <c:v>0.25702977781464015</c:v>
                </c:pt>
                <c:pt idx="1336" formatCode="0.0%">
                  <c:v>0.2593181720975859</c:v>
                </c:pt>
                <c:pt idx="1337" formatCode="0.0%">
                  <c:v>0.27510008906580952</c:v>
                </c:pt>
                <c:pt idx="1338" formatCode="0.0%">
                  <c:v>0.27352189183591818</c:v>
                </c:pt>
                <c:pt idx="1339" formatCode="0.0%">
                  <c:v>0.27778301882355549</c:v>
                </c:pt>
                <c:pt idx="1340" formatCode="0.0%">
                  <c:v>0.27778301882355549</c:v>
                </c:pt>
                <c:pt idx="1341" formatCode="0.0%">
                  <c:v>0.26713022901980649</c:v>
                </c:pt>
                <c:pt idx="1342" formatCode="0.0%">
                  <c:v>0.25876580583365838</c:v>
                </c:pt>
                <c:pt idx="1343" formatCode="0.0%">
                  <c:v>0.24456208609532609</c:v>
                </c:pt>
                <c:pt idx="1344" formatCode="0.0%">
                  <c:v>0.24621918488710848</c:v>
                </c:pt>
                <c:pt idx="1345" formatCode="0.0%">
                  <c:v>0.21923208418586398</c:v>
                </c:pt>
                <c:pt idx="1346" formatCode="0.0%">
                  <c:v>0.21923208418586398</c:v>
                </c:pt>
                <c:pt idx="1347" formatCode="0.0%">
                  <c:v>0.21923208418586398</c:v>
                </c:pt>
                <c:pt idx="1348" formatCode="0.0%">
                  <c:v>0.22838560598695778</c:v>
                </c:pt>
                <c:pt idx="1349" formatCode="0.0%">
                  <c:v>0.23817039561387005</c:v>
                </c:pt>
                <c:pt idx="1350" formatCode="0.0%">
                  <c:v>0.23296236688750427</c:v>
                </c:pt>
                <c:pt idx="1351" formatCode="0.0%">
                  <c:v>0.26862949702246214</c:v>
                </c:pt>
                <c:pt idx="1352" formatCode="0.0%">
                  <c:v>0.28015028700304812</c:v>
                </c:pt>
                <c:pt idx="1353" formatCode="0.0%">
                  <c:v>0.28015028700304812</c:v>
                </c:pt>
                <c:pt idx="1354" formatCode="0.0%">
                  <c:v>0.28015028700304812</c:v>
                </c:pt>
                <c:pt idx="1355" formatCode="0.0%">
                  <c:v>0.26760366605649821</c:v>
                </c:pt>
                <c:pt idx="1356" formatCode="0.0%">
                  <c:v>0.27959792073912054</c:v>
                </c:pt>
                <c:pt idx="1357" formatCode="0.0%">
                  <c:v>0.27154915913122624</c:v>
                </c:pt>
                <c:pt idx="1358" formatCode="0.0%">
                  <c:v>0.29285473873872492</c:v>
                </c:pt>
                <c:pt idx="1359" formatCode="0.0%">
                  <c:v>0.27833538508748307</c:v>
                </c:pt>
                <c:pt idx="1360" formatCode="0.0%">
                  <c:v>0.27833538508748307</c:v>
                </c:pt>
                <c:pt idx="1361" formatCode="0.0%">
                  <c:v>0.27833538508748307</c:v>
                </c:pt>
                <c:pt idx="1362" formatCode="0.0%">
                  <c:v>0.27936121605344683</c:v>
                </c:pt>
                <c:pt idx="1363" formatCode="0.0%">
                  <c:v>0.27147025756933502</c:v>
                </c:pt>
                <c:pt idx="1364" formatCode="0.0%">
                  <c:v>0.28109721640712054</c:v>
                </c:pt>
                <c:pt idx="1365" formatCode="0.0%">
                  <c:v>0.28867254097832301</c:v>
                </c:pt>
                <c:pt idx="1366" formatCode="0.0%">
                  <c:v>0.28725217453755847</c:v>
                </c:pt>
                <c:pt idx="1367" formatCode="0.0%">
                  <c:v>0.28725217453755847</c:v>
                </c:pt>
                <c:pt idx="1368" formatCode="0.0%">
                  <c:v>0.28725217453755847</c:v>
                </c:pt>
                <c:pt idx="1369" formatCode="0.0%">
                  <c:v>0.27581028611886382</c:v>
                </c:pt>
                <c:pt idx="1370" formatCode="0.0%">
                  <c:v>0.27872992056228396</c:v>
                </c:pt>
                <c:pt idx="1371" formatCode="0.0%">
                  <c:v>0.2772306525596282</c:v>
                </c:pt>
                <c:pt idx="1372" formatCode="0.0%">
                  <c:v>0.27920338526432004</c:v>
                </c:pt>
                <c:pt idx="1373" formatCode="0.0%">
                  <c:v>0.2901718089809785</c:v>
                </c:pt>
                <c:pt idx="1374" formatCode="0.0%">
                  <c:v>0.2901718089809785</c:v>
                </c:pt>
                <c:pt idx="1375" formatCode="0.0%">
                  <c:v>0.2901718089809785</c:v>
                </c:pt>
                <c:pt idx="1376" formatCode="0.0%">
                  <c:v>0.29459076675774271</c:v>
                </c:pt>
                <c:pt idx="1377" formatCode="0.0%">
                  <c:v>0.29751040120116301</c:v>
                </c:pt>
                <c:pt idx="1378" formatCode="0.0%">
                  <c:v>0.30382319012072773</c:v>
                </c:pt>
                <c:pt idx="1379" formatCode="0.0%">
                  <c:v>0.31013595137494832</c:v>
                </c:pt>
                <c:pt idx="1380" formatCode="0.0%">
                  <c:v>0.31542288166320531</c:v>
                </c:pt>
                <c:pt idx="1381" formatCode="0.0%">
                  <c:v>0.31542288166320531</c:v>
                </c:pt>
                <c:pt idx="1382" formatCode="0.0%">
                  <c:v>0.31542288166320531</c:v>
                </c:pt>
                <c:pt idx="1383" formatCode="0.0%">
                  <c:v>0.33159936177157362</c:v>
                </c:pt>
                <c:pt idx="1384" formatCode="0.0%">
                  <c:v>0.31636981106727746</c:v>
                </c:pt>
                <c:pt idx="1385" formatCode="0.0%">
                  <c:v>0.31502834618840436</c:v>
                </c:pt>
                <c:pt idx="1386" formatCode="0.0%">
                  <c:v>0.33104699550764594</c:v>
                </c:pt>
                <c:pt idx="1387" formatCode="0.0%">
                  <c:v>0.32489203737720829</c:v>
                </c:pt>
                <c:pt idx="1388" formatCode="0.0%">
                  <c:v>0.32489203737720829</c:v>
                </c:pt>
                <c:pt idx="1389" formatCode="0.0%">
                  <c:v>0.32489203737720829</c:v>
                </c:pt>
                <c:pt idx="1390" formatCode="0.0%">
                  <c:v>0.32315603702353429</c:v>
                </c:pt>
                <c:pt idx="1391" formatCode="0.0%">
                  <c:v>0.32149893823175207</c:v>
                </c:pt>
                <c:pt idx="1392" formatCode="0.0%">
                  <c:v>0.32142000900451623</c:v>
                </c:pt>
                <c:pt idx="1393" formatCode="0.0%">
                  <c:v>0.31147741625382142</c:v>
                </c:pt>
                <c:pt idx="1394" formatCode="0.0%">
                  <c:v>0.31984181177462517</c:v>
                </c:pt>
                <c:pt idx="1395" formatCode="0.0%">
                  <c:v>0.31984181177462517</c:v>
                </c:pt>
                <c:pt idx="1396" formatCode="0.0%">
                  <c:v>0.31984181177462517</c:v>
                </c:pt>
                <c:pt idx="1397" formatCode="0.0%">
                  <c:v>0.31084612076265844</c:v>
                </c:pt>
                <c:pt idx="1398" formatCode="0.0%">
                  <c:v>0.3171589096822231</c:v>
                </c:pt>
                <c:pt idx="1399" formatCode="0.0%">
                  <c:v>0.31534398010131381</c:v>
                </c:pt>
                <c:pt idx="1400" formatCode="0.0%">
                  <c:v>0.28788344236337737</c:v>
                </c:pt>
                <c:pt idx="1401" formatCode="0.0%">
                  <c:v>0.30619045830022029</c:v>
                </c:pt>
                <c:pt idx="1402" formatCode="0.0%">
                  <c:v>0.30619045830022029</c:v>
                </c:pt>
                <c:pt idx="1403" formatCode="0.0%">
                  <c:v>0.30619045830022029</c:v>
                </c:pt>
                <c:pt idx="1404" formatCode="0.0%">
                  <c:v>0.29459076675774271</c:v>
                </c:pt>
                <c:pt idx="1405" formatCode="0.0%">
                  <c:v>0.30256062680374585</c:v>
                </c:pt>
                <c:pt idx="1406" formatCode="0.0%">
                  <c:v>0.34012158808150417</c:v>
                </c:pt>
                <c:pt idx="1407" formatCode="0.0%">
                  <c:v>0.35361513843212633</c:v>
                </c:pt>
                <c:pt idx="1408" formatCode="0.0%">
                  <c:v>0.36411009744674883</c:v>
                </c:pt>
                <c:pt idx="1409" formatCode="0.0%">
                  <c:v>0.36411009744674883</c:v>
                </c:pt>
                <c:pt idx="1410" formatCode="0.0%">
                  <c:v>0.36411009744674883</c:v>
                </c:pt>
                <c:pt idx="1411" formatCode="0.0%">
                  <c:v>0.37728801388446159</c:v>
                </c:pt>
                <c:pt idx="1412" formatCode="0.0%">
                  <c:v>0.37744581700824426</c:v>
                </c:pt>
                <c:pt idx="1413" formatCode="0.0%">
                  <c:v>0.37026505557718681</c:v>
                </c:pt>
                <c:pt idx="1414" formatCode="0.0%">
                  <c:v>0.37570981665457054</c:v>
                </c:pt>
                <c:pt idx="1415" formatCode="0.0%">
                  <c:v>0.35203694120223533</c:v>
                </c:pt>
                <c:pt idx="1416" formatCode="0.0%">
                  <c:v>0.35203694120223533</c:v>
                </c:pt>
                <c:pt idx="1417" formatCode="0.0%">
                  <c:v>0.35203694120223533</c:v>
                </c:pt>
                <c:pt idx="1418" formatCode="0.0%">
                  <c:v>0.34240995469910529</c:v>
                </c:pt>
                <c:pt idx="1419" formatCode="0.0%">
                  <c:v>0.33743865832375775</c:v>
                </c:pt>
                <c:pt idx="1420" formatCode="0.0%">
                  <c:v>0.34485615210583348</c:v>
                </c:pt>
                <c:pt idx="1421" formatCode="0.0%">
                  <c:v>0.34067395434543157</c:v>
                </c:pt>
                <c:pt idx="1422" formatCode="0.0%">
                  <c:v>0.36750322425754944</c:v>
                </c:pt>
                <c:pt idx="1423" formatCode="0.0%">
                  <c:v>0.36750322425754944</c:v>
                </c:pt>
                <c:pt idx="1424" formatCode="0.0%">
                  <c:v>0.36750322425754944</c:v>
                </c:pt>
                <c:pt idx="1425" formatCode="0.0%">
                  <c:v>0.36434682979776711</c:v>
                </c:pt>
                <c:pt idx="1426" formatCode="0.0%">
                  <c:v>0.37034395713907797</c:v>
                </c:pt>
                <c:pt idx="1427" formatCode="0.0%">
                  <c:v>0.3618217308291477</c:v>
                </c:pt>
                <c:pt idx="1428" formatCode="0.0%">
                  <c:v>0.3660828578167849</c:v>
                </c:pt>
                <c:pt idx="1429" formatCode="0.0%">
                  <c:v>0.37058068949009626</c:v>
                </c:pt>
                <c:pt idx="1430" formatCode="0.0%">
                  <c:v>0.37279646224430252</c:v>
                </c:pt>
                <c:pt idx="1431" formatCode="0.0%">
                  <c:v>0.37279646224430252</c:v>
                </c:pt>
                <c:pt idx="1432" formatCode="0.0%">
                  <c:v>0.38715170507326546</c:v>
                </c:pt>
                <c:pt idx="1433" formatCode="0.0%">
                  <c:v>0.39385902946763113</c:v>
                </c:pt>
                <c:pt idx="1434" formatCode="0.0%">
                  <c:v>0.40435398848225335</c:v>
                </c:pt>
                <c:pt idx="1435" formatCode="0.0%">
                  <c:v>0.38872990230315652</c:v>
                </c:pt>
                <c:pt idx="1436" formatCode="0.0%">
                  <c:v>0.39717322705119584</c:v>
                </c:pt>
                <c:pt idx="1437" formatCode="0.0%">
                  <c:v>0.39717322705119584</c:v>
                </c:pt>
                <c:pt idx="1438" formatCode="0.0%">
                  <c:v>0.39717322705119584</c:v>
                </c:pt>
                <c:pt idx="1439" formatCode="0.0%">
                  <c:v>0.39393793102952201</c:v>
                </c:pt>
                <c:pt idx="1440" formatCode="0.0%">
                  <c:v>0.39141283206090266</c:v>
                </c:pt>
                <c:pt idx="1441" formatCode="0.0%">
                  <c:v>0.39859359349196011</c:v>
                </c:pt>
                <c:pt idx="1442" formatCode="0.0%">
                  <c:v>0.39780449487701447</c:v>
                </c:pt>
                <c:pt idx="1443" formatCode="0.0%">
                  <c:v>0.3817858455577729</c:v>
                </c:pt>
                <c:pt idx="1444" formatCode="0.0%">
                  <c:v>0.3817858455577729</c:v>
                </c:pt>
                <c:pt idx="1445" formatCode="0.0%">
                  <c:v>0.3817858455577729</c:v>
                </c:pt>
                <c:pt idx="1446" formatCode="0.0%">
                  <c:v>0.38517897236857351</c:v>
                </c:pt>
                <c:pt idx="1447" formatCode="0.0%">
                  <c:v>0.37933964815104504</c:v>
                </c:pt>
                <c:pt idx="1448" formatCode="0.0%">
                  <c:v>0.3892033670051927</c:v>
                </c:pt>
                <c:pt idx="1449" formatCode="0.0%">
                  <c:v>0.35582460348783657</c:v>
                </c:pt>
                <c:pt idx="1450" formatCode="0.0%">
                  <c:v>0.32718040399480941</c:v>
                </c:pt>
                <c:pt idx="1451" formatCode="0.0%">
                  <c:v>0.32718040399480941</c:v>
                </c:pt>
                <c:pt idx="1452" formatCode="0.0%">
                  <c:v>0.32718040399480941</c:v>
                </c:pt>
                <c:pt idx="1453" formatCode="0.0%">
                  <c:v>0.34059505278354041</c:v>
                </c:pt>
                <c:pt idx="1454" formatCode="0.0%">
                  <c:v>0.34059505278354041</c:v>
                </c:pt>
                <c:pt idx="1455" formatCode="0.0%">
                  <c:v>0.34059505278354041</c:v>
                </c:pt>
                <c:pt idx="1456" formatCode="0.0%">
                  <c:v>0.34059505278354041</c:v>
                </c:pt>
                <c:pt idx="1457" formatCode="0.0%">
                  <c:v>0.34998527927030776</c:v>
                </c:pt>
                <c:pt idx="1458" formatCode="0.0%">
                  <c:v>0.34998527927030776</c:v>
                </c:pt>
                <c:pt idx="1459" formatCode="0.0%">
                  <c:v>0.34998527927030776</c:v>
                </c:pt>
                <c:pt idx="1460" formatCode="0.0%">
                  <c:v>0.33522919326804812</c:v>
                </c:pt>
                <c:pt idx="1461" formatCode="0.0%">
                  <c:v>0.34580623535915406</c:v>
                </c:pt>
                <c:pt idx="1462" formatCode="0.0%">
                  <c:v>0.34580623535915406</c:v>
                </c:pt>
                <c:pt idx="1463" formatCode="0.0%">
                  <c:v>0.35984899812445575</c:v>
                </c:pt>
                <c:pt idx="1464" formatCode="0.0%">
                  <c:v>0.35685043445380016</c:v>
                </c:pt>
                <c:pt idx="1465" formatCode="0.0%">
                  <c:v>0.35685043445380016</c:v>
                </c:pt>
                <c:pt idx="1466" formatCode="0.0%">
                  <c:v>0.35685043445380016</c:v>
                </c:pt>
                <c:pt idx="1467" formatCode="0.0%">
                  <c:v>0.36040136438838316</c:v>
                </c:pt>
                <c:pt idx="1468" formatCode="0.0%">
                  <c:v>0.35448313860896319</c:v>
                </c:pt>
                <c:pt idx="1469" formatCode="0.0%">
                  <c:v>0.35203694120223533</c:v>
                </c:pt>
                <c:pt idx="1470" formatCode="0.0%">
                  <c:v>0.35614023740074574</c:v>
                </c:pt>
                <c:pt idx="1471" formatCode="0.0%">
                  <c:v>0.35195803964034383</c:v>
                </c:pt>
                <c:pt idx="1472" formatCode="0.0%">
                  <c:v>0.35195803964034383</c:v>
                </c:pt>
                <c:pt idx="1473" formatCode="0.0%">
                  <c:v>0.35195803964034383</c:v>
                </c:pt>
                <c:pt idx="1474" formatCode="0.0%">
                  <c:v>0.33112589706953743</c:v>
                </c:pt>
                <c:pt idx="1475" formatCode="0.0%">
                  <c:v>0.33199389724637429</c:v>
                </c:pt>
                <c:pt idx="1476" formatCode="0.0%">
                  <c:v>0.33112589706953743</c:v>
                </c:pt>
                <c:pt idx="1477" formatCode="0.0%">
                  <c:v>0.35274713825528947</c:v>
                </c:pt>
                <c:pt idx="1478" formatCode="0.0%">
                  <c:v>0.36032243516114759</c:v>
                </c:pt>
                <c:pt idx="1479" formatCode="0.0%">
                  <c:v>0.36032243516114759</c:v>
                </c:pt>
                <c:pt idx="1480" formatCode="0.0%">
                  <c:v>0.36032243516114759</c:v>
                </c:pt>
                <c:pt idx="1481" formatCode="0.0%">
                  <c:v>0.35479877252187264</c:v>
                </c:pt>
                <c:pt idx="1482" formatCode="0.0%">
                  <c:v>0.36063809673940111</c:v>
                </c:pt>
                <c:pt idx="1483" formatCode="0.0%">
                  <c:v>0.37310578845871561</c:v>
                </c:pt>
                <c:pt idx="1484" formatCode="0.0%">
                  <c:v>0.374289450213806</c:v>
                </c:pt>
                <c:pt idx="1485" formatCode="0.0%">
                  <c:v>0.37949747894017177</c:v>
                </c:pt>
                <c:pt idx="1486" formatCode="0.0%">
                  <c:v>0.37949747894017177</c:v>
                </c:pt>
                <c:pt idx="1487" formatCode="0.0%">
                  <c:v>0.37949747894017177</c:v>
                </c:pt>
                <c:pt idx="1488" formatCode="0.0%">
                  <c:v>0.36600392858954933</c:v>
                </c:pt>
                <c:pt idx="1489" formatCode="0.0%">
                  <c:v>0.38060221146802692</c:v>
                </c:pt>
                <c:pt idx="1490" formatCode="0.0%">
                  <c:v>0.38959790247999365</c:v>
                </c:pt>
                <c:pt idx="1491" formatCode="0.0%">
                  <c:v>0.39833063439456284</c:v>
                </c:pt>
                <c:pt idx="1492" formatCode="0.0%">
                  <c:v>0.40018526374451679</c:v>
                </c:pt>
                <c:pt idx="1493" formatCode="0.0%">
                  <c:v>0.40018526374451679</c:v>
                </c:pt>
                <c:pt idx="1494" formatCode="0.0%">
                  <c:v>0.40018526374451679</c:v>
                </c:pt>
                <c:pt idx="1495" formatCode="0.0%">
                  <c:v>0.39647492609618268</c:v>
                </c:pt>
                <c:pt idx="1496" formatCode="0.0%">
                  <c:v>0.39964056078095522</c:v>
                </c:pt>
                <c:pt idx="1497" formatCode="0.0%">
                  <c:v>0.40313367014598955</c:v>
                </c:pt>
                <c:pt idx="1498" formatCode="0.0%">
                  <c:v>0.41699688482690334</c:v>
                </c:pt>
                <c:pt idx="1499" formatCode="0.0%">
                  <c:v>0.40837329269552469</c:v>
                </c:pt>
                <c:pt idx="1500" formatCode="0.0%">
                  <c:v>0.40837329269552469</c:v>
                </c:pt>
                <c:pt idx="1501" formatCode="0.0%">
                  <c:v>0.40837329269552469</c:v>
                </c:pt>
                <c:pt idx="1502" formatCode="0.0%">
                  <c:v>0.41044733589097604</c:v>
                </c:pt>
                <c:pt idx="1503" formatCode="0.0%">
                  <c:v>0.40597180248515569</c:v>
                </c:pt>
                <c:pt idx="1504" formatCode="0.0%">
                  <c:v>0.40051384503854964</c:v>
                </c:pt>
                <c:pt idx="1505" formatCode="0.0%">
                  <c:v>0.4097923865304523</c:v>
                </c:pt>
                <c:pt idx="1506" formatCode="0.0%">
                  <c:v>0.40651758439714425</c:v>
                </c:pt>
                <c:pt idx="1507" formatCode="0.0%">
                  <c:v>0.40651758439714425</c:v>
                </c:pt>
                <c:pt idx="1508" formatCode="0.0%">
                  <c:v>0.40651758439714425</c:v>
                </c:pt>
                <c:pt idx="1509" formatCode="0.0%">
                  <c:v>0.41022900099390541</c:v>
                </c:pt>
                <c:pt idx="1510" formatCode="0.0%">
                  <c:v>0.41219387674082097</c:v>
                </c:pt>
                <c:pt idx="1511" formatCode="0.0%">
                  <c:v>0.41153892738029724</c:v>
                </c:pt>
                <c:pt idx="1512" formatCode="0.0%">
                  <c:v>0.40171457631106222</c:v>
                </c:pt>
                <c:pt idx="1513" formatCode="0.0%">
                  <c:v>0.40782751078353641</c:v>
                </c:pt>
                <c:pt idx="1514" formatCode="0.0%">
                  <c:v>0.40782751078353641</c:v>
                </c:pt>
                <c:pt idx="1515" formatCode="0.0%">
                  <c:v>0.40782751078353641</c:v>
                </c:pt>
                <c:pt idx="1516" formatCode="0.0%">
                  <c:v>0.39898561142043121</c:v>
                </c:pt>
                <c:pt idx="1517" formatCode="0.0%">
                  <c:v>0.39614745141592067</c:v>
                </c:pt>
                <c:pt idx="1518" formatCode="0.0%">
                  <c:v>0.40051384503854964</c:v>
                </c:pt>
                <c:pt idx="1519" formatCode="0.0%">
                  <c:v>0.40138710163080021</c:v>
                </c:pt>
                <c:pt idx="1520" formatCode="0.0%">
                  <c:v>0.40039704195499271</c:v>
                </c:pt>
                <c:pt idx="1521" formatCode="0.0%">
                  <c:v>0.40039704195499271</c:v>
                </c:pt>
                <c:pt idx="1522" formatCode="0.0%">
                  <c:v>0.40039704195499271</c:v>
                </c:pt>
                <c:pt idx="1523" formatCode="0.0%">
                  <c:v>0.40706339397447694</c:v>
                </c:pt>
                <c:pt idx="1524" formatCode="0.0%">
                  <c:v>0.36481874524052332</c:v>
                </c:pt>
                <c:pt idx="1525" formatCode="0.0%">
                  <c:v>0.36820268715702242</c:v>
                </c:pt>
                <c:pt idx="1526" formatCode="0.0%">
                  <c:v>0.33108852118941284</c:v>
                </c:pt>
                <c:pt idx="1527" formatCode="0.0%">
                  <c:v>0.29801324649882616</c:v>
                </c:pt>
                <c:pt idx="1528" formatCode="0.0%">
                  <c:v>0.29801324649882616</c:v>
                </c:pt>
                <c:pt idx="1529" formatCode="0.0%">
                  <c:v>0.29801324649882616</c:v>
                </c:pt>
                <c:pt idx="1530" formatCode="0.0%">
                  <c:v>0.27225166521857047</c:v>
                </c:pt>
                <c:pt idx="1531" formatCode="0.0%">
                  <c:v>0.25085642223025517</c:v>
                </c:pt>
                <c:pt idx="1532" formatCode="0.0%">
                  <c:v>0.24812745733962416</c:v>
                </c:pt>
                <c:pt idx="1533" formatCode="0.0%">
                  <c:v>0.24998316563800471</c:v>
                </c:pt>
                <c:pt idx="1534" formatCode="0.0%">
                  <c:v>0.27028678947165447</c:v>
                </c:pt>
                <c:pt idx="1535" formatCode="0.0%">
                  <c:v>0.27028678947165447</c:v>
                </c:pt>
                <c:pt idx="1536" formatCode="0.0%">
                  <c:v>0.27028678947165447</c:v>
                </c:pt>
                <c:pt idx="1537" formatCode="0.0%">
                  <c:v>0.28054775500434259</c:v>
                </c:pt>
                <c:pt idx="1538" formatCode="0.0%">
                  <c:v>0.27716381308784349</c:v>
                </c:pt>
                <c:pt idx="1539" formatCode="0.0%">
                  <c:v>0.28797058819786459</c:v>
                </c:pt>
                <c:pt idx="1540" formatCode="0.0%">
                  <c:v>0.29517511415965997</c:v>
                </c:pt>
                <c:pt idx="1541" formatCode="0.0%">
                  <c:v>0.28469581372990094</c:v>
                </c:pt>
                <c:pt idx="1542" formatCode="0.0%">
                  <c:v>0.28469581372990094</c:v>
                </c:pt>
                <c:pt idx="1543" formatCode="0.0%">
                  <c:v>0.28469581372990094</c:v>
                </c:pt>
                <c:pt idx="1544" formatCode="0.0%">
                  <c:v>0.29866819585934989</c:v>
                </c:pt>
                <c:pt idx="1545" formatCode="0.0%">
                  <c:v>0.30292542203344397</c:v>
                </c:pt>
                <c:pt idx="1546" formatCode="0.0%">
                  <c:v>0.28578740521922213</c:v>
                </c:pt>
                <c:pt idx="1547" formatCode="0.0%">
                  <c:v>0.27116007372924927</c:v>
                </c:pt>
                <c:pt idx="1548" formatCode="0.0%">
                  <c:v>0.25718766393445563</c:v>
                </c:pt>
                <c:pt idx="1549" formatCode="0.0%">
                  <c:v>0.25718766393445563</c:v>
                </c:pt>
                <c:pt idx="1550" formatCode="0.0%">
                  <c:v>0.25718766393445563</c:v>
                </c:pt>
                <c:pt idx="1551" formatCode="0.0%">
                  <c:v>0.26638107916200338</c:v>
                </c:pt>
                <c:pt idx="1552" formatCode="0.0%">
                  <c:v>0.27809931670472765</c:v>
                </c:pt>
                <c:pt idx="1553" formatCode="0.0%">
                  <c:v>0.26777613181275001</c:v>
                </c:pt>
                <c:pt idx="1554" formatCode="0.0%">
                  <c:v>0.23481002457069905</c:v>
                </c:pt>
                <c:pt idx="1555" formatCode="0.0%">
                  <c:v>0.17575483370278561</c:v>
                </c:pt>
                <c:pt idx="1556" formatCode="0.0%">
                  <c:v>0.17575483370278561</c:v>
                </c:pt>
                <c:pt idx="1557" formatCode="0.0%">
                  <c:v>0.17575483370278561</c:v>
                </c:pt>
                <c:pt idx="1558" formatCode="0.0%">
                  <c:v>0.1642931092322408</c:v>
                </c:pt>
                <c:pt idx="1559" formatCode="0.0%">
                  <c:v>0.18001203221153503</c:v>
                </c:pt>
                <c:pt idx="1560" formatCode="0.0%">
                  <c:v>0.11888282581351489</c:v>
                </c:pt>
                <c:pt idx="1561" formatCode="0.0%">
                  <c:v>0.18023036710860579</c:v>
                </c:pt>
                <c:pt idx="1562" formatCode="0.0%">
                  <c:v>0.15839850965683738</c:v>
                </c:pt>
                <c:pt idx="1563" formatCode="0.0%">
                  <c:v>0.15839850965683738</c:v>
                </c:pt>
                <c:pt idx="1564" formatCode="0.0%">
                  <c:v>0.15839850965683738</c:v>
                </c:pt>
                <c:pt idx="1565" formatCode="0.0%">
                  <c:v>0.19562181540763818</c:v>
                </c:pt>
                <c:pt idx="1566" formatCode="0.0%">
                  <c:v>0.20271717392089797</c:v>
                </c:pt>
                <c:pt idx="1567" formatCode="0.0%">
                  <c:v>0.17979372497980847</c:v>
                </c:pt>
                <c:pt idx="1568" formatCode="0.0%">
                  <c:v>0.17979372497980847</c:v>
                </c:pt>
                <c:pt idx="1569" formatCode="0.0%">
                  <c:v>0.17979372497980847</c:v>
                </c:pt>
                <c:pt idx="1570" formatCode="0.0%">
                  <c:v>0.17979372497980847</c:v>
                </c:pt>
                <c:pt idx="1571" formatCode="0.0%">
                  <c:v>0.17979372497980847</c:v>
                </c:pt>
                <c:pt idx="1572" formatCode="0.0%">
                  <c:v>0.17979372497980847</c:v>
                </c:pt>
                <c:pt idx="1573" formatCode="0.0%">
                  <c:v>0.16287404306265757</c:v>
                </c:pt>
                <c:pt idx="1574" formatCode="0.0%">
                  <c:v>0.2104674817946818</c:v>
                </c:pt>
                <c:pt idx="1575" formatCode="0.0%">
                  <c:v>0.2061011158373971</c:v>
                </c:pt>
                <c:pt idx="1576" formatCode="0.0%">
                  <c:v>0.20511869179661119</c:v>
                </c:pt>
                <c:pt idx="1577" formatCode="0.0%">
                  <c:v>0.20511869179661119</c:v>
                </c:pt>
                <c:pt idx="1578" formatCode="0.0%">
                  <c:v>0.20511869179661119</c:v>
                </c:pt>
                <c:pt idx="1579" formatCode="0.0%">
                  <c:v>0.21723536562768003</c:v>
                </c:pt>
                <c:pt idx="1580" formatCode="0.0%">
                  <c:v>0.21374225626264548</c:v>
                </c:pt>
                <c:pt idx="1581" formatCode="0.0%">
                  <c:v>0.23002773782748379</c:v>
                </c:pt>
                <c:pt idx="1582" formatCode="0.0%">
                  <c:v>0.23688404010080588</c:v>
                </c:pt>
                <c:pt idx="1583" formatCode="0.0%">
                  <c:v>0.26330059840692982</c:v>
                </c:pt>
                <c:pt idx="1584" formatCode="0.0%">
                  <c:v>0.26330059840692982</c:v>
                </c:pt>
                <c:pt idx="1585" formatCode="0.0%">
                  <c:v>0.26330059840692982</c:v>
                </c:pt>
                <c:pt idx="1586" formatCode="0.0%">
                  <c:v>0.26570208861729894</c:v>
                </c:pt>
                <c:pt idx="1587" formatCode="0.0%">
                  <c:v>0.24769081521082684</c:v>
                </c:pt>
                <c:pt idx="1588" formatCode="0.0%">
                  <c:v>0.26832191372473857</c:v>
                </c:pt>
                <c:pt idx="1589" formatCode="0.0%">
                  <c:v>0.27421651330014202</c:v>
                </c:pt>
                <c:pt idx="1590" formatCode="0.0%">
                  <c:v>0.28316758011178222</c:v>
                </c:pt>
                <c:pt idx="1591" formatCode="0.0%">
                  <c:v>0.28316758011178222</c:v>
                </c:pt>
                <c:pt idx="1592" formatCode="0.0%">
                  <c:v>0.28316758011178222</c:v>
                </c:pt>
                <c:pt idx="1593" formatCode="0.0%">
                  <c:v>0.30423532075449145</c:v>
                </c:pt>
                <c:pt idx="1594" formatCode="0.0%">
                  <c:v>0.31733444629169016</c:v>
                </c:pt>
                <c:pt idx="1595" formatCode="0.0%">
                  <c:v>0.31689780416289293</c:v>
                </c:pt>
                <c:pt idx="1596" formatCode="0.0%">
                  <c:v>0.31755275352341672</c:v>
                </c:pt>
                <c:pt idx="1597" formatCode="0.0%">
                  <c:v>0.31373219714346479</c:v>
                </c:pt>
                <c:pt idx="1598" formatCode="0.0%">
                  <c:v>0.31373219714346479</c:v>
                </c:pt>
                <c:pt idx="1599" formatCode="0.0%">
                  <c:v>0.31373219714346479</c:v>
                </c:pt>
                <c:pt idx="1600" formatCode="0.0%">
                  <c:v>0.30849254692858524</c:v>
                </c:pt>
                <c:pt idx="1601" formatCode="0.0%">
                  <c:v>0.31045742267550108</c:v>
                </c:pt>
                <c:pt idx="1602" formatCode="0.0%">
                  <c:v>0.30390784607422971</c:v>
                </c:pt>
                <c:pt idx="1603" formatCode="0.0%">
                  <c:v>0.28982629649624497</c:v>
                </c:pt>
                <c:pt idx="1604" formatCode="0.0%">
                  <c:v>0.27683633840758176</c:v>
                </c:pt>
                <c:pt idx="1605" formatCode="0.0%">
                  <c:v>0.27683633840758176</c:v>
                </c:pt>
                <c:pt idx="1606" formatCode="0.0%">
                  <c:v>0.27683633840758176</c:v>
                </c:pt>
                <c:pt idx="1607" formatCode="0.0%">
                  <c:v>0.28360422224057968</c:v>
                </c:pt>
                <c:pt idx="1608" formatCode="0.0%">
                  <c:v>0.29888653075642113</c:v>
                </c:pt>
                <c:pt idx="1609" formatCode="0.0%">
                  <c:v>0.29713996224123151</c:v>
                </c:pt>
                <c:pt idx="1610" formatCode="0.0%">
                  <c:v>0.29713996224123151</c:v>
                </c:pt>
                <c:pt idx="1611" formatCode="0.0%">
                  <c:v>0.29564011326634587</c:v>
                </c:pt>
                <c:pt idx="1612" formatCode="0.0%">
                  <c:v>0.29563576980729378</c:v>
                </c:pt>
                <c:pt idx="1613" formatCode="0.0%">
                  <c:v>0.29563576980729378</c:v>
                </c:pt>
                <c:pt idx="1614" formatCode="0.0%">
                  <c:v>0.28840723032666177</c:v>
                </c:pt>
                <c:pt idx="1615" formatCode="0.0%">
                  <c:v>0.29397435522180332</c:v>
                </c:pt>
                <c:pt idx="1616" formatCode="0.0%">
                  <c:v>0.31427797905545335</c:v>
                </c:pt>
                <c:pt idx="1617" formatCode="0.0%">
                  <c:v>0.31427797905545335</c:v>
                </c:pt>
                <c:pt idx="1618" formatCode="0.0%">
                  <c:v>0.32017257863085663</c:v>
                </c:pt>
                <c:pt idx="1619" formatCode="0.0%">
                  <c:v>0.32017257863085663</c:v>
                </c:pt>
                <c:pt idx="1620" formatCode="0.0%">
                  <c:v>0.32017257863085663</c:v>
                </c:pt>
                <c:pt idx="1621" formatCode="0.0%">
                  <c:v>0.32017257863085663</c:v>
                </c:pt>
                <c:pt idx="1622" formatCode="0.0%">
                  <c:v>0.33763807012534014</c:v>
                </c:pt>
                <c:pt idx="1623" formatCode="0.0%">
                  <c:v>0.33632817140429239</c:v>
                </c:pt>
                <c:pt idx="1624" formatCode="0.0%">
                  <c:v>0.32519392161400928</c:v>
                </c:pt>
                <c:pt idx="1625" formatCode="0.0%">
                  <c:v>0.310129920329895</c:v>
                </c:pt>
                <c:pt idx="1626" formatCode="0.0%">
                  <c:v>0.310129920329895</c:v>
                </c:pt>
                <c:pt idx="1627" formatCode="0.0%">
                  <c:v>0.310129920329895</c:v>
                </c:pt>
                <c:pt idx="1628" formatCode="0.0%">
                  <c:v>0.31744361374022562</c:v>
                </c:pt>
                <c:pt idx="1629" formatCode="0.0%">
                  <c:v>0.30620019650140734</c:v>
                </c:pt>
                <c:pt idx="1630" formatCode="0.0%">
                  <c:v>0.30685514586193136</c:v>
                </c:pt>
                <c:pt idx="1631" formatCode="0.0%">
                  <c:v>0.30030559692600434</c:v>
                </c:pt>
                <c:pt idx="1632" formatCode="0.0%">
                  <c:v>0.29910483798814769</c:v>
                </c:pt>
                <c:pt idx="1633" formatCode="0.0%">
                  <c:v>0.29910483798814769</c:v>
                </c:pt>
                <c:pt idx="1634" formatCode="0.0%">
                  <c:v>0.29910483798814769</c:v>
                </c:pt>
                <c:pt idx="1635" formatCode="0.0%">
                  <c:v>0.28535076309042495</c:v>
                </c:pt>
                <c:pt idx="1636" formatCode="0.0%">
                  <c:v>0.29866819585934989</c:v>
                </c:pt>
                <c:pt idx="1637" formatCode="0.0%">
                  <c:v>0.29997812224574205</c:v>
                </c:pt>
                <c:pt idx="1638" formatCode="0.0%">
                  <c:v>0.29190033969169632</c:v>
                </c:pt>
                <c:pt idx="1639" formatCode="0.0%">
                  <c:v>0.30390784607422971</c:v>
                </c:pt>
                <c:pt idx="1640" formatCode="0.0%">
                  <c:v>0.30390784607422971</c:v>
                </c:pt>
                <c:pt idx="1641" formatCode="0.0%">
                  <c:v>0.30390784607422971</c:v>
                </c:pt>
                <c:pt idx="1642" formatCode="0.0%">
                  <c:v>0.30498416629350744</c:v>
                </c:pt>
                <c:pt idx="1643" formatCode="0.0%">
                  <c:v>0.29659418032924323</c:v>
                </c:pt>
                <c:pt idx="1644" formatCode="0.0%">
                  <c:v>0.30194299799265795</c:v>
                </c:pt>
                <c:pt idx="1645" formatCode="0.0%">
                  <c:v>0.30674600607874025</c:v>
                </c:pt>
                <c:pt idx="1646" formatCode="0.0%">
                  <c:v>0.3032528967137057</c:v>
                </c:pt>
                <c:pt idx="1647" formatCode="0.0%">
                  <c:v>0.3032528967137057</c:v>
                </c:pt>
                <c:pt idx="1648" formatCode="0.0%">
                  <c:v>0.3032528967137057</c:v>
                </c:pt>
                <c:pt idx="1649" formatCode="0.0%">
                  <c:v>0.30958413841790644</c:v>
                </c:pt>
                <c:pt idx="1650" formatCode="0.0%">
                  <c:v>0.31089403713895419</c:v>
                </c:pt>
                <c:pt idx="1651" formatCode="0.0%">
                  <c:v>0.31067572990722764</c:v>
                </c:pt>
                <c:pt idx="1652" formatCode="0.0%">
                  <c:v>0.32377485544442636</c:v>
                </c:pt>
                <c:pt idx="1653" formatCode="0.0%">
                  <c:v>0.31253143820560808</c:v>
                </c:pt>
                <c:pt idx="1654" formatCode="0.0%">
                  <c:v>0.31253143820560808</c:v>
                </c:pt>
                <c:pt idx="1655" formatCode="0.0%">
                  <c:v>0.31253143820560808</c:v>
                </c:pt>
                <c:pt idx="1656" formatCode="0.0%">
                  <c:v>0.30805590479978806</c:v>
                </c:pt>
                <c:pt idx="1657" formatCode="0.0%">
                  <c:v>0.31788025586902308</c:v>
                </c:pt>
                <c:pt idx="1658" formatCode="0.0%">
                  <c:v>0.30347120394543226</c:v>
                </c:pt>
                <c:pt idx="1659" formatCode="0.0%">
                  <c:v>0.31591538012210718</c:v>
                </c:pt>
                <c:pt idx="1660" formatCode="0.0%">
                  <c:v>0.31820773054928508</c:v>
                </c:pt>
                <c:pt idx="1661" formatCode="0.0%">
                  <c:v>0.31820773054928508</c:v>
                </c:pt>
                <c:pt idx="1662" formatCode="0.0%">
                  <c:v>0.31820773054928508</c:v>
                </c:pt>
                <c:pt idx="1663" formatCode="0.0%">
                  <c:v>0.32202828692923702</c:v>
                </c:pt>
                <c:pt idx="1664" formatCode="0.0%">
                  <c:v>0.31471462118425053</c:v>
                </c:pt>
                <c:pt idx="1665" formatCode="0.0%">
                  <c:v>0.31657032948263092</c:v>
                </c:pt>
                <c:pt idx="1666" formatCode="0.0%">
                  <c:v>0.31962679671886801</c:v>
                </c:pt>
                <c:pt idx="1667" formatCode="0.0%">
                  <c:v>0.32846869608197321</c:v>
                </c:pt>
                <c:pt idx="1668" formatCode="0.0%">
                  <c:v>0.32846869608197321</c:v>
                </c:pt>
                <c:pt idx="1669" formatCode="0.0%">
                  <c:v>0.32846869608197321</c:v>
                </c:pt>
                <c:pt idx="1670" formatCode="0.0%">
                  <c:v>0.33807471225413738</c:v>
                </c:pt>
                <c:pt idx="1671" formatCode="0.0%">
                  <c:v>0.31405967182372679</c:v>
                </c:pt>
                <c:pt idx="1672" formatCode="0.0%">
                  <c:v>0.30598188926968078</c:v>
                </c:pt>
                <c:pt idx="1673" formatCode="0.0%">
                  <c:v>0.30277804874445535</c:v>
                </c:pt>
                <c:pt idx="1674" formatCode="0.0%">
                  <c:v>0.30041476437453951</c:v>
                </c:pt>
                <c:pt idx="1675" formatCode="0.0%">
                  <c:v>0.30041476437453951</c:v>
                </c:pt>
                <c:pt idx="1676" formatCode="0.0%">
                  <c:v>0.30041476437453951</c:v>
                </c:pt>
                <c:pt idx="1677" formatCode="0.0%">
                  <c:v>0.30008728969427778</c:v>
                </c:pt>
                <c:pt idx="1678" formatCode="0.0%">
                  <c:v>0.30150635586386071</c:v>
                </c:pt>
                <c:pt idx="1679" formatCode="0.0%">
                  <c:v>0.27956533096355685</c:v>
                </c:pt>
                <c:pt idx="1680" formatCode="0.0%">
                  <c:v>0.30227047267291995</c:v>
                </c:pt>
                <c:pt idx="1681" formatCode="0.0%">
                  <c:v>0.30205213777584899</c:v>
                </c:pt>
                <c:pt idx="1682" formatCode="0.0%">
                  <c:v>0.30205213777584899</c:v>
                </c:pt>
                <c:pt idx="1683" formatCode="0.0%">
                  <c:v>0.30205213777584899</c:v>
                </c:pt>
                <c:pt idx="1684" formatCode="0.0%">
                  <c:v>0.30434448820302717</c:v>
                </c:pt>
                <c:pt idx="1685" formatCode="0.0%">
                  <c:v>0.30259794735318196</c:v>
                </c:pt>
                <c:pt idx="1686" formatCode="0.0%">
                  <c:v>0.30860171437712069</c:v>
                </c:pt>
                <c:pt idx="1687" formatCode="0.0%">
                  <c:v>0.30914749628910926</c:v>
                </c:pt>
                <c:pt idx="1688" formatCode="0.0%">
                  <c:v>0.30630936394994279</c:v>
                </c:pt>
                <c:pt idx="1689" formatCode="0.0%">
                  <c:v>0.30630936394994279</c:v>
                </c:pt>
                <c:pt idx="1690" formatCode="0.0%">
                  <c:v>0.30630936394994279</c:v>
                </c:pt>
                <c:pt idx="1691" formatCode="0.0%">
                  <c:v>0.30991161309816845</c:v>
                </c:pt>
                <c:pt idx="1692" formatCode="0.0%">
                  <c:v>0.31023908777843018</c:v>
                </c:pt>
                <c:pt idx="1693" formatCode="0.0%">
                  <c:v>0.30598188926968078</c:v>
                </c:pt>
                <c:pt idx="1694" formatCode="0.0%">
                  <c:v>0.31253143820560808</c:v>
                </c:pt>
                <c:pt idx="1695" formatCode="0.0%">
                  <c:v>0.32268326395510516</c:v>
                </c:pt>
                <c:pt idx="1696" formatCode="0.0%">
                  <c:v>0.32268326395510516</c:v>
                </c:pt>
                <c:pt idx="1697" formatCode="0.0%">
                  <c:v>0.32268326395510516</c:v>
                </c:pt>
                <c:pt idx="1698" formatCode="0.0%">
                  <c:v>0.32071838820818954</c:v>
                </c:pt>
                <c:pt idx="1699" formatCode="0.0%">
                  <c:v>0.31667949693116637</c:v>
                </c:pt>
                <c:pt idx="1700" formatCode="0.0%">
                  <c:v>0.32126417012017783</c:v>
                </c:pt>
                <c:pt idx="1701" formatCode="0.0%">
                  <c:v>0.31580621267357173</c:v>
                </c:pt>
                <c:pt idx="1702" formatCode="0.0%">
                  <c:v>0.30478113033182408</c:v>
                </c:pt>
                <c:pt idx="1703" formatCode="0.0%">
                  <c:v>0.30478113033182408</c:v>
                </c:pt>
                <c:pt idx="1704" formatCode="0.0%">
                  <c:v>0.30328346691913682</c:v>
                </c:pt>
                <c:pt idx="1705" formatCode="0.0%">
                  <c:v>0.30696431331046681</c:v>
                </c:pt>
                <c:pt idx="1706" formatCode="0.0%">
                  <c:v>0.28666068947681678</c:v>
                </c:pt>
                <c:pt idx="1707" formatCode="0.0%">
                  <c:v>0.29757660437002897</c:v>
                </c:pt>
                <c:pt idx="1708" formatCode="0.0%">
                  <c:v>0.30740095543926399</c:v>
                </c:pt>
                <c:pt idx="1709" formatCode="0.0%">
                  <c:v>0.31165815394801344</c:v>
                </c:pt>
                <c:pt idx="1710" formatCode="0.0%">
                  <c:v>0.31165815394801344</c:v>
                </c:pt>
                <c:pt idx="1711" formatCode="0.0%">
                  <c:v>0.31165815394801344</c:v>
                </c:pt>
                <c:pt idx="1712" formatCode="0.0%">
                  <c:v>0.32344738076416435</c:v>
                </c:pt>
                <c:pt idx="1713" formatCode="0.0%">
                  <c:v>0.32846869608197321</c:v>
                </c:pt>
                <c:pt idx="1714" formatCode="0.0%">
                  <c:v>0.33163430310140141</c:v>
                </c:pt>
                <c:pt idx="1715" formatCode="0.0%">
                  <c:v>0.32672215523212828</c:v>
                </c:pt>
                <c:pt idx="1716" formatCode="0.0%">
                  <c:v>0.33283506203925783</c:v>
                </c:pt>
                <c:pt idx="1717" formatCode="0.0%">
                  <c:v>0.33283506203925783</c:v>
                </c:pt>
                <c:pt idx="1718" formatCode="0.0%">
                  <c:v>0.33283506203925783</c:v>
                </c:pt>
                <c:pt idx="1719" formatCode="0.0%">
                  <c:v>0.34571585267938587</c:v>
                </c:pt>
                <c:pt idx="1720" formatCode="0.0%">
                  <c:v>0.33698312076481612</c:v>
                </c:pt>
                <c:pt idx="1721" formatCode="0.0%">
                  <c:v>0.34003958800105349</c:v>
                </c:pt>
                <c:pt idx="1722" formatCode="0.0%">
                  <c:v>0.36536452715251189</c:v>
                </c:pt>
                <c:pt idx="1723" formatCode="0.0%">
                  <c:v>0.34658913693698085</c:v>
                </c:pt>
                <c:pt idx="1724" formatCode="0.0%">
                  <c:v>0.34658913693698085</c:v>
                </c:pt>
                <c:pt idx="1725" formatCode="0.0%">
                  <c:v>0.34658913693698085</c:v>
                </c:pt>
                <c:pt idx="1726" formatCode="0.0%">
                  <c:v>0.34124034693890992</c:v>
                </c:pt>
                <c:pt idx="1727" formatCode="0.0%">
                  <c:v>0.34669830438551602</c:v>
                </c:pt>
                <c:pt idx="1728" formatCode="0.0%">
                  <c:v>0.33447246310591194</c:v>
                </c:pt>
                <c:pt idx="1729" formatCode="0.0%">
                  <c:v>0.32333821331562917</c:v>
                </c:pt>
                <c:pt idx="1730" formatCode="0.0%">
                  <c:v>0.31493292841597709</c:v>
                </c:pt>
                <c:pt idx="1731" formatCode="0.0%">
                  <c:v>0.31493292841597709</c:v>
                </c:pt>
                <c:pt idx="1732" formatCode="0.0%">
                  <c:v>0.31493292841597709</c:v>
                </c:pt>
                <c:pt idx="1733" formatCode="0.0%">
                  <c:v>0.31536957054477427</c:v>
                </c:pt>
                <c:pt idx="1734" formatCode="0.0%">
                  <c:v>0.31851664178353389</c:v>
                </c:pt>
                <c:pt idx="1735" formatCode="0.0%">
                  <c:v>0.32868700331369977</c:v>
                </c:pt>
                <c:pt idx="1736" formatCode="0.0%">
                  <c:v>0.33872966161466139</c:v>
                </c:pt>
                <c:pt idx="1737" formatCode="0.0%">
                  <c:v>0.34866315246708751</c:v>
                </c:pt>
                <c:pt idx="1738" formatCode="0.0%">
                  <c:v>0.34866315246708751</c:v>
                </c:pt>
                <c:pt idx="1739" formatCode="0.0%">
                  <c:v>0.34866315246708751</c:v>
                </c:pt>
                <c:pt idx="1740" formatCode="0.0%">
                  <c:v>0.36274470204507198</c:v>
                </c:pt>
                <c:pt idx="1741" formatCode="0.0%">
                  <c:v>0.36732940289942773</c:v>
                </c:pt>
                <c:pt idx="1742" formatCode="0.0%">
                  <c:v>0.36492791268905878</c:v>
                </c:pt>
                <c:pt idx="1743" formatCode="0.0%">
                  <c:v>0.36034321183470325</c:v>
                </c:pt>
                <c:pt idx="1744" formatCode="0.0%">
                  <c:v>0.35128297757452714</c:v>
                </c:pt>
                <c:pt idx="1745" formatCode="0.0%">
                  <c:v>0.35128297757452714</c:v>
                </c:pt>
                <c:pt idx="1746" formatCode="0.0%">
                  <c:v>0.35128297757452714</c:v>
                </c:pt>
                <c:pt idx="1747" formatCode="0.0%">
                  <c:v>0.33687395331628067</c:v>
                </c:pt>
                <c:pt idx="1748" formatCode="0.0%">
                  <c:v>0.32639468055186599</c:v>
                </c:pt>
                <c:pt idx="1749" formatCode="0.0%">
                  <c:v>0.34626166225671851</c:v>
                </c:pt>
                <c:pt idx="1750" formatCode="0.0%">
                  <c:v>0.33567322204376865</c:v>
                </c:pt>
                <c:pt idx="1751" formatCode="0.0%">
                  <c:v>0.31482378863278571</c:v>
                </c:pt>
                <c:pt idx="1752" formatCode="0.0%">
                  <c:v>0.31482378863278571</c:v>
                </c:pt>
                <c:pt idx="1753" formatCode="0.0%">
                  <c:v>0.31482378863278571</c:v>
                </c:pt>
                <c:pt idx="1754" formatCode="0.0%">
                  <c:v>0.32846869608197321</c:v>
                </c:pt>
                <c:pt idx="1755" formatCode="0.0%">
                  <c:v>0.33698312076481612</c:v>
                </c:pt>
                <c:pt idx="1756" formatCode="0.0%">
                  <c:v>0.34320519502048141</c:v>
                </c:pt>
                <c:pt idx="1757" formatCode="0.0%">
                  <c:v>0.34386014438100543</c:v>
                </c:pt>
                <c:pt idx="1758" formatCode="0.0%">
                  <c:v>0.34626166225671851</c:v>
                </c:pt>
                <c:pt idx="1759" formatCode="0.0%">
                  <c:v>0.34626166225671851</c:v>
                </c:pt>
                <c:pt idx="1760" formatCode="0.0%">
                  <c:v>0.34626166225671851</c:v>
                </c:pt>
                <c:pt idx="1761" formatCode="0.0%">
                  <c:v>0.35019138608520622</c:v>
                </c:pt>
                <c:pt idx="1762" formatCode="0.0%">
                  <c:v>0.34407847927807611</c:v>
                </c:pt>
                <c:pt idx="1763" formatCode="0.0%">
                  <c:v>0.3313068284211394</c:v>
                </c:pt>
                <c:pt idx="1764" formatCode="0.0%">
                  <c:v>0.33414498842564994</c:v>
                </c:pt>
                <c:pt idx="1765" formatCode="0.0%">
                  <c:v>0.31613587291603212</c:v>
                </c:pt>
                <c:pt idx="1766" formatCode="0.0%">
                  <c:v>0.31613587291603212</c:v>
                </c:pt>
                <c:pt idx="1767" formatCode="0.0%">
                  <c:v>0.31613587291603212</c:v>
                </c:pt>
                <c:pt idx="1768" formatCode="0.0%">
                  <c:v>0.31722527884315499</c:v>
                </c:pt>
                <c:pt idx="1769" formatCode="0.0%">
                  <c:v>0.31285891288587009</c:v>
                </c:pt>
                <c:pt idx="1770" formatCode="0.0%">
                  <c:v>0.30456279543475373</c:v>
                </c:pt>
                <c:pt idx="1771" formatCode="0.0%">
                  <c:v>0.2885163977751975</c:v>
                </c:pt>
                <c:pt idx="1772" formatCode="0.0%">
                  <c:v>0.26384638031891838</c:v>
                </c:pt>
                <c:pt idx="1773" formatCode="0.0%">
                  <c:v>0.26384638031891838</c:v>
                </c:pt>
                <c:pt idx="1774" formatCode="0.0%">
                  <c:v>0.26384638031891838</c:v>
                </c:pt>
                <c:pt idx="1775" formatCode="0.0%">
                  <c:v>0.28142103926193729</c:v>
                </c:pt>
                <c:pt idx="1776" formatCode="0.0%">
                  <c:v>0.28098439713314005</c:v>
                </c:pt>
                <c:pt idx="1777" formatCode="0.0%">
                  <c:v>0.28393169692084169</c:v>
                </c:pt>
                <c:pt idx="1778" formatCode="0.0%">
                  <c:v>0.27465315542893931</c:v>
                </c:pt>
                <c:pt idx="1779" formatCode="0.0%">
                  <c:v>0.2593708469130982</c:v>
                </c:pt>
                <c:pt idx="1780" formatCode="0.0%">
                  <c:v>0.2593708469130982</c:v>
                </c:pt>
                <c:pt idx="1781" formatCode="0.0%">
                  <c:v>0.2593708469130982</c:v>
                </c:pt>
                <c:pt idx="1782" formatCode="0.0%">
                  <c:v>0.25707852415126481</c:v>
                </c:pt>
                <c:pt idx="1783" formatCode="0.0%">
                  <c:v>0.22323913265161877</c:v>
                </c:pt>
                <c:pt idx="1784" formatCode="0.0%">
                  <c:v>0.23481002457069905</c:v>
                </c:pt>
                <c:pt idx="1785" formatCode="0.0%">
                  <c:v>0.25238465584837355</c:v>
                </c:pt>
                <c:pt idx="1786" formatCode="0.0%">
                  <c:v>0.22542231563026122</c:v>
                </c:pt>
                <c:pt idx="1787" formatCode="0.0%">
                  <c:v>0.22542231563026122</c:v>
                </c:pt>
                <c:pt idx="1788" formatCode="0.0%">
                  <c:v>0.22542231563026122</c:v>
                </c:pt>
                <c:pt idx="1789" formatCode="0.0%">
                  <c:v>0.23950386520824551</c:v>
                </c:pt>
                <c:pt idx="1790" formatCode="0.0%">
                  <c:v>0.23655656542054387</c:v>
                </c:pt>
                <c:pt idx="1791" formatCode="0.0%">
                  <c:v>0.26384638031891838</c:v>
                </c:pt>
                <c:pt idx="1792" formatCode="0.0%">
                  <c:v>0.26744865713248828</c:v>
                </c:pt>
                <c:pt idx="1793" formatCode="0.0%">
                  <c:v>0.26963184011113056</c:v>
                </c:pt>
                <c:pt idx="1794" formatCode="0.0%">
                  <c:v>0.26963184011113056</c:v>
                </c:pt>
                <c:pt idx="1795" formatCode="0.0%">
                  <c:v>0.26998440725865608</c:v>
                </c:pt>
                <c:pt idx="1796" formatCode="0.0%">
                  <c:v>0.25751513861471764</c:v>
                </c:pt>
                <c:pt idx="1797" formatCode="0.0%">
                  <c:v>0.25249382329690889</c:v>
                </c:pt>
                <c:pt idx="1798" formatCode="0.0%">
                  <c:v>0.25729683138299109</c:v>
                </c:pt>
                <c:pt idx="1799" formatCode="0.0%">
                  <c:v>0.25882506500110963</c:v>
                </c:pt>
                <c:pt idx="1800" formatCode="0.0%">
                  <c:v>0.27017762202311912</c:v>
                </c:pt>
                <c:pt idx="1801" formatCode="0.0%">
                  <c:v>0.27017762202311912</c:v>
                </c:pt>
                <c:pt idx="1802" formatCode="0.0%">
                  <c:v>0.27017762202311912</c:v>
                </c:pt>
                <c:pt idx="1803" formatCode="0.0%">
                  <c:v>0.26995931479139257</c:v>
                </c:pt>
                <c:pt idx="1804" formatCode="0.0%">
                  <c:v>0.26209983946907345</c:v>
                </c:pt>
                <c:pt idx="1805" formatCode="0.0%">
                  <c:v>0.26264564904640619</c:v>
                </c:pt>
                <c:pt idx="1806" formatCode="0.0%">
                  <c:v>0.26624789819463174</c:v>
                </c:pt>
                <c:pt idx="1807" formatCode="0.0%">
                  <c:v>0.27072343160045192</c:v>
                </c:pt>
                <c:pt idx="1808" formatCode="0.0%">
                  <c:v>0.27072343160045192</c:v>
                </c:pt>
                <c:pt idx="1809" formatCode="0.0%">
                  <c:v>0.27072343160045192</c:v>
                </c:pt>
                <c:pt idx="1810" formatCode="0.0%">
                  <c:v>0.25860673010403884</c:v>
                </c:pt>
                <c:pt idx="1811" formatCode="0.0%">
                  <c:v>0.24845493201988617</c:v>
                </c:pt>
                <c:pt idx="1812" formatCode="0.0%">
                  <c:v>0.25031064031826644</c:v>
                </c:pt>
                <c:pt idx="1813" formatCode="0.0%">
                  <c:v>0.25129306435905252</c:v>
                </c:pt>
                <c:pt idx="1814" formatCode="0.0%">
                  <c:v>0.257842640960324</c:v>
                </c:pt>
                <c:pt idx="1815" formatCode="0.0%">
                  <c:v>0.257842640960324</c:v>
                </c:pt>
                <c:pt idx="1816" formatCode="0.0%">
                  <c:v>0.257842640960324</c:v>
                </c:pt>
                <c:pt idx="1817" formatCode="0.0%">
                  <c:v>0.26046243840241945</c:v>
                </c:pt>
                <c:pt idx="1818" formatCode="0.0%">
                  <c:v>0.26908603053379793</c:v>
                </c:pt>
                <c:pt idx="1819" formatCode="0.0%">
                  <c:v>0.26908603053379793</c:v>
                </c:pt>
                <c:pt idx="1820" formatCode="0.0%">
                  <c:v>0.26908603053379793</c:v>
                </c:pt>
                <c:pt idx="1821" formatCode="0.0%">
                  <c:v>0.26908603053379793</c:v>
                </c:pt>
                <c:pt idx="1822" formatCode="0.0%">
                  <c:v>0.26908603053379793</c:v>
                </c:pt>
                <c:pt idx="1823" formatCode="0.0%">
                  <c:v>0.26908603053379793</c:v>
                </c:pt>
                <c:pt idx="1824" formatCode="0.0%">
                  <c:v>0.28142103926193729</c:v>
                </c:pt>
                <c:pt idx="1825" formatCode="0.0%">
                  <c:v>0.28775228096613803</c:v>
                </c:pt>
                <c:pt idx="1826" formatCode="0.0%">
                  <c:v>0.28330513220355075</c:v>
                </c:pt>
              </c:numCache>
            </c:numRef>
          </c:val>
          <c:smooth val="0"/>
          <c:extLst>
            <c:ext xmlns:c16="http://schemas.microsoft.com/office/drawing/2014/chart" uri="{C3380CC4-5D6E-409C-BE32-E72D297353CC}">
              <c16:uniqueId val="{00000003-C592-43EE-8D08-8400729D0F8F}"/>
            </c:ext>
          </c:extLst>
        </c:ser>
        <c:ser>
          <c:idx val="4"/>
          <c:order val="3"/>
          <c:tx>
            <c:strRef>
              <c:f>Sheet1!$F$1</c:f>
              <c:strCache>
                <c:ptCount val="1"/>
                <c:pt idx="0">
                  <c:v>Peer #4</c:v>
                </c:pt>
              </c:strCache>
            </c:strRef>
          </c:tx>
          <c:spPr>
            <a:ln w="12700" cap="rnd">
              <a:solidFill>
                <a:srgbClr val="91A0B2"/>
              </a:solidFill>
              <a:round/>
            </a:ln>
            <a:effectLst/>
          </c:spPr>
          <c:marker>
            <c:symbol val="none"/>
          </c:marker>
          <c:cat>
            <c:numRef>
              <c:f>Sheet1!$A$2:$A$2069</c:f>
              <c:numCache>
                <c:formatCode>d\-mmm\-yy</c:formatCode>
                <c:ptCount val="2068"/>
                <c:pt idx="0">
                  <c:v>44196</c:v>
                </c:pt>
                <c:pt idx="1">
                  <c:v>44197</c:v>
                </c:pt>
                <c:pt idx="2">
                  <c:v>44198</c:v>
                </c:pt>
                <c:pt idx="3">
                  <c:v>44199</c:v>
                </c:pt>
                <c:pt idx="4">
                  <c:v>44200</c:v>
                </c:pt>
                <c:pt idx="5">
                  <c:v>44201</c:v>
                </c:pt>
                <c:pt idx="6">
                  <c:v>44202</c:v>
                </c:pt>
                <c:pt idx="7">
                  <c:v>44203</c:v>
                </c:pt>
                <c:pt idx="8">
                  <c:v>44204</c:v>
                </c:pt>
                <c:pt idx="9">
                  <c:v>44205</c:v>
                </c:pt>
                <c:pt idx="10">
                  <c:v>44206</c:v>
                </c:pt>
                <c:pt idx="11">
                  <c:v>44207</c:v>
                </c:pt>
                <c:pt idx="12">
                  <c:v>44208</c:v>
                </c:pt>
                <c:pt idx="13">
                  <c:v>44209</c:v>
                </c:pt>
                <c:pt idx="14">
                  <c:v>44210</c:v>
                </c:pt>
                <c:pt idx="15">
                  <c:v>44211</c:v>
                </c:pt>
                <c:pt idx="16">
                  <c:v>44212</c:v>
                </c:pt>
                <c:pt idx="17">
                  <c:v>44213</c:v>
                </c:pt>
                <c:pt idx="18">
                  <c:v>44214</c:v>
                </c:pt>
                <c:pt idx="19">
                  <c:v>44215</c:v>
                </c:pt>
                <c:pt idx="20">
                  <c:v>44216</c:v>
                </c:pt>
                <c:pt idx="21">
                  <c:v>44217</c:v>
                </c:pt>
                <c:pt idx="22">
                  <c:v>44218</c:v>
                </c:pt>
                <c:pt idx="23">
                  <c:v>44219</c:v>
                </c:pt>
                <c:pt idx="24">
                  <c:v>44220</c:v>
                </c:pt>
                <c:pt idx="25">
                  <c:v>44221</c:v>
                </c:pt>
                <c:pt idx="26">
                  <c:v>44222</c:v>
                </c:pt>
                <c:pt idx="27">
                  <c:v>44223</c:v>
                </c:pt>
                <c:pt idx="28">
                  <c:v>44224</c:v>
                </c:pt>
                <c:pt idx="29">
                  <c:v>44225</c:v>
                </c:pt>
                <c:pt idx="30">
                  <c:v>44226</c:v>
                </c:pt>
                <c:pt idx="31">
                  <c:v>44227</c:v>
                </c:pt>
                <c:pt idx="32">
                  <c:v>44228</c:v>
                </c:pt>
                <c:pt idx="33">
                  <c:v>44229</c:v>
                </c:pt>
                <c:pt idx="34">
                  <c:v>44230</c:v>
                </c:pt>
                <c:pt idx="35">
                  <c:v>44231</c:v>
                </c:pt>
                <c:pt idx="36">
                  <c:v>44232</c:v>
                </c:pt>
                <c:pt idx="37">
                  <c:v>44233</c:v>
                </c:pt>
                <c:pt idx="38">
                  <c:v>44234</c:v>
                </c:pt>
                <c:pt idx="39">
                  <c:v>44235</c:v>
                </c:pt>
                <c:pt idx="40">
                  <c:v>44236</c:v>
                </c:pt>
                <c:pt idx="41">
                  <c:v>44237</c:v>
                </c:pt>
                <c:pt idx="42">
                  <c:v>44238</c:v>
                </c:pt>
                <c:pt idx="43">
                  <c:v>44239</c:v>
                </c:pt>
                <c:pt idx="44">
                  <c:v>44240</c:v>
                </c:pt>
                <c:pt idx="45">
                  <c:v>44241</c:v>
                </c:pt>
                <c:pt idx="46">
                  <c:v>44242</c:v>
                </c:pt>
                <c:pt idx="47">
                  <c:v>44243</c:v>
                </c:pt>
                <c:pt idx="48">
                  <c:v>44244</c:v>
                </c:pt>
                <c:pt idx="49">
                  <c:v>44245</c:v>
                </c:pt>
                <c:pt idx="50">
                  <c:v>44246</c:v>
                </c:pt>
                <c:pt idx="51">
                  <c:v>44247</c:v>
                </c:pt>
                <c:pt idx="52">
                  <c:v>44248</c:v>
                </c:pt>
                <c:pt idx="53">
                  <c:v>44249</c:v>
                </c:pt>
                <c:pt idx="54">
                  <c:v>44250</c:v>
                </c:pt>
                <c:pt idx="55">
                  <c:v>44251</c:v>
                </c:pt>
                <c:pt idx="56">
                  <c:v>44252</c:v>
                </c:pt>
                <c:pt idx="57">
                  <c:v>44253</c:v>
                </c:pt>
                <c:pt idx="58">
                  <c:v>44254</c:v>
                </c:pt>
                <c:pt idx="59">
                  <c:v>44255</c:v>
                </c:pt>
                <c:pt idx="60">
                  <c:v>44256</c:v>
                </c:pt>
                <c:pt idx="61">
                  <c:v>44257</c:v>
                </c:pt>
                <c:pt idx="62">
                  <c:v>44258</c:v>
                </c:pt>
                <c:pt idx="63">
                  <c:v>44259</c:v>
                </c:pt>
                <c:pt idx="64">
                  <c:v>44260</c:v>
                </c:pt>
                <c:pt idx="65">
                  <c:v>44261</c:v>
                </c:pt>
                <c:pt idx="66">
                  <c:v>44262</c:v>
                </c:pt>
                <c:pt idx="67">
                  <c:v>44263</c:v>
                </c:pt>
                <c:pt idx="68">
                  <c:v>44264</c:v>
                </c:pt>
                <c:pt idx="69">
                  <c:v>44265</c:v>
                </c:pt>
                <c:pt idx="70">
                  <c:v>44266</c:v>
                </c:pt>
                <c:pt idx="71">
                  <c:v>44267</c:v>
                </c:pt>
                <c:pt idx="72">
                  <c:v>44268</c:v>
                </c:pt>
                <c:pt idx="73">
                  <c:v>44269</c:v>
                </c:pt>
                <c:pt idx="74">
                  <c:v>44270</c:v>
                </c:pt>
                <c:pt idx="75">
                  <c:v>44271</c:v>
                </c:pt>
                <c:pt idx="76">
                  <c:v>44272</c:v>
                </c:pt>
                <c:pt idx="77">
                  <c:v>44273</c:v>
                </c:pt>
                <c:pt idx="78">
                  <c:v>44274</c:v>
                </c:pt>
                <c:pt idx="79">
                  <c:v>44275</c:v>
                </c:pt>
                <c:pt idx="80">
                  <c:v>44276</c:v>
                </c:pt>
                <c:pt idx="81">
                  <c:v>44277</c:v>
                </c:pt>
                <c:pt idx="82">
                  <c:v>44278</c:v>
                </c:pt>
                <c:pt idx="83">
                  <c:v>44279</c:v>
                </c:pt>
                <c:pt idx="84">
                  <c:v>44280</c:v>
                </c:pt>
                <c:pt idx="85">
                  <c:v>44281</c:v>
                </c:pt>
                <c:pt idx="86">
                  <c:v>44282</c:v>
                </c:pt>
                <c:pt idx="87">
                  <c:v>44283</c:v>
                </c:pt>
                <c:pt idx="88">
                  <c:v>44284</c:v>
                </c:pt>
                <c:pt idx="89">
                  <c:v>44285</c:v>
                </c:pt>
                <c:pt idx="90">
                  <c:v>44286</c:v>
                </c:pt>
                <c:pt idx="91">
                  <c:v>44287</c:v>
                </c:pt>
                <c:pt idx="92">
                  <c:v>44288</c:v>
                </c:pt>
                <c:pt idx="93">
                  <c:v>44289</c:v>
                </c:pt>
                <c:pt idx="94">
                  <c:v>44290</c:v>
                </c:pt>
                <c:pt idx="95">
                  <c:v>44291</c:v>
                </c:pt>
                <c:pt idx="96">
                  <c:v>44292</c:v>
                </c:pt>
                <c:pt idx="97">
                  <c:v>44293</c:v>
                </c:pt>
                <c:pt idx="98">
                  <c:v>44294</c:v>
                </c:pt>
                <c:pt idx="99">
                  <c:v>44295</c:v>
                </c:pt>
                <c:pt idx="100">
                  <c:v>44296</c:v>
                </c:pt>
                <c:pt idx="101">
                  <c:v>44297</c:v>
                </c:pt>
                <c:pt idx="102">
                  <c:v>44298</c:v>
                </c:pt>
                <c:pt idx="103">
                  <c:v>44299</c:v>
                </c:pt>
                <c:pt idx="104">
                  <c:v>44300</c:v>
                </c:pt>
                <c:pt idx="105">
                  <c:v>44301</c:v>
                </c:pt>
                <c:pt idx="106">
                  <c:v>44302</c:v>
                </c:pt>
                <c:pt idx="107">
                  <c:v>44303</c:v>
                </c:pt>
                <c:pt idx="108">
                  <c:v>44304</c:v>
                </c:pt>
                <c:pt idx="109">
                  <c:v>44305</c:v>
                </c:pt>
                <c:pt idx="110">
                  <c:v>44306</c:v>
                </c:pt>
                <c:pt idx="111">
                  <c:v>44307</c:v>
                </c:pt>
                <c:pt idx="112">
                  <c:v>44308</c:v>
                </c:pt>
                <c:pt idx="113">
                  <c:v>44309</c:v>
                </c:pt>
                <c:pt idx="114">
                  <c:v>44310</c:v>
                </c:pt>
                <c:pt idx="115">
                  <c:v>44311</c:v>
                </c:pt>
                <c:pt idx="116">
                  <c:v>44312</c:v>
                </c:pt>
                <c:pt idx="117">
                  <c:v>44313</c:v>
                </c:pt>
                <c:pt idx="118">
                  <c:v>44314</c:v>
                </c:pt>
                <c:pt idx="119">
                  <c:v>44315</c:v>
                </c:pt>
                <c:pt idx="120">
                  <c:v>44316</c:v>
                </c:pt>
                <c:pt idx="121">
                  <c:v>44317</c:v>
                </c:pt>
                <c:pt idx="122">
                  <c:v>44318</c:v>
                </c:pt>
                <c:pt idx="123">
                  <c:v>44319</c:v>
                </c:pt>
                <c:pt idx="124">
                  <c:v>44320</c:v>
                </c:pt>
                <c:pt idx="125">
                  <c:v>44321</c:v>
                </c:pt>
                <c:pt idx="126">
                  <c:v>44322</c:v>
                </c:pt>
                <c:pt idx="127">
                  <c:v>44323</c:v>
                </c:pt>
                <c:pt idx="128">
                  <c:v>44324</c:v>
                </c:pt>
                <c:pt idx="129">
                  <c:v>44325</c:v>
                </c:pt>
                <c:pt idx="130">
                  <c:v>44326</c:v>
                </c:pt>
                <c:pt idx="131">
                  <c:v>44327</c:v>
                </c:pt>
                <c:pt idx="132">
                  <c:v>44328</c:v>
                </c:pt>
                <c:pt idx="133">
                  <c:v>44329</c:v>
                </c:pt>
                <c:pt idx="134">
                  <c:v>44330</c:v>
                </c:pt>
                <c:pt idx="135">
                  <c:v>44331</c:v>
                </c:pt>
                <c:pt idx="136">
                  <c:v>44332</c:v>
                </c:pt>
                <c:pt idx="137">
                  <c:v>44333</c:v>
                </c:pt>
                <c:pt idx="138">
                  <c:v>44334</c:v>
                </c:pt>
                <c:pt idx="139">
                  <c:v>44335</c:v>
                </c:pt>
                <c:pt idx="140">
                  <c:v>44336</c:v>
                </c:pt>
                <c:pt idx="141">
                  <c:v>44337</c:v>
                </c:pt>
                <c:pt idx="142">
                  <c:v>44338</c:v>
                </c:pt>
                <c:pt idx="143">
                  <c:v>44339</c:v>
                </c:pt>
                <c:pt idx="144">
                  <c:v>44340</c:v>
                </c:pt>
                <c:pt idx="145">
                  <c:v>44341</c:v>
                </c:pt>
                <c:pt idx="146">
                  <c:v>44342</c:v>
                </c:pt>
                <c:pt idx="147">
                  <c:v>44343</c:v>
                </c:pt>
                <c:pt idx="148">
                  <c:v>44344</c:v>
                </c:pt>
                <c:pt idx="149">
                  <c:v>44345</c:v>
                </c:pt>
                <c:pt idx="150">
                  <c:v>44346</c:v>
                </c:pt>
                <c:pt idx="151">
                  <c:v>44347</c:v>
                </c:pt>
                <c:pt idx="152">
                  <c:v>44348</c:v>
                </c:pt>
                <c:pt idx="153">
                  <c:v>44349</c:v>
                </c:pt>
                <c:pt idx="154">
                  <c:v>44350</c:v>
                </c:pt>
                <c:pt idx="155">
                  <c:v>44351</c:v>
                </c:pt>
                <c:pt idx="156">
                  <c:v>44352</c:v>
                </c:pt>
                <c:pt idx="157">
                  <c:v>44353</c:v>
                </c:pt>
                <c:pt idx="158">
                  <c:v>44354</c:v>
                </c:pt>
                <c:pt idx="159">
                  <c:v>44355</c:v>
                </c:pt>
                <c:pt idx="160">
                  <c:v>44356</c:v>
                </c:pt>
                <c:pt idx="161">
                  <c:v>44357</c:v>
                </c:pt>
                <c:pt idx="162">
                  <c:v>44358</c:v>
                </c:pt>
                <c:pt idx="163">
                  <c:v>44359</c:v>
                </c:pt>
                <c:pt idx="164">
                  <c:v>44360</c:v>
                </c:pt>
                <c:pt idx="165">
                  <c:v>44361</c:v>
                </c:pt>
                <c:pt idx="166">
                  <c:v>44362</c:v>
                </c:pt>
                <c:pt idx="167">
                  <c:v>44363</c:v>
                </c:pt>
                <c:pt idx="168">
                  <c:v>44364</c:v>
                </c:pt>
                <c:pt idx="169">
                  <c:v>44365</c:v>
                </c:pt>
                <c:pt idx="170">
                  <c:v>44366</c:v>
                </c:pt>
                <c:pt idx="171">
                  <c:v>44367</c:v>
                </c:pt>
                <c:pt idx="172">
                  <c:v>44368</c:v>
                </c:pt>
                <c:pt idx="173">
                  <c:v>44369</c:v>
                </c:pt>
                <c:pt idx="174">
                  <c:v>44370</c:v>
                </c:pt>
                <c:pt idx="175">
                  <c:v>44371</c:v>
                </c:pt>
                <c:pt idx="176">
                  <c:v>44372</c:v>
                </c:pt>
                <c:pt idx="177">
                  <c:v>44373</c:v>
                </c:pt>
                <c:pt idx="178">
                  <c:v>44374</c:v>
                </c:pt>
                <c:pt idx="179">
                  <c:v>44375</c:v>
                </c:pt>
                <c:pt idx="180">
                  <c:v>44376</c:v>
                </c:pt>
                <c:pt idx="181">
                  <c:v>44377</c:v>
                </c:pt>
                <c:pt idx="182">
                  <c:v>44378</c:v>
                </c:pt>
                <c:pt idx="183">
                  <c:v>44379</c:v>
                </c:pt>
                <c:pt idx="184">
                  <c:v>44380</c:v>
                </c:pt>
                <c:pt idx="185">
                  <c:v>44381</c:v>
                </c:pt>
                <c:pt idx="186">
                  <c:v>44382</c:v>
                </c:pt>
                <c:pt idx="187">
                  <c:v>44383</c:v>
                </c:pt>
                <c:pt idx="188">
                  <c:v>44384</c:v>
                </c:pt>
                <c:pt idx="189">
                  <c:v>44385</c:v>
                </c:pt>
                <c:pt idx="190">
                  <c:v>44386</c:v>
                </c:pt>
                <c:pt idx="191">
                  <c:v>44387</c:v>
                </c:pt>
                <c:pt idx="192">
                  <c:v>44388</c:v>
                </c:pt>
                <c:pt idx="193">
                  <c:v>44389</c:v>
                </c:pt>
                <c:pt idx="194">
                  <c:v>44390</c:v>
                </c:pt>
                <c:pt idx="195">
                  <c:v>44391</c:v>
                </c:pt>
                <c:pt idx="196">
                  <c:v>44392</c:v>
                </c:pt>
                <c:pt idx="197">
                  <c:v>44393</c:v>
                </c:pt>
                <c:pt idx="198">
                  <c:v>44394</c:v>
                </c:pt>
                <c:pt idx="199">
                  <c:v>44395</c:v>
                </c:pt>
                <c:pt idx="200">
                  <c:v>44396</c:v>
                </c:pt>
                <c:pt idx="201">
                  <c:v>44397</c:v>
                </c:pt>
                <c:pt idx="202">
                  <c:v>44398</c:v>
                </c:pt>
                <c:pt idx="203">
                  <c:v>44399</c:v>
                </c:pt>
                <c:pt idx="204">
                  <c:v>44400</c:v>
                </c:pt>
                <c:pt idx="205">
                  <c:v>44401</c:v>
                </c:pt>
                <c:pt idx="206">
                  <c:v>44402</c:v>
                </c:pt>
                <c:pt idx="207">
                  <c:v>44403</c:v>
                </c:pt>
                <c:pt idx="208">
                  <c:v>44404</c:v>
                </c:pt>
                <c:pt idx="209">
                  <c:v>44405</c:v>
                </c:pt>
                <c:pt idx="210">
                  <c:v>44406</c:v>
                </c:pt>
                <c:pt idx="211">
                  <c:v>44407</c:v>
                </c:pt>
                <c:pt idx="212">
                  <c:v>44408</c:v>
                </c:pt>
                <c:pt idx="213">
                  <c:v>44409</c:v>
                </c:pt>
                <c:pt idx="214">
                  <c:v>44410</c:v>
                </c:pt>
                <c:pt idx="215">
                  <c:v>44411</c:v>
                </c:pt>
                <c:pt idx="216">
                  <c:v>44412</c:v>
                </c:pt>
                <c:pt idx="217">
                  <c:v>44413</c:v>
                </c:pt>
                <c:pt idx="218">
                  <c:v>44414</c:v>
                </c:pt>
                <c:pt idx="219">
                  <c:v>44415</c:v>
                </c:pt>
                <c:pt idx="220">
                  <c:v>44416</c:v>
                </c:pt>
                <c:pt idx="221">
                  <c:v>44417</c:v>
                </c:pt>
                <c:pt idx="222">
                  <c:v>44418</c:v>
                </c:pt>
                <c:pt idx="223">
                  <c:v>44419</c:v>
                </c:pt>
                <c:pt idx="224">
                  <c:v>44420</c:v>
                </c:pt>
                <c:pt idx="225">
                  <c:v>44421</c:v>
                </c:pt>
                <c:pt idx="226">
                  <c:v>44422</c:v>
                </c:pt>
                <c:pt idx="227">
                  <c:v>44423</c:v>
                </c:pt>
                <c:pt idx="228">
                  <c:v>44424</c:v>
                </c:pt>
                <c:pt idx="229">
                  <c:v>44425</c:v>
                </c:pt>
                <c:pt idx="230">
                  <c:v>44426</c:v>
                </c:pt>
                <c:pt idx="231">
                  <c:v>44427</c:v>
                </c:pt>
                <c:pt idx="232">
                  <c:v>44428</c:v>
                </c:pt>
                <c:pt idx="233">
                  <c:v>44429</c:v>
                </c:pt>
                <c:pt idx="234">
                  <c:v>44430</c:v>
                </c:pt>
                <c:pt idx="235">
                  <c:v>44431</c:v>
                </c:pt>
                <c:pt idx="236">
                  <c:v>44432</c:v>
                </c:pt>
                <c:pt idx="237">
                  <c:v>44433</c:v>
                </c:pt>
                <c:pt idx="238">
                  <c:v>44434</c:v>
                </c:pt>
                <c:pt idx="239">
                  <c:v>44435</c:v>
                </c:pt>
                <c:pt idx="240">
                  <c:v>44436</c:v>
                </c:pt>
                <c:pt idx="241">
                  <c:v>44437</c:v>
                </c:pt>
                <c:pt idx="242">
                  <c:v>44438</c:v>
                </c:pt>
                <c:pt idx="243">
                  <c:v>44439</c:v>
                </c:pt>
                <c:pt idx="244">
                  <c:v>44440</c:v>
                </c:pt>
                <c:pt idx="245">
                  <c:v>44441</c:v>
                </c:pt>
                <c:pt idx="246">
                  <c:v>44442</c:v>
                </c:pt>
                <c:pt idx="247">
                  <c:v>44443</c:v>
                </c:pt>
                <c:pt idx="248">
                  <c:v>44444</c:v>
                </c:pt>
                <c:pt idx="249">
                  <c:v>44445</c:v>
                </c:pt>
                <c:pt idx="250">
                  <c:v>44446</c:v>
                </c:pt>
                <c:pt idx="251">
                  <c:v>44447</c:v>
                </c:pt>
                <c:pt idx="252">
                  <c:v>44448</c:v>
                </c:pt>
                <c:pt idx="253">
                  <c:v>44449</c:v>
                </c:pt>
                <c:pt idx="254">
                  <c:v>44450</c:v>
                </c:pt>
                <c:pt idx="255">
                  <c:v>44451</c:v>
                </c:pt>
                <c:pt idx="256">
                  <c:v>44452</c:v>
                </c:pt>
                <c:pt idx="257">
                  <c:v>44453</c:v>
                </c:pt>
                <c:pt idx="258">
                  <c:v>44454</c:v>
                </c:pt>
                <c:pt idx="259">
                  <c:v>44455</c:v>
                </c:pt>
                <c:pt idx="260">
                  <c:v>44456</c:v>
                </c:pt>
                <c:pt idx="261">
                  <c:v>44457</c:v>
                </c:pt>
                <c:pt idx="262">
                  <c:v>44458</c:v>
                </c:pt>
                <c:pt idx="263">
                  <c:v>44459</c:v>
                </c:pt>
                <c:pt idx="264">
                  <c:v>44460</c:v>
                </c:pt>
                <c:pt idx="265">
                  <c:v>44461</c:v>
                </c:pt>
                <c:pt idx="266">
                  <c:v>44462</c:v>
                </c:pt>
                <c:pt idx="267">
                  <c:v>44463</c:v>
                </c:pt>
                <c:pt idx="268">
                  <c:v>44464</c:v>
                </c:pt>
                <c:pt idx="269">
                  <c:v>44465</c:v>
                </c:pt>
                <c:pt idx="270">
                  <c:v>44466</c:v>
                </c:pt>
                <c:pt idx="271">
                  <c:v>44467</c:v>
                </c:pt>
                <c:pt idx="272">
                  <c:v>44468</c:v>
                </c:pt>
                <c:pt idx="273">
                  <c:v>44469</c:v>
                </c:pt>
                <c:pt idx="274">
                  <c:v>44470</c:v>
                </c:pt>
                <c:pt idx="275">
                  <c:v>44471</c:v>
                </c:pt>
                <c:pt idx="276">
                  <c:v>44472</c:v>
                </c:pt>
                <c:pt idx="277">
                  <c:v>44473</c:v>
                </c:pt>
                <c:pt idx="278">
                  <c:v>44474</c:v>
                </c:pt>
                <c:pt idx="279">
                  <c:v>44475</c:v>
                </c:pt>
                <c:pt idx="280">
                  <c:v>44476</c:v>
                </c:pt>
                <c:pt idx="281">
                  <c:v>44477</c:v>
                </c:pt>
                <c:pt idx="282">
                  <c:v>44478</c:v>
                </c:pt>
                <c:pt idx="283">
                  <c:v>44479</c:v>
                </c:pt>
                <c:pt idx="284">
                  <c:v>44480</c:v>
                </c:pt>
                <c:pt idx="285">
                  <c:v>44481</c:v>
                </c:pt>
                <c:pt idx="286">
                  <c:v>44482</c:v>
                </c:pt>
                <c:pt idx="287">
                  <c:v>44483</c:v>
                </c:pt>
                <c:pt idx="288">
                  <c:v>44484</c:v>
                </c:pt>
                <c:pt idx="289">
                  <c:v>44485</c:v>
                </c:pt>
                <c:pt idx="290">
                  <c:v>44486</c:v>
                </c:pt>
                <c:pt idx="291">
                  <c:v>44487</c:v>
                </c:pt>
                <c:pt idx="292">
                  <c:v>44488</c:v>
                </c:pt>
                <c:pt idx="293">
                  <c:v>44489</c:v>
                </c:pt>
                <c:pt idx="294">
                  <c:v>44490</c:v>
                </c:pt>
                <c:pt idx="295">
                  <c:v>44491</c:v>
                </c:pt>
                <c:pt idx="296">
                  <c:v>44492</c:v>
                </c:pt>
                <c:pt idx="297">
                  <c:v>44493</c:v>
                </c:pt>
                <c:pt idx="298">
                  <c:v>44494</c:v>
                </c:pt>
                <c:pt idx="299">
                  <c:v>44495</c:v>
                </c:pt>
                <c:pt idx="300">
                  <c:v>44496</c:v>
                </c:pt>
                <c:pt idx="301">
                  <c:v>44497</c:v>
                </c:pt>
                <c:pt idx="302">
                  <c:v>44498</c:v>
                </c:pt>
                <c:pt idx="303">
                  <c:v>44499</c:v>
                </c:pt>
                <c:pt idx="304">
                  <c:v>44500</c:v>
                </c:pt>
                <c:pt idx="305">
                  <c:v>44501</c:v>
                </c:pt>
                <c:pt idx="306">
                  <c:v>44502</c:v>
                </c:pt>
                <c:pt idx="307">
                  <c:v>44503</c:v>
                </c:pt>
                <c:pt idx="308">
                  <c:v>44504</c:v>
                </c:pt>
                <c:pt idx="309">
                  <c:v>44505</c:v>
                </c:pt>
                <c:pt idx="310">
                  <c:v>44506</c:v>
                </c:pt>
                <c:pt idx="311">
                  <c:v>44507</c:v>
                </c:pt>
                <c:pt idx="312">
                  <c:v>44508</c:v>
                </c:pt>
                <c:pt idx="313">
                  <c:v>44509</c:v>
                </c:pt>
                <c:pt idx="314">
                  <c:v>44510</c:v>
                </c:pt>
                <c:pt idx="315">
                  <c:v>44511</c:v>
                </c:pt>
                <c:pt idx="316">
                  <c:v>44512</c:v>
                </c:pt>
                <c:pt idx="317">
                  <c:v>44513</c:v>
                </c:pt>
                <c:pt idx="318">
                  <c:v>44514</c:v>
                </c:pt>
                <c:pt idx="319">
                  <c:v>44515</c:v>
                </c:pt>
                <c:pt idx="320">
                  <c:v>44516</c:v>
                </c:pt>
                <c:pt idx="321">
                  <c:v>44517</c:v>
                </c:pt>
                <c:pt idx="322">
                  <c:v>44518</c:v>
                </c:pt>
                <c:pt idx="323">
                  <c:v>44519</c:v>
                </c:pt>
                <c:pt idx="324">
                  <c:v>44520</c:v>
                </c:pt>
                <c:pt idx="325">
                  <c:v>44521</c:v>
                </c:pt>
                <c:pt idx="326">
                  <c:v>44522</c:v>
                </c:pt>
                <c:pt idx="327">
                  <c:v>44523</c:v>
                </c:pt>
                <c:pt idx="328">
                  <c:v>44524</c:v>
                </c:pt>
                <c:pt idx="329">
                  <c:v>44525</c:v>
                </c:pt>
                <c:pt idx="330">
                  <c:v>44526</c:v>
                </c:pt>
                <c:pt idx="331">
                  <c:v>44527</c:v>
                </c:pt>
                <c:pt idx="332">
                  <c:v>44528</c:v>
                </c:pt>
                <c:pt idx="333">
                  <c:v>44529</c:v>
                </c:pt>
                <c:pt idx="334">
                  <c:v>44530</c:v>
                </c:pt>
                <c:pt idx="335">
                  <c:v>44531</c:v>
                </c:pt>
                <c:pt idx="336">
                  <c:v>44532</c:v>
                </c:pt>
                <c:pt idx="337">
                  <c:v>44533</c:v>
                </c:pt>
                <c:pt idx="338">
                  <c:v>44534</c:v>
                </c:pt>
                <c:pt idx="339">
                  <c:v>44535</c:v>
                </c:pt>
                <c:pt idx="340">
                  <c:v>44536</c:v>
                </c:pt>
                <c:pt idx="341">
                  <c:v>44537</c:v>
                </c:pt>
                <c:pt idx="342">
                  <c:v>44538</c:v>
                </c:pt>
                <c:pt idx="343">
                  <c:v>44539</c:v>
                </c:pt>
                <c:pt idx="344">
                  <c:v>44540</c:v>
                </c:pt>
                <c:pt idx="345">
                  <c:v>44541</c:v>
                </c:pt>
                <c:pt idx="346">
                  <c:v>44542</c:v>
                </c:pt>
                <c:pt idx="347">
                  <c:v>44543</c:v>
                </c:pt>
                <c:pt idx="348">
                  <c:v>44544</c:v>
                </c:pt>
                <c:pt idx="349">
                  <c:v>44545</c:v>
                </c:pt>
                <c:pt idx="350">
                  <c:v>44546</c:v>
                </c:pt>
                <c:pt idx="351">
                  <c:v>44547</c:v>
                </c:pt>
                <c:pt idx="352">
                  <c:v>44548</c:v>
                </c:pt>
                <c:pt idx="353">
                  <c:v>44549</c:v>
                </c:pt>
                <c:pt idx="354">
                  <c:v>44550</c:v>
                </c:pt>
                <c:pt idx="355">
                  <c:v>44551</c:v>
                </c:pt>
                <c:pt idx="356">
                  <c:v>44552</c:v>
                </c:pt>
                <c:pt idx="357">
                  <c:v>44553</c:v>
                </c:pt>
                <c:pt idx="358">
                  <c:v>44554</c:v>
                </c:pt>
                <c:pt idx="359">
                  <c:v>44555</c:v>
                </c:pt>
                <c:pt idx="360">
                  <c:v>44556</c:v>
                </c:pt>
                <c:pt idx="361">
                  <c:v>44557</c:v>
                </c:pt>
                <c:pt idx="362">
                  <c:v>44558</c:v>
                </c:pt>
                <c:pt idx="363">
                  <c:v>44559</c:v>
                </c:pt>
                <c:pt idx="364">
                  <c:v>44560</c:v>
                </c:pt>
                <c:pt idx="365">
                  <c:v>44561</c:v>
                </c:pt>
                <c:pt idx="366">
                  <c:v>44562</c:v>
                </c:pt>
                <c:pt idx="367">
                  <c:v>44563</c:v>
                </c:pt>
                <c:pt idx="368">
                  <c:v>44564</c:v>
                </c:pt>
                <c:pt idx="369">
                  <c:v>44565</c:v>
                </c:pt>
                <c:pt idx="370">
                  <c:v>44566</c:v>
                </c:pt>
                <c:pt idx="371">
                  <c:v>44567</c:v>
                </c:pt>
                <c:pt idx="372">
                  <c:v>44568</c:v>
                </c:pt>
                <c:pt idx="373">
                  <c:v>44569</c:v>
                </c:pt>
                <c:pt idx="374">
                  <c:v>44570</c:v>
                </c:pt>
                <c:pt idx="375">
                  <c:v>44571</c:v>
                </c:pt>
                <c:pt idx="376">
                  <c:v>44572</c:v>
                </c:pt>
                <c:pt idx="377">
                  <c:v>44573</c:v>
                </c:pt>
                <c:pt idx="378">
                  <c:v>44574</c:v>
                </c:pt>
                <c:pt idx="379">
                  <c:v>44575</c:v>
                </c:pt>
                <c:pt idx="380">
                  <c:v>44576</c:v>
                </c:pt>
                <c:pt idx="381">
                  <c:v>44577</c:v>
                </c:pt>
                <c:pt idx="382">
                  <c:v>44578</c:v>
                </c:pt>
                <c:pt idx="383">
                  <c:v>44579</c:v>
                </c:pt>
                <c:pt idx="384">
                  <c:v>44580</c:v>
                </c:pt>
                <c:pt idx="385">
                  <c:v>44581</c:v>
                </c:pt>
                <c:pt idx="386">
                  <c:v>44582</c:v>
                </c:pt>
                <c:pt idx="387">
                  <c:v>44583</c:v>
                </c:pt>
                <c:pt idx="388">
                  <c:v>44584</c:v>
                </c:pt>
                <c:pt idx="389">
                  <c:v>44585</c:v>
                </c:pt>
                <c:pt idx="390">
                  <c:v>44586</c:v>
                </c:pt>
                <c:pt idx="391">
                  <c:v>44587</c:v>
                </c:pt>
                <c:pt idx="392">
                  <c:v>44588</c:v>
                </c:pt>
                <c:pt idx="393">
                  <c:v>44589</c:v>
                </c:pt>
                <c:pt idx="394">
                  <c:v>44590</c:v>
                </c:pt>
                <c:pt idx="395">
                  <c:v>44591</c:v>
                </c:pt>
                <c:pt idx="396">
                  <c:v>44592</c:v>
                </c:pt>
                <c:pt idx="397">
                  <c:v>44593</c:v>
                </c:pt>
                <c:pt idx="398">
                  <c:v>44594</c:v>
                </c:pt>
                <c:pt idx="399">
                  <c:v>44595</c:v>
                </c:pt>
                <c:pt idx="400">
                  <c:v>44596</c:v>
                </c:pt>
                <c:pt idx="401">
                  <c:v>44597</c:v>
                </c:pt>
                <c:pt idx="402">
                  <c:v>44598</c:v>
                </c:pt>
                <c:pt idx="403">
                  <c:v>44599</c:v>
                </c:pt>
                <c:pt idx="404">
                  <c:v>44600</c:v>
                </c:pt>
                <c:pt idx="405">
                  <c:v>44601</c:v>
                </c:pt>
                <c:pt idx="406">
                  <c:v>44602</c:v>
                </c:pt>
                <c:pt idx="407">
                  <c:v>44603</c:v>
                </c:pt>
                <c:pt idx="408">
                  <c:v>44604</c:v>
                </c:pt>
                <c:pt idx="409">
                  <c:v>44605</c:v>
                </c:pt>
                <c:pt idx="410">
                  <c:v>44606</c:v>
                </c:pt>
                <c:pt idx="411">
                  <c:v>44607</c:v>
                </c:pt>
                <c:pt idx="412">
                  <c:v>44608</c:v>
                </c:pt>
                <c:pt idx="413">
                  <c:v>44609</c:v>
                </c:pt>
                <c:pt idx="414">
                  <c:v>44610</c:v>
                </c:pt>
                <c:pt idx="415">
                  <c:v>44611</c:v>
                </c:pt>
                <c:pt idx="416">
                  <c:v>44612</c:v>
                </c:pt>
                <c:pt idx="417">
                  <c:v>44613</c:v>
                </c:pt>
                <c:pt idx="418">
                  <c:v>44614</c:v>
                </c:pt>
                <c:pt idx="419">
                  <c:v>44615</c:v>
                </c:pt>
                <c:pt idx="420">
                  <c:v>44616</c:v>
                </c:pt>
                <c:pt idx="421">
                  <c:v>44617</c:v>
                </c:pt>
                <c:pt idx="422">
                  <c:v>44618</c:v>
                </c:pt>
                <c:pt idx="423">
                  <c:v>44619</c:v>
                </c:pt>
                <c:pt idx="424">
                  <c:v>44620</c:v>
                </c:pt>
                <c:pt idx="425">
                  <c:v>44621</c:v>
                </c:pt>
                <c:pt idx="426">
                  <c:v>44622</c:v>
                </c:pt>
                <c:pt idx="427">
                  <c:v>44623</c:v>
                </c:pt>
                <c:pt idx="428">
                  <c:v>44624</c:v>
                </c:pt>
                <c:pt idx="429">
                  <c:v>44625</c:v>
                </c:pt>
                <c:pt idx="430">
                  <c:v>44626</c:v>
                </c:pt>
                <c:pt idx="431">
                  <c:v>44627</c:v>
                </c:pt>
                <c:pt idx="432">
                  <c:v>44628</c:v>
                </c:pt>
                <c:pt idx="433">
                  <c:v>44629</c:v>
                </c:pt>
                <c:pt idx="434">
                  <c:v>44630</c:v>
                </c:pt>
                <c:pt idx="435">
                  <c:v>44631</c:v>
                </c:pt>
                <c:pt idx="436">
                  <c:v>44632</c:v>
                </c:pt>
                <c:pt idx="437">
                  <c:v>44633</c:v>
                </c:pt>
                <c:pt idx="438">
                  <c:v>44634</c:v>
                </c:pt>
                <c:pt idx="439">
                  <c:v>44635</c:v>
                </c:pt>
                <c:pt idx="440">
                  <c:v>44636</c:v>
                </c:pt>
                <c:pt idx="441">
                  <c:v>44637</c:v>
                </c:pt>
                <c:pt idx="442">
                  <c:v>44638</c:v>
                </c:pt>
                <c:pt idx="443">
                  <c:v>44639</c:v>
                </c:pt>
                <c:pt idx="444">
                  <c:v>44640</c:v>
                </c:pt>
                <c:pt idx="445">
                  <c:v>44641</c:v>
                </c:pt>
                <c:pt idx="446">
                  <c:v>44642</c:v>
                </c:pt>
                <c:pt idx="447">
                  <c:v>44643</c:v>
                </c:pt>
                <c:pt idx="448">
                  <c:v>44644</c:v>
                </c:pt>
                <c:pt idx="449">
                  <c:v>44645</c:v>
                </c:pt>
                <c:pt idx="450">
                  <c:v>44646</c:v>
                </c:pt>
                <c:pt idx="451">
                  <c:v>44647</c:v>
                </c:pt>
                <c:pt idx="452">
                  <c:v>44648</c:v>
                </c:pt>
                <c:pt idx="453">
                  <c:v>44649</c:v>
                </c:pt>
                <c:pt idx="454">
                  <c:v>44650</c:v>
                </c:pt>
                <c:pt idx="455">
                  <c:v>44651</c:v>
                </c:pt>
                <c:pt idx="456">
                  <c:v>44652</c:v>
                </c:pt>
                <c:pt idx="457">
                  <c:v>44653</c:v>
                </c:pt>
                <c:pt idx="458">
                  <c:v>44654</c:v>
                </c:pt>
                <c:pt idx="459">
                  <c:v>44655</c:v>
                </c:pt>
                <c:pt idx="460">
                  <c:v>44656</c:v>
                </c:pt>
                <c:pt idx="461">
                  <c:v>44657</c:v>
                </c:pt>
                <c:pt idx="462">
                  <c:v>44658</c:v>
                </c:pt>
                <c:pt idx="463">
                  <c:v>44659</c:v>
                </c:pt>
                <c:pt idx="464">
                  <c:v>44660</c:v>
                </c:pt>
                <c:pt idx="465">
                  <c:v>44661</c:v>
                </c:pt>
                <c:pt idx="466">
                  <c:v>44662</c:v>
                </c:pt>
                <c:pt idx="467">
                  <c:v>44663</c:v>
                </c:pt>
                <c:pt idx="468">
                  <c:v>44664</c:v>
                </c:pt>
                <c:pt idx="469">
                  <c:v>44665</c:v>
                </c:pt>
                <c:pt idx="470">
                  <c:v>44666</c:v>
                </c:pt>
                <c:pt idx="471">
                  <c:v>44667</c:v>
                </c:pt>
                <c:pt idx="472">
                  <c:v>44668</c:v>
                </c:pt>
                <c:pt idx="473">
                  <c:v>44669</c:v>
                </c:pt>
                <c:pt idx="474">
                  <c:v>44670</c:v>
                </c:pt>
                <c:pt idx="475">
                  <c:v>44671</c:v>
                </c:pt>
                <c:pt idx="476">
                  <c:v>44672</c:v>
                </c:pt>
                <c:pt idx="477">
                  <c:v>44673</c:v>
                </c:pt>
                <c:pt idx="478">
                  <c:v>44674</c:v>
                </c:pt>
                <c:pt idx="479">
                  <c:v>44675</c:v>
                </c:pt>
                <c:pt idx="480">
                  <c:v>44676</c:v>
                </c:pt>
                <c:pt idx="481">
                  <c:v>44677</c:v>
                </c:pt>
                <c:pt idx="482">
                  <c:v>44678</c:v>
                </c:pt>
                <c:pt idx="483">
                  <c:v>44679</c:v>
                </c:pt>
                <c:pt idx="484">
                  <c:v>44680</c:v>
                </c:pt>
                <c:pt idx="485">
                  <c:v>44681</c:v>
                </c:pt>
                <c:pt idx="486">
                  <c:v>44682</c:v>
                </c:pt>
                <c:pt idx="487">
                  <c:v>44683</c:v>
                </c:pt>
                <c:pt idx="488">
                  <c:v>44684</c:v>
                </c:pt>
                <c:pt idx="489">
                  <c:v>44685</c:v>
                </c:pt>
                <c:pt idx="490">
                  <c:v>44686</c:v>
                </c:pt>
                <c:pt idx="491">
                  <c:v>44687</c:v>
                </c:pt>
                <c:pt idx="492">
                  <c:v>44688</c:v>
                </c:pt>
                <c:pt idx="493">
                  <c:v>44689</c:v>
                </c:pt>
                <c:pt idx="494">
                  <c:v>44690</c:v>
                </c:pt>
                <c:pt idx="495">
                  <c:v>44691</c:v>
                </c:pt>
                <c:pt idx="496">
                  <c:v>44692</c:v>
                </c:pt>
                <c:pt idx="497">
                  <c:v>44693</c:v>
                </c:pt>
                <c:pt idx="498">
                  <c:v>44694</c:v>
                </c:pt>
                <c:pt idx="499">
                  <c:v>44695</c:v>
                </c:pt>
                <c:pt idx="500">
                  <c:v>44696</c:v>
                </c:pt>
                <c:pt idx="501">
                  <c:v>44697</c:v>
                </c:pt>
                <c:pt idx="502">
                  <c:v>44698</c:v>
                </c:pt>
                <c:pt idx="503">
                  <c:v>44699</c:v>
                </c:pt>
                <c:pt idx="504">
                  <c:v>44700</c:v>
                </c:pt>
                <c:pt idx="505">
                  <c:v>44701</c:v>
                </c:pt>
                <c:pt idx="506">
                  <c:v>44702</c:v>
                </c:pt>
                <c:pt idx="507">
                  <c:v>44703</c:v>
                </c:pt>
                <c:pt idx="508">
                  <c:v>44704</c:v>
                </c:pt>
                <c:pt idx="509">
                  <c:v>44705</c:v>
                </c:pt>
                <c:pt idx="510">
                  <c:v>44706</c:v>
                </c:pt>
                <c:pt idx="511">
                  <c:v>44707</c:v>
                </c:pt>
                <c:pt idx="512">
                  <c:v>44708</c:v>
                </c:pt>
                <c:pt idx="513">
                  <c:v>44709</c:v>
                </c:pt>
                <c:pt idx="514">
                  <c:v>44710</c:v>
                </c:pt>
                <c:pt idx="515">
                  <c:v>44711</c:v>
                </c:pt>
                <c:pt idx="516">
                  <c:v>44712</c:v>
                </c:pt>
                <c:pt idx="517">
                  <c:v>44713</c:v>
                </c:pt>
                <c:pt idx="518">
                  <c:v>44714</c:v>
                </c:pt>
                <c:pt idx="519">
                  <c:v>44715</c:v>
                </c:pt>
                <c:pt idx="520">
                  <c:v>44716</c:v>
                </c:pt>
                <c:pt idx="521">
                  <c:v>44717</c:v>
                </c:pt>
                <c:pt idx="522">
                  <c:v>44718</c:v>
                </c:pt>
                <c:pt idx="523">
                  <c:v>44719</c:v>
                </c:pt>
                <c:pt idx="524">
                  <c:v>44720</c:v>
                </c:pt>
                <c:pt idx="525">
                  <c:v>44721</c:v>
                </c:pt>
                <c:pt idx="526">
                  <c:v>44722</c:v>
                </c:pt>
                <c:pt idx="527">
                  <c:v>44723</c:v>
                </c:pt>
                <c:pt idx="528">
                  <c:v>44724</c:v>
                </c:pt>
                <c:pt idx="529">
                  <c:v>44725</c:v>
                </c:pt>
                <c:pt idx="530">
                  <c:v>44726</c:v>
                </c:pt>
                <c:pt idx="531">
                  <c:v>44727</c:v>
                </c:pt>
                <c:pt idx="532">
                  <c:v>44728</c:v>
                </c:pt>
                <c:pt idx="533">
                  <c:v>44729</c:v>
                </c:pt>
                <c:pt idx="534">
                  <c:v>44730</c:v>
                </c:pt>
                <c:pt idx="535">
                  <c:v>44731</c:v>
                </c:pt>
                <c:pt idx="536">
                  <c:v>44732</c:v>
                </c:pt>
                <c:pt idx="537">
                  <c:v>44733</c:v>
                </c:pt>
                <c:pt idx="538">
                  <c:v>44734</c:v>
                </c:pt>
                <c:pt idx="539">
                  <c:v>44735</c:v>
                </c:pt>
                <c:pt idx="540">
                  <c:v>44736</c:v>
                </c:pt>
                <c:pt idx="541">
                  <c:v>44737</c:v>
                </c:pt>
                <c:pt idx="542">
                  <c:v>44738</c:v>
                </c:pt>
                <c:pt idx="543">
                  <c:v>44739</c:v>
                </c:pt>
                <c:pt idx="544">
                  <c:v>44740</c:v>
                </c:pt>
                <c:pt idx="545">
                  <c:v>44741</c:v>
                </c:pt>
                <c:pt idx="546">
                  <c:v>44742</c:v>
                </c:pt>
                <c:pt idx="547">
                  <c:v>44743</c:v>
                </c:pt>
                <c:pt idx="548">
                  <c:v>44744</c:v>
                </c:pt>
                <c:pt idx="549">
                  <c:v>44745</c:v>
                </c:pt>
                <c:pt idx="550">
                  <c:v>44746</c:v>
                </c:pt>
                <c:pt idx="551">
                  <c:v>44747</c:v>
                </c:pt>
                <c:pt idx="552">
                  <c:v>44748</c:v>
                </c:pt>
                <c:pt idx="553">
                  <c:v>44749</c:v>
                </c:pt>
                <c:pt idx="554">
                  <c:v>44750</c:v>
                </c:pt>
                <c:pt idx="555">
                  <c:v>44751</c:v>
                </c:pt>
                <c:pt idx="556">
                  <c:v>44752</c:v>
                </c:pt>
                <c:pt idx="557">
                  <c:v>44753</c:v>
                </c:pt>
                <c:pt idx="558">
                  <c:v>44754</c:v>
                </c:pt>
                <c:pt idx="559">
                  <c:v>44755</c:v>
                </c:pt>
                <c:pt idx="560">
                  <c:v>44756</c:v>
                </c:pt>
                <c:pt idx="561">
                  <c:v>44757</c:v>
                </c:pt>
                <c:pt idx="562">
                  <c:v>44758</c:v>
                </c:pt>
                <c:pt idx="563">
                  <c:v>44759</c:v>
                </c:pt>
                <c:pt idx="564">
                  <c:v>44760</c:v>
                </c:pt>
                <c:pt idx="565">
                  <c:v>44761</c:v>
                </c:pt>
                <c:pt idx="566">
                  <c:v>44762</c:v>
                </c:pt>
                <c:pt idx="567">
                  <c:v>44763</c:v>
                </c:pt>
                <c:pt idx="568">
                  <c:v>44764</c:v>
                </c:pt>
                <c:pt idx="569">
                  <c:v>44765</c:v>
                </c:pt>
                <c:pt idx="570">
                  <c:v>44766</c:v>
                </c:pt>
                <c:pt idx="571">
                  <c:v>44767</c:v>
                </c:pt>
                <c:pt idx="572">
                  <c:v>44768</c:v>
                </c:pt>
                <c:pt idx="573">
                  <c:v>44769</c:v>
                </c:pt>
                <c:pt idx="574">
                  <c:v>44770</c:v>
                </c:pt>
                <c:pt idx="575">
                  <c:v>44771</c:v>
                </c:pt>
                <c:pt idx="576">
                  <c:v>44772</c:v>
                </c:pt>
                <c:pt idx="577">
                  <c:v>44773</c:v>
                </c:pt>
                <c:pt idx="578">
                  <c:v>44774</c:v>
                </c:pt>
                <c:pt idx="579">
                  <c:v>44775</c:v>
                </c:pt>
                <c:pt idx="580">
                  <c:v>44776</c:v>
                </c:pt>
                <c:pt idx="581">
                  <c:v>44777</c:v>
                </c:pt>
                <c:pt idx="582">
                  <c:v>44778</c:v>
                </c:pt>
                <c:pt idx="583">
                  <c:v>44779</c:v>
                </c:pt>
                <c:pt idx="584">
                  <c:v>44780</c:v>
                </c:pt>
                <c:pt idx="585">
                  <c:v>44781</c:v>
                </c:pt>
                <c:pt idx="586">
                  <c:v>44782</c:v>
                </c:pt>
                <c:pt idx="587">
                  <c:v>44783</c:v>
                </c:pt>
                <c:pt idx="588">
                  <c:v>44784</c:v>
                </c:pt>
                <c:pt idx="589">
                  <c:v>44785</c:v>
                </c:pt>
                <c:pt idx="590">
                  <c:v>44786</c:v>
                </c:pt>
                <c:pt idx="591">
                  <c:v>44787</c:v>
                </c:pt>
                <c:pt idx="592">
                  <c:v>44788</c:v>
                </c:pt>
                <c:pt idx="593">
                  <c:v>44789</c:v>
                </c:pt>
                <c:pt idx="594">
                  <c:v>44790</c:v>
                </c:pt>
                <c:pt idx="595">
                  <c:v>44791</c:v>
                </c:pt>
                <c:pt idx="596">
                  <c:v>44792</c:v>
                </c:pt>
                <c:pt idx="597">
                  <c:v>44793</c:v>
                </c:pt>
                <c:pt idx="598">
                  <c:v>44794</c:v>
                </c:pt>
                <c:pt idx="599">
                  <c:v>44795</c:v>
                </c:pt>
                <c:pt idx="600">
                  <c:v>44796</c:v>
                </c:pt>
                <c:pt idx="601">
                  <c:v>44797</c:v>
                </c:pt>
                <c:pt idx="602">
                  <c:v>44798</c:v>
                </c:pt>
                <c:pt idx="603">
                  <c:v>44799</c:v>
                </c:pt>
                <c:pt idx="604">
                  <c:v>44800</c:v>
                </c:pt>
                <c:pt idx="605">
                  <c:v>44801</c:v>
                </c:pt>
                <c:pt idx="606">
                  <c:v>44802</c:v>
                </c:pt>
                <c:pt idx="607">
                  <c:v>44803</c:v>
                </c:pt>
                <c:pt idx="608">
                  <c:v>44804</c:v>
                </c:pt>
                <c:pt idx="609">
                  <c:v>44805</c:v>
                </c:pt>
                <c:pt idx="610">
                  <c:v>44806</c:v>
                </c:pt>
                <c:pt idx="611">
                  <c:v>44807</c:v>
                </c:pt>
                <c:pt idx="612">
                  <c:v>44808</c:v>
                </c:pt>
                <c:pt idx="613">
                  <c:v>44809</c:v>
                </c:pt>
                <c:pt idx="614">
                  <c:v>44810</c:v>
                </c:pt>
                <c:pt idx="615">
                  <c:v>44811</c:v>
                </c:pt>
                <c:pt idx="616">
                  <c:v>44812</c:v>
                </c:pt>
                <c:pt idx="617">
                  <c:v>44813</c:v>
                </c:pt>
                <c:pt idx="618">
                  <c:v>44814</c:v>
                </c:pt>
                <c:pt idx="619">
                  <c:v>44815</c:v>
                </c:pt>
                <c:pt idx="620">
                  <c:v>44816</c:v>
                </c:pt>
                <c:pt idx="621">
                  <c:v>44817</c:v>
                </c:pt>
                <c:pt idx="622">
                  <c:v>44818</c:v>
                </c:pt>
                <c:pt idx="623">
                  <c:v>44819</c:v>
                </c:pt>
                <c:pt idx="624">
                  <c:v>44820</c:v>
                </c:pt>
                <c:pt idx="625">
                  <c:v>44821</c:v>
                </c:pt>
                <c:pt idx="626">
                  <c:v>44822</c:v>
                </c:pt>
                <c:pt idx="627">
                  <c:v>44823</c:v>
                </c:pt>
                <c:pt idx="628">
                  <c:v>44824</c:v>
                </c:pt>
                <c:pt idx="629">
                  <c:v>44825</c:v>
                </c:pt>
                <c:pt idx="630">
                  <c:v>44826</c:v>
                </c:pt>
                <c:pt idx="631">
                  <c:v>44827</c:v>
                </c:pt>
                <c:pt idx="632">
                  <c:v>44828</c:v>
                </c:pt>
                <c:pt idx="633">
                  <c:v>44829</c:v>
                </c:pt>
                <c:pt idx="634">
                  <c:v>44830</c:v>
                </c:pt>
                <c:pt idx="635">
                  <c:v>44831</c:v>
                </c:pt>
                <c:pt idx="636">
                  <c:v>44832</c:v>
                </c:pt>
                <c:pt idx="637">
                  <c:v>44833</c:v>
                </c:pt>
                <c:pt idx="638">
                  <c:v>44834</c:v>
                </c:pt>
                <c:pt idx="639">
                  <c:v>44835</c:v>
                </c:pt>
                <c:pt idx="640">
                  <c:v>44836</c:v>
                </c:pt>
                <c:pt idx="641">
                  <c:v>44837</c:v>
                </c:pt>
                <c:pt idx="642">
                  <c:v>44838</c:v>
                </c:pt>
                <c:pt idx="643">
                  <c:v>44839</c:v>
                </c:pt>
                <c:pt idx="644">
                  <c:v>44840</c:v>
                </c:pt>
                <c:pt idx="645">
                  <c:v>44841</c:v>
                </c:pt>
                <c:pt idx="646">
                  <c:v>44842</c:v>
                </c:pt>
                <c:pt idx="647">
                  <c:v>44843</c:v>
                </c:pt>
                <c:pt idx="648">
                  <c:v>44844</c:v>
                </c:pt>
                <c:pt idx="649">
                  <c:v>44845</c:v>
                </c:pt>
                <c:pt idx="650">
                  <c:v>44846</c:v>
                </c:pt>
                <c:pt idx="651">
                  <c:v>44847</c:v>
                </c:pt>
                <c:pt idx="652">
                  <c:v>44848</c:v>
                </c:pt>
                <c:pt idx="653">
                  <c:v>44849</c:v>
                </c:pt>
                <c:pt idx="654">
                  <c:v>44850</c:v>
                </c:pt>
                <c:pt idx="655">
                  <c:v>44851</c:v>
                </c:pt>
                <c:pt idx="656">
                  <c:v>44852</c:v>
                </c:pt>
                <c:pt idx="657">
                  <c:v>44853</c:v>
                </c:pt>
                <c:pt idx="658">
                  <c:v>44854</c:v>
                </c:pt>
                <c:pt idx="659">
                  <c:v>44855</c:v>
                </c:pt>
                <c:pt idx="660">
                  <c:v>44856</c:v>
                </c:pt>
                <c:pt idx="661">
                  <c:v>44857</c:v>
                </c:pt>
                <c:pt idx="662">
                  <c:v>44858</c:v>
                </c:pt>
                <c:pt idx="663">
                  <c:v>44859</c:v>
                </c:pt>
                <c:pt idx="664">
                  <c:v>44860</c:v>
                </c:pt>
                <c:pt idx="665">
                  <c:v>44861</c:v>
                </c:pt>
                <c:pt idx="666">
                  <c:v>44862</c:v>
                </c:pt>
                <c:pt idx="667">
                  <c:v>44863</c:v>
                </c:pt>
                <c:pt idx="668">
                  <c:v>44864</c:v>
                </c:pt>
                <c:pt idx="669">
                  <c:v>44865</c:v>
                </c:pt>
                <c:pt idx="670">
                  <c:v>44866</c:v>
                </c:pt>
                <c:pt idx="671">
                  <c:v>44867</c:v>
                </c:pt>
                <c:pt idx="672">
                  <c:v>44868</c:v>
                </c:pt>
                <c:pt idx="673">
                  <c:v>44869</c:v>
                </c:pt>
                <c:pt idx="674">
                  <c:v>44870</c:v>
                </c:pt>
                <c:pt idx="675">
                  <c:v>44871</c:v>
                </c:pt>
                <c:pt idx="676">
                  <c:v>44872</c:v>
                </c:pt>
                <c:pt idx="677">
                  <c:v>44873</c:v>
                </c:pt>
                <c:pt idx="678">
                  <c:v>44874</c:v>
                </c:pt>
                <c:pt idx="679">
                  <c:v>44875</c:v>
                </c:pt>
                <c:pt idx="680">
                  <c:v>44876</c:v>
                </c:pt>
                <c:pt idx="681">
                  <c:v>44877</c:v>
                </c:pt>
                <c:pt idx="682">
                  <c:v>44878</c:v>
                </c:pt>
                <c:pt idx="683">
                  <c:v>44879</c:v>
                </c:pt>
                <c:pt idx="684">
                  <c:v>44880</c:v>
                </c:pt>
                <c:pt idx="685">
                  <c:v>44881</c:v>
                </c:pt>
                <c:pt idx="686">
                  <c:v>44882</c:v>
                </c:pt>
                <c:pt idx="687">
                  <c:v>44883</c:v>
                </c:pt>
                <c:pt idx="688">
                  <c:v>44884</c:v>
                </c:pt>
                <c:pt idx="689">
                  <c:v>44885</c:v>
                </c:pt>
                <c:pt idx="690">
                  <c:v>44886</c:v>
                </c:pt>
                <c:pt idx="691">
                  <c:v>44887</c:v>
                </c:pt>
                <c:pt idx="692">
                  <c:v>44888</c:v>
                </c:pt>
                <c:pt idx="693">
                  <c:v>44889</c:v>
                </c:pt>
                <c:pt idx="694">
                  <c:v>44890</c:v>
                </c:pt>
                <c:pt idx="695">
                  <c:v>44891</c:v>
                </c:pt>
                <c:pt idx="696">
                  <c:v>44892</c:v>
                </c:pt>
                <c:pt idx="697">
                  <c:v>44893</c:v>
                </c:pt>
                <c:pt idx="698">
                  <c:v>44894</c:v>
                </c:pt>
                <c:pt idx="699">
                  <c:v>44895</c:v>
                </c:pt>
                <c:pt idx="700">
                  <c:v>44896</c:v>
                </c:pt>
                <c:pt idx="701">
                  <c:v>44897</c:v>
                </c:pt>
                <c:pt idx="702">
                  <c:v>44898</c:v>
                </c:pt>
                <c:pt idx="703">
                  <c:v>44899</c:v>
                </c:pt>
                <c:pt idx="704">
                  <c:v>44900</c:v>
                </c:pt>
                <c:pt idx="705">
                  <c:v>44901</c:v>
                </c:pt>
                <c:pt idx="706">
                  <c:v>44902</c:v>
                </c:pt>
                <c:pt idx="707">
                  <c:v>44903</c:v>
                </c:pt>
                <c:pt idx="708">
                  <c:v>44904</c:v>
                </c:pt>
                <c:pt idx="709">
                  <c:v>44905</c:v>
                </c:pt>
                <c:pt idx="710">
                  <c:v>44906</c:v>
                </c:pt>
                <c:pt idx="711">
                  <c:v>44907</c:v>
                </c:pt>
                <c:pt idx="712">
                  <c:v>44908</c:v>
                </c:pt>
                <c:pt idx="713">
                  <c:v>44909</c:v>
                </c:pt>
                <c:pt idx="714">
                  <c:v>44910</c:v>
                </c:pt>
                <c:pt idx="715">
                  <c:v>44911</c:v>
                </c:pt>
                <c:pt idx="716">
                  <c:v>44912</c:v>
                </c:pt>
                <c:pt idx="717">
                  <c:v>44913</c:v>
                </c:pt>
                <c:pt idx="718">
                  <c:v>44914</c:v>
                </c:pt>
                <c:pt idx="719">
                  <c:v>44915</c:v>
                </c:pt>
                <c:pt idx="720">
                  <c:v>44916</c:v>
                </c:pt>
                <c:pt idx="721">
                  <c:v>44917</c:v>
                </c:pt>
                <c:pt idx="722">
                  <c:v>44918</c:v>
                </c:pt>
                <c:pt idx="723">
                  <c:v>44919</c:v>
                </c:pt>
                <c:pt idx="724">
                  <c:v>44920</c:v>
                </c:pt>
                <c:pt idx="725">
                  <c:v>44921</c:v>
                </c:pt>
                <c:pt idx="726">
                  <c:v>44922</c:v>
                </c:pt>
                <c:pt idx="727">
                  <c:v>44923</c:v>
                </c:pt>
                <c:pt idx="728">
                  <c:v>44924</c:v>
                </c:pt>
                <c:pt idx="729">
                  <c:v>44925</c:v>
                </c:pt>
                <c:pt idx="730">
                  <c:v>44926</c:v>
                </c:pt>
                <c:pt idx="731">
                  <c:v>44927</c:v>
                </c:pt>
                <c:pt idx="732">
                  <c:v>44928</c:v>
                </c:pt>
                <c:pt idx="733">
                  <c:v>44929</c:v>
                </c:pt>
                <c:pt idx="734">
                  <c:v>44930</c:v>
                </c:pt>
                <c:pt idx="735">
                  <c:v>44931</c:v>
                </c:pt>
                <c:pt idx="736">
                  <c:v>44932</c:v>
                </c:pt>
                <c:pt idx="737">
                  <c:v>44933</c:v>
                </c:pt>
                <c:pt idx="738">
                  <c:v>44934</c:v>
                </c:pt>
                <c:pt idx="739">
                  <c:v>44935</c:v>
                </c:pt>
                <c:pt idx="740">
                  <c:v>44936</c:v>
                </c:pt>
                <c:pt idx="741">
                  <c:v>44937</c:v>
                </c:pt>
                <c:pt idx="742">
                  <c:v>44938</c:v>
                </c:pt>
                <c:pt idx="743">
                  <c:v>44939</c:v>
                </c:pt>
                <c:pt idx="744">
                  <c:v>44940</c:v>
                </c:pt>
                <c:pt idx="745">
                  <c:v>44941</c:v>
                </c:pt>
                <c:pt idx="746">
                  <c:v>44942</c:v>
                </c:pt>
                <c:pt idx="747">
                  <c:v>44943</c:v>
                </c:pt>
                <c:pt idx="748">
                  <c:v>44944</c:v>
                </c:pt>
                <c:pt idx="749">
                  <c:v>44945</c:v>
                </c:pt>
                <c:pt idx="750">
                  <c:v>44946</c:v>
                </c:pt>
                <c:pt idx="751">
                  <c:v>44947</c:v>
                </c:pt>
                <c:pt idx="752">
                  <c:v>44948</c:v>
                </c:pt>
                <c:pt idx="753">
                  <c:v>44949</c:v>
                </c:pt>
                <c:pt idx="754">
                  <c:v>44950</c:v>
                </c:pt>
                <c:pt idx="755">
                  <c:v>44951</c:v>
                </c:pt>
                <c:pt idx="756">
                  <c:v>44952</c:v>
                </c:pt>
                <c:pt idx="757">
                  <c:v>44953</c:v>
                </c:pt>
                <c:pt idx="758">
                  <c:v>44954</c:v>
                </c:pt>
                <c:pt idx="759">
                  <c:v>44955</c:v>
                </c:pt>
                <c:pt idx="760">
                  <c:v>44956</c:v>
                </c:pt>
                <c:pt idx="761">
                  <c:v>44957</c:v>
                </c:pt>
                <c:pt idx="762">
                  <c:v>44958</c:v>
                </c:pt>
                <c:pt idx="763">
                  <c:v>44959</c:v>
                </c:pt>
                <c:pt idx="764">
                  <c:v>44960</c:v>
                </c:pt>
                <c:pt idx="765">
                  <c:v>44961</c:v>
                </c:pt>
                <c:pt idx="766">
                  <c:v>44962</c:v>
                </c:pt>
                <c:pt idx="767">
                  <c:v>44963</c:v>
                </c:pt>
                <c:pt idx="768">
                  <c:v>44964</c:v>
                </c:pt>
                <c:pt idx="769">
                  <c:v>44965</c:v>
                </c:pt>
                <c:pt idx="770">
                  <c:v>44966</c:v>
                </c:pt>
                <c:pt idx="771">
                  <c:v>44967</c:v>
                </c:pt>
                <c:pt idx="772">
                  <c:v>44968</c:v>
                </c:pt>
                <c:pt idx="773">
                  <c:v>44969</c:v>
                </c:pt>
                <c:pt idx="774">
                  <c:v>44970</c:v>
                </c:pt>
                <c:pt idx="775">
                  <c:v>44971</c:v>
                </c:pt>
                <c:pt idx="776">
                  <c:v>44972</c:v>
                </c:pt>
                <c:pt idx="777">
                  <c:v>44973</c:v>
                </c:pt>
                <c:pt idx="778">
                  <c:v>44974</c:v>
                </c:pt>
                <c:pt idx="779">
                  <c:v>44975</c:v>
                </c:pt>
                <c:pt idx="780">
                  <c:v>44976</c:v>
                </c:pt>
                <c:pt idx="781">
                  <c:v>44977</c:v>
                </c:pt>
                <c:pt idx="782">
                  <c:v>44978</c:v>
                </c:pt>
                <c:pt idx="783">
                  <c:v>44979</c:v>
                </c:pt>
                <c:pt idx="784">
                  <c:v>44980</c:v>
                </c:pt>
                <c:pt idx="785">
                  <c:v>44981</c:v>
                </c:pt>
                <c:pt idx="786">
                  <c:v>44982</c:v>
                </c:pt>
                <c:pt idx="787">
                  <c:v>44983</c:v>
                </c:pt>
                <c:pt idx="788">
                  <c:v>44984</c:v>
                </c:pt>
                <c:pt idx="789">
                  <c:v>44985</c:v>
                </c:pt>
                <c:pt idx="790">
                  <c:v>44986</c:v>
                </c:pt>
                <c:pt idx="791">
                  <c:v>44987</c:v>
                </c:pt>
                <c:pt idx="792">
                  <c:v>44988</c:v>
                </c:pt>
                <c:pt idx="793">
                  <c:v>44989</c:v>
                </c:pt>
                <c:pt idx="794">
                  <c:v>44990</c:v>
                </c:pt>
                <c:pt idx="795">
                  <c:v>44991</c:v>
                </c:pt>
                <c:pt idx="796">
                  <c:v>44992</c:v>
                </c:pt>
                <c:pt idx="797">
                  <c:v>44993</c:v>
                </c:pt>
                <c:pt idx="798">
                  <c:v>44994</c:v>
                </c:pt>
                <c:pt idx="799">
                  <c:v>44995</c:v>
                </c:pt>
                <c:pt idx="800">
                  <c:v>44996</c:v>
                </c:pt>
                <c:pt idx="801">
                  <c:v>44997</c:v>
                </c:pt>
                <c:pt idx="802">
                  <c:v>44998</c:v>
                </c:pt>
                <c:pt idx="803">
                  <c:v>44999</c:v>
                </c:pt>
                <c:pt idx="804">
                  <c:v>45000</c:v>
                </c:pt>
                <c:pt idx="805">
                  <c:v>45001</c:v>
                </c:pt>
                <c:pt idx="806">
                  <c:v>45002</c:v>
                </c:pt>
                <c:pt idx="807">
                  <c:v>45003</c:v>
                </c:pt>
                <c:pt idx="808">
                  <c:v>45004</c:v>
                </c:pt>
                <c:pt idx="809">
                  <c:v>45005</c:v>
                </c:pt>
                <c:pt idx="810">
                  <c:v>45006</c:v>
                </c:pt>
                <c:pt idx="811">
                  <c:v>45007</c:v>
                </c:pt>
                <c:pt idx="812">
                  <c:v>45008</c:v>
                </c:pt>
                <c:pt idx="813">
                  <c:v>45009</c:v>
                </c:pt>
                <c:pt idx="814">
                  <c:v>45010</c:v>
                </c:pt>
                <c:pt idx="815">
                  <c:v>45011</c:v>
                </c:pt>
                <c:pt idx="816">
                  <c:v>45012</c:v>
                </c:pt>
                <c:pt idx="817">
                  <c:v>45013</c:v>
                </c:pt>
                <c:pt idx="818">
                  <c:v>45014</c:v>
                </c:pt>
                <c:pt idx="819">
                  <c:v>45015</c:v>
                </c:pt>
                <c:pt idx="820">
                  <c:v>45016</c:v>
                </c:pt>
                <c:pt idx="821">
                  <c:v>45017</c:v>
                </c:pt>
                <c:pt idx="822">
                  <c:v>45018</c:v>
                </c:pt>
                <c:pt idx="823">
                  <c:v>45019</c:v>
                </c:pt>
                <c:pt idx="824">
                  <c:v>45020</c:v>
                </c:pt>
                <c:pt idx="825">
                  <c:v>45021</c:v>
                </c:pt>
                <c:pt idx="826">
                  <c:v>45022</c:v>
                </c:pt>
                <c:pt idx="827">
                  <c:v>45023</c:v>
                </c:pt>
                <c:pt idx="828">
                  <c:v>45024</c:v>
                </c:pt>
                <c:pt idx="829">
                  <c:v>45025</c:v>
                </c:pt>
                <c:pt idx="830">
                  <c:v>45026</c:v>
                </c:pt>
                <c:pt idx="831">
                  <c:v>45027</c:v>
                </c:pt>
                <c:pt idx="832">
                  <c:v>45028</c:v>
                </c:pt>
                <c:pt idx="833">
                  <c:v>45029</c:v>
                </c:pt>
                <c:pt idx="834">
                  <c:v>45030</c:v>
                </c:pt>
                <c:pt idx="835">
                  <c:v>45031</c:v>
                </c:pt>
                <c:pt idx="836">
                  <c:v>45032</c:v>
                </c:pt>
                <c:pt idx="837">
                  <c:v>45033</c:v>
                </c:pt>
                <c:pt idx="838">
                  <c:v>45034</c:v>
                </c:pt>
                <c:pt idx="839">
                  <c:v>45035</c:v>
                </c:pt>
                <c:pt idx="840">
                  <c:v>45036</c:v>
                </c:pt>
                <c:pt idx="841">
                  <c:v>45037</c:v>
                </c:pt>
                <c:pt idx="842">
                  <c:v>45038</c:v>
                </c:pt>
                <c:pt idx="843">
                  <c:v>45039</c:v>
                </c:pt>
                <c:pt idx="844">
                  <c:v>45040</c:v>
                </c:pt>
                <c:pt idx="845">
                  <c:v>45041</c:v>
                </c:pt>
                <c:pt idx="846">
                  <c:v>45042</c:v>
                </c:pt>
                <c:pt idx="847">
                  <c:v>45043</c:v>
                </c:pt>
                <c:pt idx="848">
                  <c:v>45044</c:v>
                </c:pt>
                <c:pt idx="849">
                  <c:v>45045</c:v>
                </c:pt>
                <c:pt idx="850">
                  <c:v>45046</c:v>
                </c:pt>
                <c:pt idx="851">
                  <c:v>45047</c:v>
                </c:pt>
                <c:pt idx="852">
                  <c:v>45048</c:v>
                </c:pt>
                <c:pt idx="853">
                  <c:v>45049</c:v>
                </c:pt>
                <c:pt idx="854">
                  <c:v>45050</c:v>
                </c:pt>
                <c:pt idx="855">
                  <c:v>45051</c:v>
                </c:pt>
                <c:pt idx="856">
                  <c:v>45052</c:v>
                </c:pt>
                <c:pt idx="857">
                  <c:v>45053</c:v>
                </c:pt>
                <c:pt idx="858">
                  <c:v>45054</c:v>
                </c:pt>
                <c:pt idx="859">
                  <c:v>45055</c:v>
                </c:pt>
                <c:pt idx="860">
                  <c:v>45056</c:v>
                </c:pt>
                <c:pt idx="861">
                  <c:v>45057</c:v>
                </c:pt>
                <c:pt idx="862">
                  <c:v>45058</c:v>
                </c:pt>
                <c:pt idx="863">
                  <c:v>45059</c:v>
                </c:pt>
                <c:pt idx="864">
                  <c:v>45060</c:v>
                </c:pt>
                <c:pt idx="865">
                  <c:v>45061</c:v>
                </c:pt>
                <c:pt idx="866">
                  <c:v>45062</c:v>
                </c:pt>
                <c:pt idx="867">
                  <c:v>45063</c:v>
                </c:pt>
                <c:pt idx="868">
                  <c:v>45064</c:v>
                </c:pt>
                <c:pt idx="869">
                  <c:v>45065</c:v>
                </c:pt>
                <c:pt idx="870">
                  <c:v>45066</c:v>
                </c:pt>
                <c:pt idx="871">
                  <c:v>45067</c:v>
                </c:pt>
                <c:pt idx="872">
                  <c:v>45068</c:v>
                </c:pt>
                <c:pt idx="873">
                  <c:v>45069</c:v>
                </c:pt>
                <c:pt idx="874">
                  <c:v>45070</c:v>
                </c:pt>
                <c:pt idx="875">
                  <c:v>45071</c:v>
                </c:pt>
                <c:pt idx="876">
                  <c:v>45072</c:v>
                </c:pt>
                <c:pt idx="877">
                  <c:v>45073</c:v>
                </c:pt>
                <c:pt idx="878">
                  <c:v>45074</c:v>
                </c:pt>
                <c:pt idx="879">
                  <c:v>45075</c:v>
                </c:pt>
                <c:pt idx="880">
                  <c:v>45076</c:v>
                </c:pt>
                <c:pt idx="881">
                  <c:v>45077</c:v>
                </c:pt>
                <c:pt idx="882">
                  <c:v>45078</c:v>
                </c:pt>
                <c:pt idx="883">
                  <c:v>45079</c:v>
                </c:pt>
                <c:pt idx="884">
                  <c:v>45080</c:v>
                </c:pt>
                <c:pt idx="885">
                  <c:v>45081</c:v>
                </c:pt>
                <c:pt idx="886">
                  <c:v>45082</c:v>
                </c:pt>
                <c:pt idx="887">
                  <c:v>45083</c:v>
                </c:pt>
                <c:pt idx="888">
                  <c:v>45084</c:v>
                </c:pt>
                <c:pt idx="889">
                  <c:v>45085</c:v>
                </c:pt>
                <c:pt idx="890">
                  <c:v>45086</c:v>
                </c:pt>
                <c:pt idx="891">
                  <c:v>45087</c:v>
                </c:pt>
                <c:pt idx="892">
                  <c:v>45088</c:v>
                </c:pt>
                <c:pt idx="893">
                  <c:v>45089</c:v>
                </c:pt>
                <c:pt idx="894">
                  <c:v>45090</c:v>
                </c:pt>
                <c:pt idx="895">
                  <c:v>45091</c:v>
                </c:pt>
                <c:pt idx="896">
                  <c:v>45092</c:v>
                </c:pt>
                <c:pt idx="897">
                  <c:v>45093</c:v>
                </c:pt>
                <c:pt idx="898">
                  <c:v>45094</c:v>
                </c:pt>
                <c:pt idx="899">
                  <c:v>45095</c:v>
                </c:pt>
                <c:pt idx="900">
                  <c:v>45096</c:v>
                </c:pt>
                <c:pt idx="901">
                  <c:v>45097</c:v>
                </c:pt>
                <c:pt idx="902">
                  <c:v>45098</c:v>
                </c:pt>
                <c:pt idx="903">
                  <c:v>45099</c:v>
                </c:pt>
                <c:pt idx="904">
                  <c:v>45100</c:v>
                </c:pt>
                <c:pt idx="905">
                  <c:v>45101</c:v>
                </c:pt>
                <c:pt idx="906">
                  <c:v>45102</c:v>
                </c:pt>
                <c:pt idx="907">
                  <c:v>45103</c:v>
                </c:pt>
                <c:pt idx="908">
                  <c:v>45104</c:v>
                </c:pt>
                <c:pt idx="909">
                  <c:v>45105</c:v>
                </c:pt>
                <c:pt idx="910">
                  <c:v>45106</c:v>
                </c:pt>
                <c:pt idx="911">
                  <c:v>45107</c:v>
                </c:pt>
                <c:pt idx="912">
                  <c:v>45108</c:v>
                </c:pt>
                <c:pt idx="913">
                  <c:v>45109</c:v>
                </c:pt>
                <c:pt idx="914">
                  <c:v>45110</c:v>
                </c:pt>
                <c:pt idx="915">
                  <c:v>45111</c:v>
                </c:pt>
                <c:pt idx="916">
                  <c:v>45112</c:v>
                </c:pt>
                <c:pt idx="917">
                  <c:v>45113</c:v>
                </c:pt>
                <c:pt idx="918">
                  <c:v>45114</c:v>
                </c:pt>
                <c:pt idx="919">
                  <c:v>45115</c:v>
                </c:pt>
                <c:pt idx="920">
                  <c:v>45116</c:v>
                </c:pt>
                <c:pt idx="921">
                  <c:v>45117</c:v>
                </c:pt>
                <c:pt idx="922">
                  <c:v>45118</c:v>
                </c:pt>
                <c:pt idx="923">
                  <c:v>45119</c:v>
                </c:pt>
                <c:pt idx="924">
                  <c:v>45120</c:v>
                </c:pt>
                <c:pt idx="925">
                  <c:v>45121</c:v>
                </c:pt>
                <c:pt idx="926">
                  <c:v>45122</c:v>
                </c:pt>
                <c:pt idx="927">
                  <c:v>45123</c:v>
                </c:pt>
                <c:pt idx="928">
                  <c:v>45124</c:v>
                </c:pt>
                <c:pt idx="929">
                  <c:v>45125</c:v>
                </c:pt>
                <c:pt idx="930">
                  <c:v>45126</c:v>
                </c:pt>
                <c:pt idx="931">
                  <c:v>45127</c:v>
                </c:pt>
                <c:pt idx="932">
                  <c:v>45128</c:v>
                </c:pt>
                <c:pt idx="933">
                  <c:v>45129</c:v>
                </c:pt>
                <c:pt idx="934">
                  <c:v>45130</c:v>
                </c:pt>
                <c:pt idx="935">
                  <c:v>45131</c:v>
                </c:pt>
                <c:pt idx="936">
                  <c:v>45132</c:v>
                </c:pt>
                <c:pt idx="937">
                  <c:v>45133</c:v>
                </c:pt>
                <c:pt idx="938">
                  <c:v>45134</c:v>
                </c:pt>
                <c:pt idx="939">
                  <c:v>45135</c:v>
                </c:pt>
                <c:pt idx="940">
                  <c:v>45136</c:v>
                </c:pt>
                <c:pt idx="941">
                  <c:v>45137</c:v>
                </c:pt>
                <c:pt idx="942">
                  <c:v>45138</c:v>
                </c:pt>
                <c:pt idx="943">
                  <c:v>45139</c:v>
                </c:pt>
                <c:pt idx="944">
                  <c:v>45140</c:v>
                </c:pt>
                <c:pt idx="945">
                  <c:v>45141</c:v>
                </c:pt>
                <c:pt idx="946">
                  <c:v>45142</c:v>
                </c:pt>
                <c:pt idx="947">
                  <c:v>45143</c:v>
                </c:pt>
                <c:pt idx="948">
                  <c:v>45144</c:v>
                </c:pt>
                <c:pt idx="949">
                  <c:v>45145</c:v>
                </c:pt>
                <c:pt idx="950">
                  <c:v>45146</c:v>
                </c:pt>
                <c:pt idx="951">
                  <c:v>45147</c:v>
                </c:pt>
                <c:pt idx="952">
                  <c:v>45148</c:v>
                </c:pt>
                <c:pt idx="953">
                  <c:v>45149</c:v>
                </c:pt>
                <c:pt idx="954">
                  <c:v>45150</c:v>
                </c:pt>
                <c:pt idx="955">
                  <c:v>45151</c:v>
                </c:pt>
                <c:pt idx="956">
                  <c:v>45152</c:v>
                </c:pt>
                <c:pt idx="957">
                  <c:v>45153</c:v>
                </c:pt>
                <c:pt idx="958">
                  <c:v>45154</c:v>
                </c:pt>
                <c:pt idx="959">
                  <c:v>45155</c:v>
                </c:pt>
                <c:pt idx="960">
                  <c:v>45156</c:v>
                </c:pt>
                <c:pt idx="961">
                  <c:v>45157</c:v>
                </c:pt>
                <c:pt idx="962">
                  <c:v>45158</c:v>
                </c:pt>
                <c:pt idx="963">
                  <c:v>45159</c:v>
                </c:pt>
                <c:pt idx="964">
                  <c:v>45160</c:v>
                </c:pt>
                <c:pt idx="965">
                  <c:v>45161</c:v>
                </c:pt>
                <c:pt idx="966">
                  <c:v>45162</c:v>
                </c:pt>
                <c:pt idx="967">
                  <c:v>45163</c:v>
                </c:pt>
                <c:pt idx="968">
                  <c:v>45164</c:v>
                </c:pt>
                <c:pt idx="969">
                  <c:v>45165</c:v>
                </c:pt>
                <c:pt idx="970">
                  <c:v>45166</c:v>
                </c:pt>
                <c:pt idx="971">
                  <c:v>45167</c:v>
                </c:pt>
                <c:pt idx="972">
                  <c:v>45168</c:v>
                </c:pt>
                <c:pt idx="973">
                  <c:v>45169</c:v>
                </c:pt>
                <c:pt idx="974">
                  <c:v>45170</c:v>
                </c:pt>
                <c:pt idx="975">
                  <c:v>45171</c:v>
                </c:pt>
                <c:pt idx="976">
                  <c:v>45172</c:v>
                </c:pt>
                <c:pt idx="977">
                  <c:v>45173</c:v>
                </c:pt>
                <c:pt idx="978">
                  <c:v>45174</c:v>
                </c:pt>
                <c:pt idx="979">
                  <c:v>45175</c:v>
                </c:pt>
                <c:pt idx="980">
                  <c:v>45176</c:v>
                </c:pt>
                <c:pt idx="981">
                  <c:v>45177</c:v>
                </c:pt>
                <c:pt idx="982">
                  <c:v>45178</c:v>
                </c:pt>
                <c:pt idx="983">
                  <c:v>45179</c:v>
                </c:pt>
                <c:pt idx="984">
                  <c:v>45180</c:v>
                </c:pt>
                <c:pt idx="985">
                  <c:v>45181</c:v>
                </c:pt>
                <c:pt idx="986">
                  <c:v>45182</c:v>
                </c:pt>
                <c:pt idx="987">
                  <c:v>45183</c:v>
                </c:pt>
                <c:pt idx="988">
                  <c:v>45184</c:v>
                </c:pt>
                <c:pt idx="989">
                  <c:v>45185</c:v>
                </c:pt>
                <c:pt idx="990">
                  <c:v>45186</c:v>
                </c:pt>
                <c:pt idx="991">
                  <c:v>45187</c:v>
                </c:pt>
                <c:pt idx="992">
                  <c:v>45188</c:v>
                </c:pt>
                <c:pt idx="993">
                  <c:v>45189</c:v>
                </c:pt>
                <c:pt idx="994">
                  <c:v>45190</c:v>
                </c:pt>
                <c:pt idx="995">
                  <c:v>45191</c:v>
                </c:pt>
                <c:pt idx="996">
                  <c:v>45192</c:v>
                </c:pt>
                <c:pt idx="997">
                  <c:v>45193</c:v>
                </c:pt>
                <c:pt idx="998">
                  <c:v>45194</c:v>
                </c:pt>
                <c:pt idx="999">
                  <c:v>45195</c:v>
                </c:pt>
                <c:pt idx="1000">
                  <c:v>45196</c:v>
                </c:pt>
                <c:pt idx="1001">
                  <c:v>45197</c:v>
                </c:pt>
                <c:pt idx="1002">
                  <c:v>45198</c:v>
                </c:pt>
                <c:pt idx="1003">
                  <c:v>45199</c:v>
                </c:pt>
                <c:pt idx="1004">
                  <c:v>45200</c:v>
                </c:pt>
                <c:pt idx="1005">
                  <c:v>45201</c:v>
                </c:pt>
                <c:pt idx="1006">
                  <c:v>45202</c:v>
                </c:pt>
                <c:pt idx="1007">
                  <c:v>45203</c:v>
                </c:pt>
                <c:pt idx="1008">
                  <c:v>45204</c:v>
                </c:pt>
                <c:pt idx="1009">
                  <c:v>45205</c:v>
                </c:pt>
                <c:pt idx="1010">
                  <c:v>45206</c:v>
                </c:pt>
                <c:pt idx="1011">
                  <c:v>45207</c:v>
                </c:pt>
                <c:pt idx="1012">
                  <c:v>45208</c:v>
                </c:pt>
                <c:pt idx="1013">
                  <c:v>45209</c:v>
                </c:pt>
                <c:pt idx="1014">
                  <c:v>45210</c:v>
                </c:pt>
                <c:pt idx="1015">
                  <c:v>45211</c:v>
                </c:pt>
                <c:pt idx="1016">
                  <c:v>45212</c:v>
                </c:pt>
                <c:pt idx="1017">
                  <c:v>45213</c:v>
                </c:pt>
                <c:pt idx="1018">
                  <c:v>45214</c:v>
                </c:pt>
                <c:pt idx="1019">
                  <c:v>45215</c:v>
                </c:pt>
                <c:pt idx="1020">
                  <c:v>45216</c:v>
                </c:pt>
                <c:pt idx="1021">
                  <c:v>45217</c:v>
                </c:pt>
                <c:pt idx="1022">
                  <c:v>45218</c:v>
                </c:pt>
                <c:pt idx="1023">
                  <c:v>45219</c:v>
                </c:pt>
                <c:pt idx="1024">
                  <c:v>45220</c:v>
                </c:pt>
                <c:pt idx="1025">
                  <c:v>45221</c:v>
                </c:pt>
                <c:pt idx="1026">
                  <c:v>45222</c:v>
                </c:pt>
                <c:pt idx="1027">
                  <c:v>45223</c:v>
                </c:pt>
                <c:pt idx="1028">
                  <c:v>45224</c:v>
                </c:pt>
                <c:pt idx="1029">
                  <c:v>45225</c:v>
                </c:pt>
                <c:pt idx="1030">
                  <c:v>45226</c:v>
                </c:pt>
                <c:pt idx="1031">
                  <c:v>45227</c:v>
                </c:pt>
                <c:pt idx="1032">
                  <c:v>45228</c:v>
                </c:pt>
                <c:pt idx="1033">
                  <c:v>45229</c:v>
                </c:pt>
                <c:pt idx="1034">
                  <c:v>45230</c:v>
                </c:pt>
                <c:pt idx="1035">
                  <c:v>45231</c:v>
                </c:pt>
                <c:pt idx="1036">
                  <c:v>45232</c:v>
                </c:pt>
                <c:pt idx="1037">
                  <c:v>45233</c:v>
                </c:pt>
                <c:pt idx="1038">
                  <c:v>45234</c:v>
                </c:pt>
                <c:pt idx="1039">
                  <c:v>45235</c:v>
                </c:pt>
                <c:pt idx="1040">
                  <c:v>45236</c:v>
                </c:pt>
                <c:pt idx="1041">
                  <c:v>45237</c:v>
                </c:pt>
                <c:pt idx="1042">
                  <c:v>45238</c:v>
                </c:pt>
                <c:pt idx="1043">
                  <c:v>45239</c:v>
                </c:pt>
                <c:pt idx="1044">
                  <c:v>45240</c:v>
                </c:pt>
                <c:pt idx="1045">
                  <c:v>45241</c:v>
                </c:pt>
                <c:pt idx="1046">
                  <c:v>45242</c:v>
                </c:pt>
                <c:pt idx="1047">
                  <c:v>45243</c:v>
                </c:pt>
                <c:pt idx="1048">
                  <c:v>45244</c:v>
                </c:pt>
                <c:pt idx="1049">
                  <c:v>45245</c:v>
                </c:pt>
                <c:pt idx="1050">
                  <c:v>45246</c:v>
                </c:pt>
                <c:pt idx="1051">
                  <c:v>45247</c:v>
                </c:pt>
                <c:pt idx="1052">
                  <c:v>45248</c:v>
                </c:pt>
                <c:pt idx="1053">
                  <c:v>45249</c:v>
                </c:pt>
                <c:pt idx="1054">
                  <c:v>45250</c:v>
                </c:pt>
                <c:pt idx="1055">
                  <c:v>45251</c:v>
                </c:pt>
                <c:pt idx="1056">
                  <c:v>45252</c:v>
                </c:pt>
                <c:pt idx="1057">
                  <c:v>45253</c:v>
                </c:pt>
                <c:pt idx="1058">
                  <c:v>45254</c:v>
                </c:pt>
                <c:pt idx="1059">
                  <c:v>45255</c:v>
                </c:pt>
                <c:pt idx="1060">
                  <c:v>45256</c:v>
                </c:pt>
                <c:pt idx="1061">
                  <c:v>45257</c:v>
                </c:pt>
                <c:pt idx="1062">
                  <c:v>45258</c:v>
                </c:pt>
                <c:pt idx="1063">
                  <c:v>45259</c:v>
                </c:pt>
                <c:pt idx="1064">
                  <c:v>45260</c:v>
                </c:pt>
                <c:pt idx="1065">
                  <c:v>45261</c:v>
                </c:pt>
                <c:pt idx="1066">
                  <c:v>45262</c:v>
                </c:pt>
                <c:pt idx="1067">
                  <c:v>45263</c:v>
                </c:pt>
                <c:pt idx="1068">
                  <c:v>45264</c:v>
                </c:pt>
                <c:pt idx="1069">
                  <c:v>45265</c:v>
                </c:pt>
                <c:pt idx="1070">
                  <c:v>45266</c:v>
                </c:pt>
                <c:pt idx="1071">
                  <c:v>45267</c:v>
                </c:pt>
                <c:pt idx="1072">
                  <c:v>45268</c:v>
                </c:pt>
                <c:pt idx="1073">
                  <c:v>45269</c:v>
                </c:pt>
                <c:pt idx="1074">
                  <c:v>45270</c:v>
                </c:pt>
                <c:pt idx="1075">
                  <c:v>45271</c:v>
                </c:pt>
                <c:pt idx="1076">
                  <c:v>45272</c:v>
                </c:pt>
                <c:pt idx="1077">
                  <c:v>45273</c:v>
                </c:pt>
                <c:pt idx="1078">
                  <c:v>45274</c:v>
                </c:pt>
                <c:pt idx="1079">
                  <c:v>45275</c:v>
                </c:pt>
                <c:pt idx="1080">
                  <c:v>45276</c:v>
                </c:pt>
                <c:pt idx="1081">
                  <c:v>45277</c:v>
                </c:pt>
                <c:pt idx="1082">
                  <c:v>45278</c:v>
                </c:pt>
                <c:pt idx="1083">
                  <c:v>45279</c:v>
                </c:pt>
                <c:pt idx="1084">
                  <c:v>45280</c:v>
                </c:pt>
                <c:pt idx="1085">
                  <c:v>45281</c:v>
                </c:pt>
                <c:pt idx="1086">
                  <c:v>45282</c:v>
                </c:pt>
                <c:pt idx="1087">
                  <c:v>45283</c:v>
                </c:pt>
                <c:pt idx="1088">
                  <c:v>45284</c:v>
                </c:pt>
                <c:pt idx="1089">
                  <c:v>45285</c:v>
                </c:pt>
                <c:pt idx="1090">
                  <c:v>45286</c:v>
                </c:pt>
                <c:pt idx="1091">
                  <c:v>45287</c:v>
                </c:pt>
                <c:pt idx="1092">
                  <c:v>45288</c:v>
                </c:pt>
                <c:pt idx="1093">
                  <c:v>45289</c:v>
                </c:pt>
                <c:pt idx="1094">
                  <c:v>45290</c:v>
                </c:pt>
                <c:pt idx="1095">
                  <c:v>45291</c:v>
                </c:pt>
                <c:pt idx="1096">
                  <c:v>45292</c:v>
                </c:pt>
                <c:pt idx="1097">
                  <c:v>45293</c:v>
                </c:pt>
                <c:pt idx="1098">
                  <c:v>45294</c:v>
                </c:pt>
                <c:pt idx="1099">
                  <c:v>45295</c:v>
                </c:pt>
                <c:pt idx="1100">
                  <c:v>45296</c:v>
                </c:pt>
                <c:pt idx="1101">
                  <c:v>45297</c:v>
                </c:pt>
                <c:pt idx="1102">
                  <c:v>45298</c:v>
                </c:pt>
                <c:pt idx="1103">
                  <c:v>45299</c:v>
                </c:pt>
                <c:pt idx="1104">
                  <c:v>45300</c:v>
                </c:pt>
                <c:pt idx="1105">
                  <c:v>45301</c:v>
                </c:pt>
                <c:pt idx="1106">
                  <c:v>45302</c:v>
                </c:pt>
                <c:pt idx="1107">
                  <c:v>45303</c:v>
                </c:pt>
                <c:pt idx="1108">
                  <c:v>45304</c:v>
                </c:pt>
                <c:pt idx="1109">
                  <c:v>45305</c:v>
                </c:pt>
                <c:pt idx="1110">
                  <c:v>45306</c:v>
                </c:pt>
                <c:pt idx="1111">
                  <c:v>45307</c:v>
                </c:pt>
                <c:pt idx="1112">
                  <c:v>45308</c:v>
                </c:pt>
                <c:pt idx="1113">
                  <c:v>45309</c:v>
                </c:pt>
                <c:pt idx="1114">
                  <c:v>45310</c:v>
                </c:pt>
                <c:pt idx="1115">
                  <c:v>45311</c:v>
                </c:pt>
                <c:pt idx="1116">
                  <c:v>45312</c:v>
                </c:pt>
                <c:pt idx="1117">
                  <c:v>45313</c:v>
                </c:pt>
                <c:pt idx="1118">
                  <c:v>45314</c:v>
                </c:pt>
                <c:pt idx="1119">
                  <c:v>45315</c:v>
                </c:pt>
                <c:pt idx="1120">
                  <c:v>45316</c:v>
                </c:pt>
                <c:pt idx="1121">
                  <c:v>45317</c:v>
                </c:pt>
                <c:pt idx="1122">
                  <c:v>45318</c:v>
                </c:pt>
                <c:pt idx="1123">
                  <c:v>45319</c:v>
                </c:pt>
                <c:pt idx="1124">
                  <c:v>45320</c:v>
                </c:pt>
                <c:pt idx="1125">
                  <c:v>45321</c:v>
                </c:pt>
                <c:pt idx="1126">
                  <c:v>45322</c:v>
                </c:pt>
                <c:pt idx="1127">
                  <c:v>45323</c:v>
                </c:pt>
                <c:pt idx="1128">
                  <c:v>45324</c:v>
                </c:pt>
                <c:pt idx="1129">
                  <c:v>45325</c:v>
                </c:pt>
                <c:pt idx="1130">
                  <c:v>45326</c:v>
                </c:pt>
                <c:pt idx="1131">
                  <c:v>45327</c:v>
                </c:pt>
                <c:pt idx="1132">
                  <c:v>45328</c:v>
                </c:pt>
                <c:pt idx="1133">
                  <c:v>45329</c:v>
                </c:pt>
                <c:pt idx="1134">
                  <c:v>45330</c:v>
                </c:pt>
                <c:pt idx="1135">
                  <c:v>45331</c:v>
                </c:pt>
                <c:pt idx="1136">
                  <c:v>45332</c:v>
                </c:pt>
                <c:pt idx="1137">
                  <c:v>45333</c:v>
                </c:pt>
                <c:pt idx="1138">
                  <c:v>45334</c:v>
                </c:pt>
                <c:pt idx="1139">
                  <c:v>45335</c:v>
                </c:pt>
                <c:pt idx="1140">
                  <c:v>45336</c:v>
                </c:pt>
                <c:pt idx="1141">
                  <c:v>45337</c:v>
                </c:pt>
                <c:pt idx="1142">
                  <c:v>45338</c:v>
                </c:pt>
                <c:pt idx="1143">
                  <c:v>45339</c:v>
                </c:pt>
                <c:pt idx="1144">
                  <c:v>45340</c:v>
                </c:pt>
                <c:pt idx="1145">
                  <c:v>45341</c:v>
                </c:pt>
                <c:pt idx="1146">
                  <c:v>45342</c:v>
                </c:pt>
                <c:pt idx="1147">
                  <c:v>45343</c:v>
                </c:pt>
                <c:pt idx="1148">
                  <c:v>45344</c:v>
                </c:pt>
                <c:pt idx="1149">
                  <c:v>45345</c:v>
                </c:pt>
                <c:pt idx="1150">
                  <c:v>45346</c:v>
                </c:pt>
                <c:pt idx="1151">
                  <c:v>45347</c:v>
                </c:pt>
                <c:pt idx="1152">
                  <c:v>45348</c:v>
                </c:pt>
                <c:pt idx="1153">
                  <c:v>45349</c:v>
                </c:pt>
                <c:pt idx="1154">
                  <c:v>45350</c:v>
                </c:pt>
                <c:pt idx="1155">
                  <c:v>45351</c:v>
                </c:pt>
                <c:pt idx="1156">
                  <c:v>45352</c:v>
                </c:pt>
                <c:pt idx="1157">
                  <c:v>45353</c:v>
                </c:pt>
                <c:pt idx="1158">
                  <c:v>45354</c:v>
                </c:pt>
                <c:pt idx="1159">
                  <c:v>45355</c:v>
                </c:pt>
                <c:pt idx="1160">
                  <c:v>45356</c:v>
                </c:pt>
                <c:pt idx="1161">
                  <c:v>45357</c:v>
                </c:pt>
                <c:pt idx="1162">
                  <c:v>45358</c:v>
                </c:pt>
                <c:pt idx="1163">
                  <c:v>45359</c:v>
                </c:pt>
                <c:pt idx="1164">
                  <c:v>45360</c:v>
                </c:pt>
                <c:pt idx="1165">
                  <c:v>45361</c:v>
                </c:pt>
                <c:pt idx="1166">
                  <c:v>45362</c:v>
                </c:pt>
                <c:pt idx="1167">
                  <c:v>45363</c:v>
                </c:pt>
                <c:pt idx="1168">
                  <c:v>45364</c:v>
                </c:pt>
                <c:pt idx="1169">
                  <c:v>45365</c:v>
                </c:pt>
                <c:pt idx="1170">
                  <c:v>45366</c:v>
                </c:pt>
                <c:pt idx="1171">
                  <c:v>45367</c:v>
                </c:pt>
                <c:pt idx="1172">
                  <c:v>45368</c:v>
                </c:pt>
                <c:pt idx="1173">
                  <c:v>45369</c:v>
                </c:pt>
                <c:pt idx="1174">
                  <c:v>45370</c:v>
                </c:pt>
                <c:pt idx="1175">
                  <c:v>45371</c:v>
                </c:pt>
                <c:pt idx="1176">
                  <c:v>45372</c:v>
                </c:pt>
                <c:pt idx="1177">
                  <c:v>45373</c:v>
                </c:pt>
                <c:pt idx="1178">
                  <c:v>45374</c:v>
                </c:pt>
                <c:pt idx="1179">
                  <c:v>45375</c:v>
                </c:pt>
                <c:pt idx="1180">
                  <c:v>45376</c:v>
                </c:pt>
                <c:pt idx="1181">
                  <c:v>45377</c:v>
                </c:pt>
                <c:pt idx="1182">
                  <c:v>45378</c:v>
                </c:pt>
                <c:pt idx="1183">
                  <c:v>45379</c:v>
                </c:pt>
                <c:pt idx="1184">
                  <c:v>45380</c:v>
                </c:pt>
                <c:pt idx="1185">
                  <c:v>45381</c:v>
                </c:pt>
                <c:pt idx="1186">
                  <c:v>45382</c:v>
                </c:pt>
                <c:pt idx="1187">
                  <c:v>45383</c:v>
                </c:pt>
                <c:pt idx="1188">
                  <c:v>45384</c:v>
                </c:pt>
                <c:pt idx="1189">
                  <c:v>45385</c:v>
                </c:pt>
                <c:pt idx="1190">
                  <c:v>45386</c:v>
                </c:pt>
                <c:pt idx="1191">
                  <c:v>45387</c:v>
                </c:pt>
                <c:pt idx="1192">
                  <c:v>45388</c:v>
                </c:pt>
                <c:pt idx="1193">
                  <c:v>45389</c:v>
                </c:pt>
                <c:pt idx="1194">
                  <c:v>45390</c:v>
                </c:pt>
                <c:pt idx="1195">
                  <c:v>45391</c:v>
                </c:pt>
                <c:pt idx="1196">
                  <c:v>45392</c:v>
                </c:pt>
                <c:pt idx="1197">
                  <c:v>45393</c:v>
                </c:pt>
                <c:pt idx="1198">
                  <c:v>45394</c:v>
                </c:pt>
                <c:pt idx="1199">
                  <c:v>45395</c:v>
                </c:pt>
                <c:pt idx="1200">
                  <c:v>45396</c:v>
                </c:pt>
                <c:pt idx="1201">
                  <c:v>45397</c:v>
                </c:pt>
                <c:pt idx="1202">
                  <c:v>45398</c:v>
                </c:pt>
                <c:pt idx="1203">
                  <c:v>45399</c:v>
                </c:pt>
                <c:pt idx="1204">
                  <c:v>45400</c:v>
                </c:pt>
                <c:pt idx="1205">
                  <c:v>45401</c:v>
                </c:pt>
                <c:pt idx="1206">
                  <c:v>45402</c:v>
                </c:pt>
                <c:pt idx="1207">
                  <c:v>45403</c:v>
                </c:pt>
                <c:pt idx="1208">
                  <c:v>45404</c:v>
                </c:pt>
                <c:pt idx="1209">
                  <c:v>45405</c:v>
                </c:pt>
                <c:pt idx="1210">
                  <c:v>45406</c:v>
                </c:pt>
                <c:pt idx="1211">
                  <c:v>45407</c:v>
                </c:pt>
                <c:pt idx="1212">
                  <c:v>45408</c:v>
                </c:pt>
                <c:pt idx="1213">
                  <c:v>45409</c:v>
                </c:pt>
                <c:pt idx="1214">
                  <c:v>45410</c:v>
                </c:pt>
                <c:pt idx="1215">
                  <c:v>45411</c:v>
                </c:pt>
                <c:pt idx="1216">
                  <c:v>45412</c:v>
                </c:pt>
                <c:pt idx="1217">
                  <c:v>45413</c:v>
                </c:pt>
                <c:pt idx="1218">
                  <c:v>45414</c:v>
                </c:pt>
                <c:pt idx="1219">
                  <c:v>45415</c:v>
                </c:pt>
                <c:pt idx="1220">
                  <c:v>45416</c:v>
                </c:pt>
                <c:pt idx="1221">
                  <c:v>45417</c:v>
                </c:pt>
                <c:pt idx="1222">
                  <c:v>45418</c:v>
                </c:pt>
                <c:pt idx="1223">
                  <c:v>45419</c:v>
                </c:pt>
                <c:pt idx="1224">
                  <c:v>45420</c:v>
                </c:pt>
                <c:pt idx="1225">
                  <c:v>45421</c:v>
                </c:pt>
                <c:pt idx="1226">
                  <c:v>45422</c:v>
                </c:pt>
                <c:pt idx="1227">
                  <c:v>45423</c:v>
                </c:pt>
                <c:pt idx="1228">
                  <c:v>45424</c:v>
                </c:pt>
                <c:pt idx="1229">
                  <c:v>45425</c:v>
                </c:pt>
                <c:pt idx="1230">
                  <c:v>45426</c:v>
                </c:pt>
                <c:pt idx="1231">
                  <c:v>45427</c:v>
                </c:pt>
                <c:pt idx="1232">
                  <c:v>45428</c:v>
                </c:pt>
                <c:pt idx="1233">
                  <c:v>45429</c:v>
                </c:pt>
                <c:pt idx="1234">
                  <c:v>45430</c:v>
                </c:pt>
                <c:pt idx="1235">
                  <c:v>45431</c:v>
                </c:pt>
                <c:pt idx="1236">
                  <c:v>45432</c:v>
                </c:pt>
                <c:pt idx="1237">
                  <c:v>45433</c:v>
                </c:pt>
                <c:pt idx="1238">
                  <c:v>45434</c:v>
                </c:pt>
                <c:pt idx="1239">
                  <c:v>45435</c:v>
                </c:pt>
                <c:pt idx="1240">
                  <c:v>45436</c:v>
                </c:pt>
                <c:pt idx="1241">
                  <c:v>45437</c:v>
                </c:pt>
                <c:pt idx="1242">
                  <c:v>45438</c:v>
                </c:pt>
                <c:pt idx="1243">
                  <c:v>45439</c:v>
                </c:pt>
                <c:pt idx="1244">
                  <c:v>45440</c:v>
                </c:pt>
                <c:pt idx="1245">
                  <c:v>45441</c:v>
                </c:pt>
                <c:pt idx="1246">
                  <c:v>45442</c:v>
                </c:pt>
                <c:pt idx="1247">
                  <c:v>45443</c:v>
                </c:pt>
                <c:pt idx="1248">
                  <c:v>45444</c:v>
                </c:pt>
                <c:pt idx="1249">
                  <c:v>45445</c:v>
                </c:pt>
                <c:pt idx="1250">
                  <c:v>45446</c:v>
                </c:pt>
                <c:pt idx="1251">
                  <c:v>45447</c:v>
                </c:pt>
                <c:pt idx="1252">
                  <c:v>45448</c:v>
                </c:pt>
                <c:pt idx="1253">
                  <c:v>45449</c:v>
                </c:pt>
                <c:pt idx="1254">
                  <c:v>45450</c:v>
                </c:pt>
                <c:pt idx="1255">
                  <c:v>45451</c:v>
                </c:pt>
                <c:pt idx="1256">
                  <c:v>45452</c:v>
                </c:pt>
                <c:pt idx="1257">
                  <c:v>45453</c:v>
                </c:pt>
                <c:pt idx="1258">
                  <c:v>45454</c:v>
                </c:pt>
                <c:pt idx="1259">
                  <c:v>45455</c:v>
                </c:pt>
                <c:pt idx="1260">
                  <c:v>45456</c:v>
                </c:pt>
                <c:pt idx="1261">
                  <c:v>45457</c:v>
                </c:pt>
                <c:pt idx="1262">
                  <c:v>45458</c:v>
                </c:pt>
                <c:pt idx="1263">
                  <c:v>45459</c:v>
                </c:pt>
                <c:pt idx="1264">
                  <c:v>45460</c:v>
                </c:pt>
                <c:pt idx="1265">
                  <c:v>45461</c:v>
                </c:pt>
                <c:pt idx="1266">
                  <c:v>45462</c:v>
                </c:pt>
                <c:pt idx="1267">
                  <c:v>45463</c:v>
                </c:pt>
                <c:pt idx="1268">
                  <c:v>45464</c:v>
                </c:pt>
                <c:pt idx="1269">
                  <c:v>45465</c:v>
                </c:pt>
                <c:pt idx="1270">
                  <c:v>45466</c:v>
                </c:pt>
                <c:pt idx="1271">
                  <c:v>45467</c:v>
                </c:pt>
                <c:pt idx="1272">
                  <c:v>45468</c:v>
                </c:pt>
                <c:pt idx="1273">
                  <c:v>45469</c:v>
                </c:pt>
                <c:pt idx="1274">
                  <c:v>45470</c:v>
                </c:pt>
                <c:pt idx="1275">
                  <c:v>45471</c:v>
                </c:pt>
                <c:pt idx="1276">
                  <c:v>45472</c:v>
                </c:pt>
                <c:pt idx="1277">
                  <c:v>45473</c:v>
                </c:pt>
                <c:pt idx="1278">
                  <c:v>45474</c:v>
                </c:pt>
                <c:pt idx="1279">
                  <c:v>45475</c:v>
                </c:pt>
                <c:pt idx="1280">
                  <c:v>45476</c:v>
                </c:pt>
                <c:pt idx="1281">
                  <c:v>45477</c:v>
                </c:pt>
                <c:pt idx="1282">
                  <c:v>45478</c:v>
                </c:pt>
                <c:pt idx="1283">
                  <c:v>45479</c:v>
                </c:pt>
                <c:pt idx="1284">
                  <c:v>45480</c:v>
                </c:pt>
                <c:pt idx="1285">
                  <c:v>45481</c:v>
                </c:pt>
                <c:pt idx="1286">
                  <c:v>45482</c:v>
                </c:pt>
                <c:pt idx="1287">
                  <c:v>45483</c:v>
                </c:pt>
                <c:pt idx="1288">
                  <c:v>45484</c:v>
                </c:pt>
                <c:pt idx="1289">
                  <c:v>45485</c:v>
                </c:pt>
                <c:pt idx="1290">
                  <c:v>45486</c:v>
                </c:pt>
                <c:pt idx="1291">
                  <c:v>45487</c:v>
                </c:pt>
                <c:pt idx="1292">
                  <c:v>45488</c:v>
                </c:pt>
                <c:pt idx="1293">
                  <c:v>45489</c:v>
                </c:pt>
                <c:pt idx="1294">
                  <c:v>45490</c:v>
                </c:pt>
                <c:pt idx="1295">
                  <c:v>45491</c:v>
                </c:pt>
                <c:pt idx="1296">
                  <c:v>45492</c:v>
                </c:pt>
                <c:pt idx="1297">
                  <c:v>45493</c:v>
                </c:pt>
                <c:pt idx="1298">
                  <c:v>45494</c:v>
                </c:pt>
                <c:pt idx="1299">
                  <c:v>45495</c:v>
                </c:pt>
                <c:pt idx="1300">
                  <c:v>45496</c:v>
                </c:pt>
                <c:pt idx="1301">
                  <c:v>45497</c:v>
                </c:pt>
                <c:pt idx="1302">
                  <c:v>45498</c:v>
                </c:pt>
                <c:pt idx="1303">
                  <c:v>45499</c:v>
                </c:pt>
                <c:pt idx="1304">
                  <c:v>45500</c:v>
                </c:pt>
                <c:pt idx="1305">
                  <c:v>45501</c:v>
                </c:pt>
                <c:pt idx="1306">
                  <c:v>45502</c:v>
                </c:pt>
                <c:pt idx="1307">
                  <c:v>45503</c:v>
                </c:pt>
                <c:pt idx="1308">
                  <c:v>45504</c:v>
                </c:pt>
                <c:pt idx="1309">
                  <c:v>45505</c:v>
                </c:pt>
                <c:pt idx="1310">
                  <c:v>45506</c:v>
                </c:pt>
                <c:pt idx="1311">
                  <c:v>45507</c:v>
                </c:pt>
                <c:pt idx="1312">
                  <c:v>45508</c:v>
                </c:pt>
                <c:pt idx="1313">
                  <c:v>45509</c:v>
                </c:pt>
                <c:pt idx="1314">
                  <c:v>45510</c:v>
                </c:pt>
                <c:pt idx="1315">
                  <c:v>45511</c:v>
                </c:pt>
                <c:pt idx="1316">
                  <c:v>45512</c:v>
                </c:pt>
                <c:pt idx="1317">
                  <c:v>45513</c:v>
                </c:pt>
                <c:pt idx="1318">
                  <c:v>45514</c:v>
                </c:pt>
                <c:pt idx="1319">
                  <c:v>45515</c:v>
                </c:pt>
                <c:pt idx="1320">
                  <c:v>45516</c:v>
                </c:pt>
                <c:pt idx="1321">
                  <c:v>45517</c:v>
                </c:pt>
                <c:pt idx="1322">
                  <c:v>45518</c:v>
                </c:pt>
                <c:pt idx="1323">
                  <c:v>45519</c:v>
                </c:pt>
                <c:pt idx="1324">
                  <c:v>45520</c:v>
                </c:pt>
                <c:pt idx="1325">
                  <c:v>45521</c:v>
                </c:pt>
                <c:pt idx="1326">
                  <c:v>45522</c:v>
                </c:pt>
                <c:pt idx="1327">
                  <c:v>45523</c:v>
                </c:pt>
                <c:pt idx="1328">
                  <c:v>45524</c:v>
                </c:pt>
                <c:pt idx="1329">
                  <c:v>45525</c:v>
                </c:pt>
                <c:pt idx="1330">
                  <c:v>45526</c:v>
                </c:pt>
                <c:pt idx="1331">
                  <c:v>45527</c:v>
                </c:pt>
                <c:pt idx="1332">
                  <c:v>45528</c:v>
                </c:pt>
                <c:pt idx="1333">
                  <c:v>45529</c:v>
                </c:pt>
                <c:pt idx="1334">
                  <c:v>45530</c:v>
                </c:pt>
                <c:pt idx="1335">
                  <c:v>45531</c:v>
                </c:pt>
                <c:pt idx="1336">
                  <c:v>45532</c:v>
                </c:pt>
                <c:pt idx="1337">
                  <c:v>45533</c:v>
                </c:pt>
                <c:pt idx="1338">
                  <c:v>45534</c:v>
                </c:pt>
                <c:pt idx="1339">
                  <c:v>45535</c:v>
                </c:pt>
                <c:pt idx="1340">
                  <c:v>45536</c:v>
                </c:pt>
                <c:pt idx="1341">
                  <c:v>45537</c:v>
                </c:pt>
                <c:pt idx="1342">
                  <c:v>45538</c:v>
                </c:pt>
                <c:pt idx="1343">
                  <c:v>45539</c:v>
                </c:pt>
                <c:pt idx="1344">
                  <c:v>45540</c:v>
                </c:pt>
                <c:pt idx="1345">
                  <c:v>45541</c:v>
                </c:pt>
                <c:pt idx="1346">
                  <c:v>45542</c:v>
                </c:pt>
                <c:pt idx="1347">
                  <c:v>45543</c:v>
                </c:pt>
                <c:pt idx="1348">
                  <c:v>45544</c:v>
                </c:pt>
                <c:pt idx="1349">
                  <c:v>45545</c:v>
                </c:pt>
                <c:pt idx="1350">
                  <c:v>45546</c:v>
                </c:pt>
                <c:pt idx="1351">
                  <c:v>45547</c:v>
                </c:pt>
                <c:pt idx="1352">
                  <c:v>45548</c:v>
                </c:pt>
                <c:pt idx="1353">
                  <c:v>45549</c:v>
                </c:pt>
                <c:pt idx="1354">
                  <c:v>45550</c:v>
                </c:pt>
                <c:pt idx="1355">
                  <c:v>45551</c:v>
                </c:pt>
                <c:pt idx="1356">
                  <c:v>45552</c:v>
                </c:pt>
                <c:pt idx="1357">
                  <c:v>45553</c:v>
                </c:pt>
                <c:pt idx="1358">
                  <c:v>45554</c:v>
                </c:pt>
                <c:pt idx="1359">
                  <c:v>45555</c:v>
                </c:pt>
                <c:pt idx="1360">
                  <c:v>45556</c:v>
                </c:pt>
                <c:pt idx="1361">
                  <c:v>45557</c:v>
                </c:pt>
                <c:pt idx="1362">
                  <c:v>45558</c:v>
                </c:pt>
                <c:pt idx="1363">
                  <c:v>45559</c:v>
                </c:pt>
                <c:pt idx="1364">
                  <c:v>45560</c:v>
                </c:pt>
                <c:pt idx="1365">
                  <c:v>45561</c:v>
                </c:pt>
                <c:pt idx="1366">
                  <c:v>45562</c:v>
                </c:pt>
                <c:pt idx="1367">
                  <c:v>45563</c:v>
                </c:pt>
                <c:pt idx="1368">
                  <c:v>45564</c:v>
                </c:pt>
                <c:pt idx="1369">
                  <c:v>45565</c:v>
                </c:pt>
                <c:pt idx="1370">
                  <c:v>45566</c:v>
                </c:pt>
                <c:pt idx="1371">
                  <c:v>45567</c:v>
                </c:pt>
                <c:pt idx="1372">
                  <c:v>45568</c:v>
                </c:pt>
                <c:pt idx="1373">
                  <c:v>45569</c:v>
                </c:pt>
                <c:pt idx="1374">
                  <c:v>45570</c:v>
                </c:pt>
                <c:pt idx="1375">
                  <c:v>45571</c:v>
                </c:pt>
                <c:pt idx="1376">
                  <c:v>45572</c:v>
                </c:pt>
                <c:pt idx="1377">
                  <c:v>45573</c:v>
                </c:pt>
                <c:pt idx="1378">
                  <c:v>45574</c:v>
                </c:pt>
                <c:pt idx="1379">
                  <c:v>45575</c:v>
                </c:pt>
                <c:pt idx="1380">
                  <c:v>45576</c:v>
                </c:pt>
                <c:pt idx="1381">
                  <c:v>45577</c:v>
                </c:pt>
                <c:pt idx="1382">
                  <c:v>45578</c:v>
                </c:pt>
                <c:pt idx="1383">
                  <c:v>45579</c:v>
                </c:pt>
                <c:pt idx="1384">
                  <c:v>45580</c:v>
                </c:pt>
                <c:pt idx="1385">
                  <c:v>45581</c:v>
                </c:pt>
                <c:pt idx="1386">
                  <c:v>45582</c:v>
                </c:pt>
                <c:pt idx="1387">
                  <c:v>45583</c:v>
                </c:pt>
                <c:pt idx="1388">
                  <c:v>45584</c:v>
                </c:pt>
                <c:pt idx="1389">
                  <c:v>45585</c:v>
                </c:pt>
                <c:pt idx="1390">
                  <c:v>45586</c:v>
                </c:pt>
                <c:pt idx="1391">
                  <c:v>45587</c:v>
                </c:pt>
                <c:pt idx="1392">
                  <c:v>45588</c:v>
                </c:pt>
                <c:pt idx="1393">
                  <c:v>45589</c:v>
                </c:pt>
                <c:pt idx="1394">
                  <c:v>45590</c:v>
                </c:pt>
                <c:pt idx="1395">
                  <c:v>45591</c:v>
                </c:pt>
                <c:pt idx="1396">
                  <c:v>45592</c:v>
                </c:pt>
                <c:pt idx="1397">
                  <c:v>45593</c:v>
                </c:pt>
                <c:pt idx="1398">
                  <c:v>45594</c:v>
                </c:pt>
                <c:pt idx="1399">
                  <c:v>45595</c:v>
                </c:pt>
                <c:pt idx="1400">
                  <c:v>45596</c:v>
                </c:pt>
                <c:pt idx="1401">
                  <c:v>45597</c:v>
                </c:pt>
                <c:pt idx="1402">
                  <c:v>45598</c:v>
                </c:pt>
                <c:pt idx="1403">
                  <c:v>45599</c:v>
                </c:pt>
                <c:pt idx="1404">
                  <c:v>45600</c:v>
                </c:pt>
                <c:pt idx="1405">
                  <c:v>45601</c:v>
                </c:pt>
                <c:pt idx="1406">
                  <c:v>45602</c:v>
                </c:pt>
                <c:pt idx="1407">
                  <c:v>45603</c:v>
                </c:pt>
                <c:pt idx="1408">
                  <c:v>45604</c:v>
                </c:pt>
                <c:pt idx="1409">
                  <c:v>45605</c:v>
                </c:pt>
                <c:pt idx="1410">
                  <c:v>45606</c:v>
                </c:pt>
                <c:pt idx="1411">
                  <c:v>45607</c:v>
                </c:pt>
                <c:pt idx="1412">
                  <c:v>45608</c:v>
                </c:pt>
                <c:pt idx="1413">
                  <c:v>45609</c:v>
                </c:pt>
                <c:pt idx="1414">
                  <c:v>45610</c:v>
                </c:pt>
                <c:pt idx="1415">
                  <c:v>45611</c:v>
                </c:pt>
                <c:pt idx="1416">
                  <c:v>45612</c:v>
                </c:pt>
                <c:pt idx="1417">
                  <c:v>45613</c:v>
                </c:pt>
                <c:pt idx="1418">
                  <c:v>45614</c:v>
                </c:pt>
                <c:pt idx="1419">
                  <c:v>45615</c:v>
                </c:pt>
                <c:pt idx="1420">
                  <c:v>45616</c:v>
                </c:pt>
                <c:pt idx="1421">
                  <c:v>45617</c:v>
                </c:pt>
                <c:pt idx="1422">
                  <c:v>45618</c:v>
                </c:pt>
                <c:pt idx="1423">
                  <c:v>45619</c:v>
                </c:pt>
                <c:pt idx="1424">
                  <c:v>45620</c:v>
                </c:pt>
                <c:pt idx="1425">
                  <c:v>45621</c:v>
                </c:pt>
                <c:pt idx="1426">
                  <c:v>45622</c:v>
                </c:pt>
                <c:pt idx="1427">
                  <c:v>45623</c:v>
                </c:pt>
                <c:pt idx="1428">
                  <c:v>45624</c:v>
                </c:pt>
                <c:pt idx="1429">
                  <c:v>45625</c:v>
                </c:pt>
                <c:pt idx="1430">
                  <c:v>45626</c:v>
                </c:pt>
                <c:pt idx="1431">
                  <c:v>45627</c:v>
                </c:pt>
                <c:pt idx="1432">
                  <c:v>45628</c:v>
                </c:pt>
                <c:pt idx="1433">
                  <c:v>45629</c:v>
                </c:pt>
                <c:pt idx="1434">
                  <c:v>45630</c:v>
                </c:pt>
                <c:pt idx="1435">
                  <c:v>45631</c:v>
                </c:pt>
                <c:pt idx="1436">
                  <c:v>45632</c:v>
                </c:pt>
                <c:pt idx="1437">
                  <c:v>45633</c:v>
                </c:pt>
                <c:pt idx="1438">
                  <c:v>45634</c:v>
                </c:pt>
                <c:pt idx="1439">
                  <c:v>45635</c:v>
                </c:pt>
                <c:pt idx="1440">
                  <c:v>45636</c:v>
                </c:pt>
                <c:pt idx="1441">
                  <c:v>45637</c:v>
                </c:pt>
                <c:pt idx="1442">
                  <c:v>45638</c:v>
                </c:pt>
                <c:pt idx="1443">
                  <c:v>45639</c:v>
                </c:pt>
                <c:pt idx="1444">
                  <c:v>45640</c:v>
                </c:pt>
                <c:pt idx="1445">
                  <c:v>45641</c:v>
                </c:pt>
                <c:pt idx="1446">
                  <c:v>45642</c:v>
                </c:pt>
                <c:pt idx="1447">
                  <c:v>45643</c:v>
                </c:pt>
                <c:pt idx="1448">
                  <c:v>45644</c:v>
                </c:pt>
                <c:pt idx="1449">
                  <c:v>45645</c:v>
                </c:pt>
                <c:pt idx="1450">
                  <c:v>45646</c:v>
                </c:pt>
                <c:pt idx="1451">
                  <c:v>45647</c:v>
                </c:pt>
                <c:pt idx="1452">
                  <c:v>45648</c:v>
                </c:pt>
                <c:pt idx="1453">
                  <c:v>45649</c:v>
                </c:pt>
                <c:pt idx="1454">
                  <c:v>45650</c:v>
                </c:pt>
                <c:pt idx="1455">
                  <c:v>45651</c:v>
                </c:pt>
                <c:pt idx="1456">
                  <c:v>45652</c:v>
                </c:pt>
                <c:pt idx="1457">
                  <c:v>45653</c:v>
                </c:pt>
                <c:pt idx="1458">
                  <c:v>45654</c:v>
                </c:pt>
                <c:pt idx="1459">
                  <c:v>45655</c:v>
                </c:pt>
                <c:pt idx="1460">
                  <c:v>45656</c:v>
                </c:pt>
                <c:pt idx="1461">
                  <c:v>45657</c:v>
                </c:pt>
                <c:pt idx="1462">
                  <c:v>45658</c:v>
                </c:pt>
                <c:pt idx="1463">
                  <c:v>45659</c:v>
                </c:pt>
                <c:pt idx="1464">
                  <c:v>45660</c:v>
                </c:pt>
                <c:pt idx="1465">
                  <c:v>45661</c:v>
                </c:pt>
                <c:pt idx="1466">
                  <c:v>45662</c:v>
                </c:pt>
                <c:pt idx="1467">
                  <c:v>45663</c:v>
                </c:pt>
                <c:pt idx="1468">
                  <c:v>45664</c:v>
                </c:pt>
                <c:pt idx="1469">
                  <c:v>45665</c:v>
                </c:pt>
                <c:pt idx="1470">
                  <c:v>45666</c:v>
                </c:pt>
                <c:pt idx="1471">
                  <c:v>45667</c:v>
                </c:pt>
                <c:pt idx="1472">
                  <c:v>45668</c:v>
                </c:pt>
                <c:pt idx="1473">
                  <c:v>45669</c:v>
                </c:pt>
                <c:pt idx="1474">
                  <c:v>45670</c:v>
                </c:pt>
                <c:pt idx="1475">
                  <c:v>45671</c:v>
                </c:pt>
                <c:pt idx="1476">
                  <c:v>45672</c:v>
                </c:pt>
                <c:pt idx="1477">
                  <c:v>45673</c:v>
                </c:pt>
                <c:pt idx="1478">
                  <c:v>45674</c:v>
                </c:pt>
                <c:pt idx="1479">
                  <c:v>45675</c:v>
                </c:pt>
                <c:pt idx="1480">
                  <c:v>45676</c:v>
                </c:pt>
                <c:pt idx="1481">
                  <c:v>45677</c:v>
                </c:pt>
                <c:pt idx="1482">
                  <c:v>45678</c:v>
                </c:pt>
                <c:pt idx="1483">
                  <c:v>45679</c:v>
                </c:pt>
                <c:pt idx="1484">
                  <c:v>45680</c:v>
                </c:pt>
                <c:pt idx="1485">
                  <c:v>45681</c:v>
                </c:pt>
                <c:pt idx="1486">
                  <c:v>45682</c:v>
                </c:pt>
                <c:pt idx="1487">
                  <c:v>45683</c:v>
                </c:pt>
                <c:pt idx="1488">
                  <c:v>45684</c:v>
                </c:pt>
                <c:pt idx="1489">
                  <c:v>45685</c:v>
                </c:pt>
                <c:pt idx="1490">
                  <c:v>45686</c:v>
                </c:pt>
                <c:pt idx="1491">
                  <c:v>45687</c:v>
                </c:pt>
                <c:pt idx="1492">
                  <c:v>45688</c:v>
                </c:pt>
                <c:pt idx="1493">
                  <c:v>45689</c:v>
                </c:pt>
                <c:pt idx="1494">
                  <c:v>45690</c:v>
                </c:pt>
                <c:pt idx="1495">
                  <c:v>45691</c:v>
                </c:pt>
                <c:pt idx="1496">
                  <c:v>45692</c:v>
                </c:pt>
                <c:pt idx="1497">
                  <c:v>45693</c:v>
                </c:pt>
                <c:pt idx="1498">
                  <c:v>45694</c:v>
                </c:pt>
                <c:pt idx="1499">
                  <c:v>45695</c:v>
                </c:pt>
                <c:pt idx="1500">
                  <c:v>45696</c:v>
                </c:pt>
                <c:pt idx="1501">
                  <c:v>45697</c:v>
                </c:pt>
                <c:pt idx="1502">
                  <c:v>45698</c:v>
                </c:pt>
                <c:pt idx="1503">
                  <c:v>45699</c:v>
                </c:pt>
                <c:pt idx="1504">
                  <c:v>45700</c:v>
                </c:pt>
                <c:pt idx="1505">
                  <c:v>45701</c:v>
                </c:pt>
                <c:pt idx="1506">
                  <c:v>45702</c:v>
                </c:pt>
                <c:pt idx="1507">
                  <c:v>45703</c:v>
                </c:pt>
                <c:pt idx="1508">
                  <c:v>45704</c:v>
                </c:pt>
                <c:pt idx="1509">
                  <c:v>45705</c:v>
                </c:pt>
                <c:pt idx="1510">
                  <c:v>45706</c:v>
                </c:pt>
                <c:pt idx="1511">
                  <c:v>45707</c:v>
                </c:pt>
                <c:pt idx="1512">
                  <c:v>45708</c:v>
                </c:pt>
                <c:pt idx="1513">
                  <c:v>45709</c:v>
                </c:pt>
                <c:pt idx="1514">
                  <c:v>45710</c:v>
                </c:pt>
                <c:pt idx="1515">
                  <c:v>45711</c:v>
                </c:pt>
                <c:pt idx="1516">
                  <c:v>45712</c:v>
                </c:pt>
                <c:pt idx="1517">
                  <c:v>45713</c:v>
                </c:pt>
                <c:pt idx="1518">
                  <c:v>45714</c:v>
                </c:pt>
                <c:pt idx="1519">
                  <c:v>45715</c:v>
                </c:pt>
                <c:pt idx="1520">
                  <c:v>45716</c:v>
                </c:pt>
                <c:pt idx="1521">
                  <c:v>45717</c:v>
                </c:pt>
                <c:pt idx="1522">
                  <c:v>45718</c:v>
                </c:pt>
                <c:pt idx="1523">
                  <c:v>45719</c:v>
                </c:pt>
                <c:pt idx="1524">
                  <c:v>45720</c:v>
                </c:pt>
                <c:pt idx="1525">
                  <c:v>45721</c:v>
                </c:pt>
                <c:pt idx="1526">
                  <c:v>45722</c:v>
                </c:pt>
                <c:pt idx="1527">
                  <c:v>45723</c:v>
                </c:pt>
                <c:pt idx="1528">
                  <c:v>45724</c:v>
                </c:pt>
                <c:pt idx="1529">
                  <c:v>45725</c:v>
                </c:pt>
                <c:pt idx="1530">
                  <c:v>45726</c:v>
                </c:pt>
                <c:pt idx="1531">
                  <c:v>45727</c:v>
                </c:pt>
                <c:pt idx="1532">
                  <c:v>45728</c:v>
                </c:pt>
                <c:pt idx="1533">
                  <c:v>45729</c:v>
                </c:pt>
                <c:pt idx="1534">
                  <c:v>45730</c:v>
                </c:pt>
                <c:pt idx="1535">
                  <c:v>45731</c:v>
                </c:pt>
                <c:pt idx="1536">
                  <c:v>45732</c:v>
                </c:pt>
                <c:pt idx="1537">
                  <c:v>45733</c:v>
                </c:pt>
                <c:pt idx="1538">
                  <c:v>45734</c:v>
                </c:pt>
                <c:pt idx="1539">
                  <c:v>45735</c:v>
                </c:pt>
                <c:pt idx="1540">
                  <c:v>45736</c:v>
                </c:pt>
                <c:pt idx="1541">
                  <c:v>45737</c:v>
                </c:pt>
                <c:pt idx="1542">
                  <c:v>45738</c:v>
                </c:pt>
                <c:pt idx="1543">
                  <c:v>45739</c:v>
                </c:pt>
                <c:pt idx="1544">
                  <c:v>45740</c:v>
                </c:pt>
                <c:pt idx="1545">
                  <c:v>45741</c:v>
                </c:pt>
                <c:pt idx="1546">
                  <c:v>45742</c:v>
                </c:pt>
                <c:pt idx="1547">
                  <c:v>45743</c:v>
                </c:pt>
                <c:pt idx="1548">
                  <c:v>45744</c:v>
                </c:pt>
                <c:pt idx="1549">
                  <c:v>45745</c:v>
                </c:pt>
                <c:pt idx="1550">
                  <c:v>45746</c:v>
                </c:pt>
                <c:pt idx="1551">
                  <c:v>45747</c:v>
                </c:pt>
                <c:pt idx="1552">
                  <c:v>45748</c:v>
                </c:pt>
                <c:pt idx="1553">
                  <c:v>45749</c:v>
                </c:pt>
                <c:pt idx="1554">
                  <c:v>45750</c:v>
                </c:pt>
                <c:pt idx="1555">
                  <c:v>45751</c:v>
                </c:pt>
                <c:pt idx="1556">
                  <c:v>45752</c:v>
                </c:pt>
                <c:pt idx="1557">
                  <c:v>45753</c:v>
                </c:pt>
                <c:pt idx="1558">
                  <c:v>45754</c:v>
                </c:pt>
                <c:pt idx="1559">
                  <c:v>45755</c:v>
                </c:pt>
                <c:pt idx="1560">
                  <c:v>45756</c:v>
                </c:pt>
                <c:pt idx="1561">
                  <c:v>45757</c:v>
                </c:pt>
                <c:pt idx="1562">
                  <c:v>45758</c:v>
                </c:pt>
                <c:pt idx="1563">
                  <c:v>45759</c:v>
                </c:pt>
                <c:pt idx="1564">
                  <c:v>45760</c:v>
                </c:pt>
                <c:pt idx="1565">
                  <c:v>45761</c:v>
                </c:pt>
                <c:pt idx="1566">
                  <c:v>45762</c:v>
                </c:pt>
                <c:pt idx="1567">
                  <c:v>45763</c:v>
                </c:pt>
                <c:pt idx="1568">
                  <c:v>45764</c:v>
                </c:pt>
                <c:pt idx="1569">
                  <c:v>45765</c:v>
                </c:pt>
                <c:pt idx="1570">
                  <c:v>45766</c:v>
                </c:pt>
                <c:pt idx="1571">
                  <c:v>45767</c:v>
                </c:pt>
                <c:pt idx="1572">
                  <c:v>45768</c:v>
                </c:pt>
                <c:pt idx="1573">
                  <c:v>45769</c:v>
                </c:pt>
                <c:pt idx="1574">
                  <c:v>45770</c:v>
                </c:pt>
                <c:pt idx="1575">
                  <c:v>45771</c:v>
                </c:pt>
                <c:pt idx="1576">
                  <c:v>45772</c:v>
                </c:pt>
                <c:pt idx="1577">
                  <c:v>45773</c:v>
                </c:pt>
                <c:pt idx="1578">
                  <c:v>45774</c:v>
                </c:pt>
                <c:pt idx="1579">
                  <c:v>45775</c:v>
                </c:pt>
                <c:pt idx="1580">
                  <c:v>45776</c:v>
                </c:pt>
                <c:pt idx="1581">
                  <c:v>45777</c:v>
                </c:pt>
                <c:pt idx="1582">
                  <c:v>45778</c:v>
                </c:pt>
                <c:pt idx="1583">
                  <c:v>45779</c:v>
                </c:pt>
                <c:pt idx="1584">
                  <c:v>45780</c:v>
                </c:pt>
                <c:pt idx="1585">
                  <c:v>45781</c:v>
                </c:pt>
                <c:pt idx="1586">
                  <c:v>45782</c:v>
                </c:pt>
                <c:pt idx="1587">
                  <c:v>45783</c:v>
                </c:pt>
                <c:pt idx="1588">
                  <c:v>45784</c:v>
                </c:pt>
                <c:pt idx="1589">
                  <c:v>45785</c:v>
                </c:pt>
                <c:pt idx="1590">
                  <c:v>45786</c:v>
                </c:pt>
                <c:pt idx="1591">
                  <c:v>45787</c:v>
                </c:pt>
                <c:pt idx="1592">
                  <c:v>45788</c:v>
                </c:pt>
                <c:pt idx="1593">
                  <c:v>45789</c:v>
                </c:pt>
                <c:pt idx="1594">
                  <c:v>45790</c:v>
                </c:pt>
                <c:pt idx="1595">
                  <c:v>45791</c:v>
                </c:pt>
                <c:pt idx="1596">
                  <c:v>45792</c:v>
                </c:pt>
                <c:pt idx="1597">
                  <c:v>45793</c:v>
                </c:pt>
                <c:pt idx="1598">
                  <c:v>45794</c:v>
                </c:pt>
                <c:pt idx="1599">
                  <c:v>45795</c:v>
                </c:pt>
                <c:pt idx="1600">
                  <c:v>45796</c:v>
                </c:pt>
                <c:pt idx="1601">
                  <c:v>45797</c:v>
                </c:pt>
                <c:pt idx="1602">
                  <c:v>45798</c:v>
                </c:pt>
                <c:pt idx="1603">
                  <c:v>45799</c:v>
                </c:pt>
                <c:pt idx="1604">
                  <c:v>45800</c:v>
                </c:pt>
                <c:pt idx="1605">
                  <c:v>45801</c:v>
                </c:pt>
                <c:pt idx="1606">
                  <c:v>45802</c:v>
                </c:pt>
                <c:pt idx="1607">
                  <c:v>45803</c:v>
                </c:pt>
                <c:pt idx="1608">
                  <c:v>45804</c:v>
                </c:pt>
                <c:pt idx="1609">
                  <c:v>45805</c:v>
                </c:pt>
                <c:pt idx="1610">
                  <c:v>45806</c:v>
                </c:pt>
                <c:pt idx="1611">
                  <c:v>45807</c:v>
                </c:pt>
                <c:pt idx="1612">
                  <c:v>45808</c:v>
                </c:pt>
                <c:pt idx="1613">
                  <c:v>45809</c:v>
                </c:pt>
                <c:pt idx="1614">
                  <c:v>45810</c:v>
                </c:pt>
                <c:pt idx="1615">
                  <c:v>45811</c:v>
                </c:pt>
                <c:pt idx="1616">
                  <c:v>45812</c:v>
                </c:pt>
                <c:pt idx="1617">
                  <c:v>45813</c:v>
                </c:pt>
                <c:pt idx="1618">
                  <c:v>45814</c:v>
                </c:pt>
                <c:pt idx="1619">
                  <c:v>45815</c:v>
                </c:pt>
                <c:pt idx="1620">
                  <c:v>45816</c:v>
                </c:pt>
                <c:pt idx="1621">
                  <c:v>45817</c:v>
                </c:pt>
                <c:pt idx="1622">
                  <c:v>45818</c:v>
                </c:pt>
                <c:pt idx="1623">
                  <c:v>45819</c:v>
                </c:pt>
                <c:pt idx="1624">
                  <c:v>45820</c:v>
                </c:pt>
                <c:pt idx="1625">
                  <c:v>45821</c:v>
                </c:pt>
                <c:pt idx="1626">
                  <c:v>45822</c:v>
                </c:pt>
                <c:pt idx="1627">
                  <c:v>45823</c:v>
                </c:pt>
                <c:pt idx="1628">
                  <c:v>45824</c:v>
                </c:pt>
                <c:pt idx="1629">
                  <c:v>45825</c:v>
                </c:pt>
                <c:pt idx="1630">
                  <c:v>45826</c:v>
                </c:pt>
                <c:pt idx="1631">
                  <c:v>45827</c:v>
                </c:pt>
                <c:pt idx="1632">
                  <c:v>45828</c:v>
                </c:pt>
                <c:pt idx="1633">
                  <c:v>45829</c:v>
                </c:pt>
                <c:pt idx="1634">
                  <c:v>45830</c:v>
                </c:pt>
                <c:pt idx="1635">
                  <c:v>45831</c:v>
                </c:pt>
                <c:pt idx="1636">
                  <c:v>45832</c:v>
                </c:pt>
                <c:pt idx="1637">
                  <c:v>45833</c:v>
                </c:pt>
                <c:pt idx="1638">
                  <c:v>45834</c:v>
                </c:pt>
                <c:pt idx="1639">
                  <c:v>45835</c:v>
                </c:pt>
                <c:pt idx="1640">
                  <c:v>45836</c:v>
                </c:pt>
                <c:pt idx="1641">
                  <c:v>45837</c:v>
                </c:pt>
                <c:pt idx="1642">
                  <c:v>45838</c:v>
                </c:pt>
                <c:pt idx="1643">
                  <c:v>45839</c:v>
                </c:pt>
                <c:pt idx="1644">
                  <c:v>45840</c:v>
                </c:pt>
                <c:pt idx="1645">
                  <c:v>45841</c:v>
                </c:pt>
                <c:pt idx="1646">
                  <c:v>45842</c:v>
                </c:pt>
                <c:pt idx="1647">
                  <c:v>45843</c:v>
                </c:pt>
                <c:pt idx="1648">
                  <c:v>45844</c:v>
                </c:pt>
                <c:pt idx="1649">
                  <c:v>45845</c:v>
                </c:pt>
                <c:pt idx="1650">
                  <c:v>45846</c:v>
                </c:pt>
                <c:pt idx="1651">
                  <c:v>45847</c:v>
                </c:pt>
                <c:pt idx="1652">
                  <c:v>45848</c:v>
                </c:pt>
                <c:pt idx="1653">
                  <c:v>45849</c:v>
                </c:pt>
                <c:pt idx="1654">
                  <c:v>45850</c:v>
                </c:pt>
                <c:pt idx="1655">
                  <c:v>45851</c:v>
                </c:pt>
                <c:pt idx="1656">
                  <c:v>45852</c:v>
                </c:pt>
                <c:pt idx="1657">
                  <c:v>45853</c:v>
                </c:pt>
                <c:pt idx="1658">
                  <c:v>45854</c:v>
                </c:pt>
                <c:pt idx="1659">
                  <c:v>45855</c:v>
                </c:pt>
                <c:pt idx="1660">
                  <c:v>45856</c:v>
                </c:pt>
                <c:pt idx="1661">
                  <c:v>45857</c:v>
                </c:pt>
                <c:pt idx="1662">
                  <c:v>45858</c:v>
                </c:pt>
                <c:pt idx="1663">
                  <c:v>45859</c:v>
                </c:pt>
                <c:pt idx="1664">
                  <c:v>45860</c:v>
                </c:pt>
                <c:pt idx="1665">
                  <c:v>45861</c:v>
                </c:pt>
                <c:pt idx="1666">
                  <c:v>45862</c:v>
                </c:pt>
                <c:pt idx="1667">
                  <c:v>45863</c:v>
                </c:pt>
                <c:pt idx="1668">
                  <c:v>45864</c:v>
                </c:pt>
                <c:pt idx="1669">
                  <c:v>45865</c:v>
                </c:pt>
                <c:pt idx="1670">
                  <c:v>45866</c:v>
                </c:pt>
                <c:pt idx="1671">
                  <c:v>45867</c:v>
                </c:pt>
                <c:pt idx="1672">
                  <c:v>45868</c:v>
                </c:pt>
                <c:pt idx="1673">
                  <c:v>45869</c:v>
                </c:pt>
                <c:pt idx="1674">
                  <c:v>45870</c:v>
                </c:pt>
                <c:pt idx="1675">
                  <c:v>45871</c:v>
                </c:pt>
                <c:pt idx="1676">
                  <c:v>45872</c:v>
                </c:pt>
                <c:pt idx="1677">
                  <c:v>45873</c:v>
                </c:pt>
                <c:pt idx="1678">
                  <c:v>45874</c:v>
                </c:pt>
                <c:pt idx="1679">
                  <c:v>45875</c:v>
                </c:pt>
                <c:pt idx="1680">
                  <c:v>45876</c:v>
                </c:pt>
                <c:pt idx="1681">
                  <c:v>45877</c:v>
                </c:pt>
                <c:pt idx="1682">
                  <c:v>45878</c:v>
                </c:pt>
                <c:pt idx="1683">
                  <c:v>45879</c:v>
                </c:pt>
                <c:pt idx="1684">
                  <c:v>45880</c:v>
                </c:pt>
                <c:pt idx="1685">
                  <c:v>45881</c:v>
                </c:pt>
                <c:pt idx="1686">
                  <c:v>45882</c:v>
                </c:pt>
                <c:pt idx="1687">
                  <c:v>45883</c:v>
                </c:pt>
                <c:pt idx="1688">
                  <c:v>45884</c:v>
                </c:pt>
                <c:pt idx="1689">
                  <c:v>45885</c:v>
                </c:pt>
                <c:pt idx="1690">
                  <c:v>45886</c:v>
                </c:pt>
                <c:pt idx="1691">
                  <c:v>45887</c:v>
                </c:pt>
                <c:pt idx="1692">
                  <c:v>45888</c:v>
                </c:pt>
                <c:pt idx="1693">
                  <c:v>45889</c:v>
                </c:pt>
                <c:pt idx="1694">
                  <c:v>45890</c:v>
                </c:pt>
                <c:pt idx="1695">
                  <c:v>45891</c:v>
                </c:pt>
                <c:pt idx="1696">
                  <c:v>45892</c:v>
                </c:pt>
                <c:pt idx="1697">
                  <c:v>45893</c:v>
                </c:pt>
                <c:pt idx="1698">
                  <c:v>45894</c:v>
                </c:pt>
                <c:pt idx="1699">
                  <c:v>45895</c:v>
                </c:pt>
                <c:pt idx="1700">
                  <c:v>45896</c:v>
                </c:pt>
                <c:pt idx="1701">
                  <c:v>45897</c:v>
                </c:pt>
                <c:pt idx="1702">
                  <c:v>45898</c:v>
                </c:pt>
                <c:pt idx="1703">
                  <c:v>45899</c:v>
                </c:pt>
                <c:pt idx="1704">
                  <c:v>45900</c:v>
                </c:pt>
                <c:pt idx="1705">
                  <c:v>45901</c:v>
                </c:pt>
                <c:pt idx="1706">
                  <c:v>45902</c:v>
                </c:pt>
                <c:pt idx="1707">
                  <c:v>45903</c:v>
                </c:pt>
                <c:pt idx="1708">
                  <c:v>45904</c:v>
                </c:pt>
                <c:pt idx="1709">
                  <c:v>45905</c:v>
                </c:pt>
                <c:pt idx="1710">
                  <c:v>45906</c:v>
                </c:pt>
                <c:pt idx="1711">
                  <c:v>45907</c:v>
                </c:pt>
                <c:pt idx="1712">
                  <c:v>45908</c:v>
                </c:pt>
                <c:pt idx="1713">
                  <c:v>45909</c:v>
                </c:pt>
                <c:pt idx="1714">
                  <c:v>45910</c:v>
                </c:pt>
                <c:pt idx="1715">
                  <c:v>45911</c:v>
                </c:pt>
                <c:pt idx="1716">
                  <c:v>45912</c:v>
                </c:pt>
                <c:pt idx="1717">
                  <c:v>45913</c:v>
                </c:pt>
                <c:pt idx="1718">
                  <c:v>45914</c:v>
                </c:pt>
                <c:pt idx="1719">
                  <c:v>45915</c:v>
                </c:pt>
                <c:pt idx="1720">
                  <c:v>45916</c:v>
                </c:pt>
                <c:pt idx="1721">
                  <c:v>45917</c:v>
                </c:pt>
                <c:pt idx="1722">
                  <c:v>45918</c:v>
                </c:pt>
                <c:pt idx="1723">
                  <c:v>45919</c:v>
                </c:pt>
                <c:pt idx="1724">
                  <c:v>45920</c:v>
                </c:pt>
                <c:pt idx="1725">
                  <c:v>45921</c:v>
                </c:pt>
                <c:pt idx="1726">
                  <c:v>45922</c:v>
                </c:pt>
                <c:pt idx="1727">
                  <c:v>45923</c:v>
                </c:pt>
                <c:pt idx="1728">
                  <c:v>45924</c:v>
                </c:pt>
                <c:pt idx="1729">
                  <c:v>45925</c:v>
                </c:pt>
                <c:pt idx="1730">
                  <c:v>45926</c:v>
                </c:pt>
                <c:pt idx="1731">
                  <c:v>45927</c:v>
                </c:pt>
                <c:pt idx="1732">
                  <c:v>45928</c:v>
                </c:pt>
                <c:pt idx="1733">
                  <c:v>45929</c:v>
                </c:pt>
                <c:pt idx="1734">
                  <c:v>45930</c:v>
                </c:pt>
                <c:pt idx="1735">
                  <c:v>45931</c:v>
                </c:pt>
                <c:pt idx="1736">
                  <c:v>45932</c:v>
                </c:pt>
                <c:pt idx="1737">
                  <c:v>45933</c:v>
                </c:pt>
                <c:pt idx="1738">
                  <c:v>45934</c:v>
                </c:pt>
                <c:pt idx="1739">
                  <c:v>45935</c:v>
                </c:pt>
                <c:pt idx="1740">
                  <c:v>45936</c:v>
                </c:pt>
                <c:pt idx="1741">
                  <c:v>45937</c:v>
                </c:pt>
                <c:pt idx="1742">
                  <c:v>45938</c:v>
                </c:pt>
                <c:pt idx="1743">
                  <c:v>45939</c:v>
                </c:pt>
                <c:pt idx="1744">
                  <c:v>45940</c:v>
                </c:pt>
                <c:pt idx="1745">
                  <c:v>45941</c:v>
                </c:pt>
                <c:pt idx="1746">
                  <c:v>45942</c:v>
                </c:pt>
                <c:pt idx="1747">
                  <c:v>45943</c:v>
                </c:pt>
                <c:pt idx="1748">
                  <c:v>45944</c:v>
                </c:pt>
                <c:pt idx="1749">
                  <c:v>45945</c:v>
                </c:pt>
                <c:pt idx="1750">
                  <c:v>45946</c:v>
                </c:pt>
                <c:pt idx="1751">
                  <c:v>45947</c:v>
                </c:pt>
                <c:pt idx="1752">
                  <c:v>45948</c:v>
                </c:pt>
                <c:pt idx="1753">
                  <c:v>45949</c:v>
                </c:pt>
                <c:pt idx="1754">
                  <c:v>45950</c:v>
                </c:pt>
                <c:pt idx="1755">
                  <c:v>45951</c:v>
                </c:pt>
                <c:pt idx="1756">
                  <c:v>45952</c:v>
                </c:pt>
                <c:pt idx="1757">
                  <c:v>45953</c:v>
                </c:pt>
                <c:pt idx="1758">
                  <c:v>45954</c:v>
                </c:pt>
                <c:pt idx="1759">
                  <c:v>45955</c:v>
                </c:pt>
                <c:pt idx="1760">
                  <c:v>45956</c:v>
                </c:pt>
                <c:pt idx="1761">
                  <c:v>45957</c:v>
                </c:pt>
                <c:pt idx="1762">
                  <c:v>45958</c:v>
                </c:pt>
                <c:pt idx="1763">
                  <c:v>45959</c:v>
                </c:pt>
                <c:pt idx="1764">
                  <c:v>45960</c:v>
                </c:pt>
                <c:pt idx="1765">
                  <c:v>45961</c:v>
                </c:pt>
                <c:pt idx="1766">
                  <c:v>45962</c:v>
                </c:pt>
                <c:pt idx="1767">
                  <c:v>45963</c:v>
                </c:pt>
                <c:pt idx="1768">
                  <c:v>45964</c:v>
                </c:pt>
                <c:pt idx="1769">
                  <c:v>45965</c:v>
                </c:pt>
                <c:pt idx="1770">
                  <c:v>45966</c:v>
                </c:pt>
                <c:pt idx="1771">
                  <c:v>45967</c:v>
                </c:pt>
                <c:pt idx="1772">
                  <c:v>45968</c:v>
                </c:pt>
                <c:pt idx="1773">
                  <c:v>45969</c:v>
                </c:pt>
                <c:pt idx="1774">
                  <c:v>45970</c:v>
                </c:pt>
                <c:pt idx="1775">
                  <c:v>45971</c:v>
                </c:pt>
                <c:pt idx="1776">
                  <c:v>45972</c:v>
                </c:pt>
                <c:pt idx="1777">
                  <c:v>45973</c:v>
                </c:pt>
                <c:pt idx="1778">
                  <c:v>45974</c:v>
                </c:pt>
                <c:pt idx="1779">
                  <c:v>45975</c:v>
                </c:pt>
                <c:pt idx="1780">
                  <c:v>45976</c:v>
                </c:pt>
                <c:pt idx="1781">
                  <c:v>45977</c:v>
                </c:pt>
                <c:pt idx="1782">
                  <c:v>45978</c:v>
                </c:pt>
                <c:pt idx="1783">
                  <c:v>45979</c:v>
                </c:pt>
                <c:pt idx="1784">
                  <c:v>45980</c:v>
                </c:pt>
                <c:pt idx="1785">
                  <c:v>45981</c:v>
                </c:pt>
                <c:pt idx="1786">
                  <c:v>45982</c:v>
                </c:pt>
                <c:pt idx="1787">
                  <c:v>45983</c:v>
                </c:pt>
                <c:pt idx="1788">
                  <c:v>45984</c:v>
                </c:pt>
                <c:pt idx="1789">
                  <c:v>45985</c:v>
                </c:pt>
                <c:pt idx="1790">
                  <c:v>45986</c:v>
                </c:pt>
                <c:pt idx="1791">
                  <c:v>45987</c:v>
                </c:pt>
                <c:pt idx="1792">
                  <c:v>45988</c:v>
                </c:pt>
                <c:pt idx="1793">
                  <c:v>45989</c:v>
                </c:pt>
                <c:pt idx="1794">
                  <c:v>45990</c:v>
                </c:pt>
                <c:pt idx="1795">
                  <c:v>45991</c:v>
                </c:pt>
                <c:pt idx="1796">
                  <c:v>45992</c:v>
                </c:pt>
                <c:pt idx="1797">
                  <c:v>45993</c:v>
                </c:pt>
                <c:pt idx="1798">
                  <c:v>45994</c:v>
                </c:pt>
                <c:pt idx="1799">
                  <c:v>45995</c:v>
                </c:pt>
                <c:pt idx="1800">
                  <c:v>45996</c:v>
                </c:pt>
                <c:pt idx="1801">
                  <c:v>45997</c:v>
                </c:pt>
                <c:pt idx="1802">
                  <c:v>45998</c:v>
                </c:pt>
                <c:pt idx="1803">
                  <c:v>45999</c:v>
                </c:pt>
                <c:pt idx="1804">
                  <c:v>46000</c:v>
                </c:pt>
                <c:pt idx="1805">
                  <c:v>46001</c:v>
                </c:pt>
                <c:pt idx="1806">
                  <c:v>46002</c:v>
                </c:pt>
                <c:pt idx="1807">
                  <c:v>46003</c:v>
                </c:pt>
                <c:pt idx="1808">
                  <c:v>46004</c:v>
                </c:pt>
                <c:pt idx="1809">
                  <c:v>46005</c:v>
                </c:pt>
                <c:pt idx="1810">
                  <c:v>46006</c:v>
                </c:pt>
                <c:pt idx="1811">
                  <c:v>46007</c:v>
                </c:pt>
                <c:pt idx="1812">
                  <c:v>46008</c:v>
                </c:pt>
                <c:pt idx="1813">
                  <c:v>46009</c:v>
                </c:pt>
                <c:pt idx="1814">
                  <c:v>46010</c:v>
                </c:pt>
                <c:pt idx="1815">
                  <c:v>46011</c:v>
                </c:pt>
                <c:pt idx="1816">
                  <c:v>46012</c:v>
                </c:pt>
                <c:pt idx="1817">
                  <c:v>46013</c:v>
                </c:pt>
                <c:pt idx="1818">
                  <c:v>46014</c:v>
                </c:pt>
                <c:pt idx="1819">
                  <c:v>46015</c:v>
                </c:pt>
                <c:pt idx="1820">
                  <c:v>46016</c:v>
                </c:pt>
                <c:pt idx="1821">
                  <c:v>46017</c:v>
                </c:pt>
                <c:pt idx="1822">
                  <c:v>46018</c:v>
                </c:pt>
                <c:pt idx="1823">
                  <c:v>46019</c:v>
                </c:pt>
                <c:pt idx="1824">
                  <c:v>46020</c:v>
                </c:pt>
                <c:pt idx="1825">
                  <c:v>46021</c:v>
                </c:pt>
                <c:pt idx="1826">
                  <c:v>46022</c:v>
                </c:pt>
              </c:numCache>
            </c:numRef>
          </c:cat>
          <c:val>
            <c:numRef>
              <c:f>Sheet1!$F$2:$F$2069</c:f>
              <c:numCache>
                <c:formatCode>0.00%</c:formatCode>
                <c:ptCount val="2068"/>
                <c:pt idx="0">
                  <c:v>0</c:v>
                </c:pt>
                <c:pt idx="1">
                  <c:v>0</c:v>
                </c:pt>
                <c:pt idx="2">
                  <c:v>0</c:v>
                </c:pt>
                <c:pt idx="3">
                  <c:v>0</c:v>
                </c:pt>
                <c:pt idx="4">
                  <c:v>-1.1342986007443301E-3</c:v>
                </c:pt>
                <c:pt idx="5">
                  <c:v>-1.5528823978940808E-2</c:v>
                </c:pt>
                <c:pt idx="6">
                  <c:v>-1.9308686637671286E-2</c:v>
                </c:pt>
                <c:pt idx="7">
                  <c:v>-1.1860917507783596E-3</c:v>
                </c:pt>
                <c:pt idx="8">
                  <c:v>1.139617413872898E-2</c:v>
                </c:pt>
                <c:pt idx="9">
                  <c:v>1.139617413872898E-2</c:v>
                </c:pt>
                <c:pt idx="10">
                  <c:v>1.139617413872898E-2</c:v>
                </c:pt>
                <c:pt idx="11">
                  <c:v>1.2949539414748301E-2</c:v>
                </c:pt>
                <c:pt idx="12">
                  <c:v>1.6418714710774794E-2</c:v>
                </c:pt>
                <c:pt idx="13">
                  <c:v>1.6263371029422869E-2</c:v>
                </c:pt>
                <c:pt idx="14">
                  <c:v>2.5790699516925031E-2</c:v>
                </c:pt>
                <c:pt idx="15">
                  <c:v>1.7609635242806405E-2</c:v>
                </c:pt>
                <c:pt idx="16">
                  <c:v>1.7609635242806405E-2</c:v>
                </c:pt>
                <c:pt idx="17">
                  <c:v>1.7609635242806405E-2</c:v>
                </c:pt>
                <c:pt idx="18">
                  <c:v>1.8179216818180067E-2</c:v>
                </c:pt>
                <c:pt idx="19">
                  <c:v>1.9111207368791554E-2</c:v>
                </c:pt>
                <c:pt idx="20">
                  <c:v>3.454130959766772E-2</c:v>
                </c:pt>
                <c:pt idx="21">
                  <c:v>3.7389145937036829E-2</c:v>
                </c:pt>
                <c:pt idx="22">
                  <c:v>3.1434579045628935E-2</c:v>
                </c:pt>
                <c:pt idx="23">
                  <c:v>3.1434579045628935E-2</c:v>
                </c:pt>
                <c:pt idx="24">
                  <c:v>3.1434579045628935E-2</c:v>
                </c:pt>
                <c:pt idx="25">
                  <c:v>4.370619334118217E-2</c:v>
                </c:pt>
                <c:pt idx="26">
                  <c:v>3.3778827153417408E-2</c:v>
                </c:pt>
                <c:pt idx="27">
                  <c:v>2.1102453682598537E-2</c:v>
                </c:pt>
                <c:pt idx="28">
                  <c:v>1.9154666400070398E-2</c:v>
                </c:pt>
                <c:pt idx="29">
                  <c:v>7.5252084736885652E-3</c:v>
                </c:pt>
                <c:pt idx="30">
                  <c:v>7.5252084736885652E-3</c:v>
                </c:pt>
                <c:pt idx="31">
                  <c:v>7.8698403801652711E-4</c:v>
                </c:pt>
                <c:pt idx="32">
                  <c:v>1.9383836781470761E-2</c:v>
                </c:pt>
                <c:pt idx="33">
                  <c:v>4.2413618021583943E-2</c:v>
                </c:pt>
                <c:pt idx="34">
                  <c:v>4.934549446988299E-2</c:v>
                </c:pt>
                <c:pt idx="35">
                  <c:v>5.5819030155381172E-2</c:v>
                </c:pt>
                <c:pt idx="36">
                  <c:v>6.2464434684742255E-2</c:v>
                </c:pt>
                <c:pt idx="37">
                  <c:v>6.2464434684742255E-2</c:v>
                </c:pt>
                <c:pt idx="38">
                  <c:v>6.2464434684742255E-2</c:v>
                </c:pt>
                <c:pt idx="39">
                  <c:v>6.9224442289178539E-2</c:v>
                </c:pt>
                <c:pt idx="40">
                  <c:v>6.7333920775437969E-2</c:v>
                </c:pt>
                <c:pt idx="41">
                  <c:v>7.2489843016321484E-2</c:v>
                </c:pt>
                <c:pt idx="42">
                  <c:v>7.2375275709996176E-2</c:v>
                </c:pt>
                <c:pt idx="43">
                  <c:v>7.8447807938981387E-2</c:v>
                </c:pt>
                <c:pt idx="44">
                  <c:v>7.8447807938981387E-2</c:v>
                </c:pt>
                <c:pt idx="45">
                  <c:v>7.8447807938981387E-2</c:v>
                </c:pt>
                <c:pt idx="46">
                  <c:v>8.9447127796199621E-2</c:v>
                </c:pt>
                <c:pt idx="47">
                  <c:v>9.1681351228915839E-2</c:v>
                </c:pt>
                <c:pt idx="48">
                  <c:v>8.9275258952337136E-2</c:v>
                </c:pt>
                <c:pt idx="49">
                  <c:v>7.9364417927082945E-2</c:v>
                </c:pt>
                <c:pt idx="50">
                  <c:v>8.0395595221509672E-2</c:v>
                </c:pt>
                <c:pt idx="51">
                  <c:v>8.0395595221509672E-2</c:v>
                </c:pt>
                <c:pt idx="52">
                  <c:v>8.0395595221509672E-2</c:v>
                </c:pt>
                <c:pt idx="53">
                  <c:v>6.1490558927853128E-2</c:v>
                </c:pt>
                <c:pt idx="54">
                  <c:v>4.1898047258745519E-2</c:v>
                </c:pt>
                <c:pt idx="55">
                  <c:v>4.8772586400757094E-2</c:v>
                </c:pt>
                <c:pt idx="56">
                  <c:v>5.1121412908548651E-2</c:v>
                </c:pt>
                <c:pt idx="57">
                  <c:v>3.4450600047608193E-2</c:v>
                </c:pt>
                <c:pt idx="58">
                  <c:v>3.4450600047608193E-2</c:v>
                </c:pt>
                <c:pt idx="59">
                  <c:v>2.6345580136039503E-2</c:v>
                </c:pt>
                <c:pt idx="60">
                  <c:v>4.9402760238670566E-2</c:v>
                </c:pt>
                <c:pt idx="61">
                  <c:v>5.8167856663172729E-2</c:v>
                </c:pt>
                <c:pt idx="62">
                  <c:v>4.5507185673614288E-2</c:v>
                </c:pt>
                <c:pt idx="63">
                  <c:v>2.6945851298933406E-2</c:v>
                </c:pt>
                <c:pt idx="64">
                  <c:v>2.333671288406464E-2</c:v>
                </c:pt>
                <c:pt idx="65">
                  <c:v>2.333671288406464E-2</c:v>
                </c:pt>
                <c:pt idx="66">
                  <c:v>2.333671288406464E-2</c:v>
                </c:pt>
                <c:pt idx="67">
                  <c:v>2.4081454028303709E-2</c:v>
                </c:pt>
                <c:pt idx="68">
                  <c:v>3.0440422407476575E-2</c:v>
                </c:pt>
                <c:pt idx="69">
                  <c:v>3.7945171156151647E-2</c:v>
                </c:pt>
                <c:pt idx="70">
                  <c:v>4.4533274147974852E-2</c:v>
                </c:pt>
                <c:pt idx="71">
                  <c:v>4.2127181871396004E-2</c:v>
                </c:pt>
                <c:pt idx="72">
                  <c:v>4.2127181871396004E-2</c:v>
                </c:pt>
                <c:pt idx="73">
                  <c:v>4.2127181871396004E-2</c:v>
                </c:pt>
                <c:pt idx="74">
                  <c:v>4.676753334944124E-2</c:v>
                </c:pt>
                <c:pt idx="75">
                  <c:v>5.7938686281772366E-2</c:v>
                </c:pt>
                <c:pt idx="76">
                  <c:v>4.7397671418604827E-2</c:v>
                </c:pt>
                <c:pt idx="77">
                  <c:v>4.8715320631969518E-2</c:v>
                </c:pt>
                <c:pt idx="78">
                  <c:v>3.8403476150202349E-2</c:v>
                </c:pt>
                <c:pt idx="79">
                  <c:v>3.8403476150202349E-2</c:v>
                </c:pt>
                <c:pt idx="80">
                  <c:v>3.8403476150202349E-2</c:v>
                </c:pt>
                <c:pt idx="81">
                  <c:v>4.3960401847598973E-2</c:v>
                </c:pt>
                <c:pt idx="82">
                  <c:v>4.6481061430503415E-2</c:v>
                </c:pt>
                <c:pt idx="83">
                  <c:v>4.0809568426781337E-2</c:v>
                </c:pt>
                <c:pt idx="84">
                  <c:v>2.488346094132993E-2</c:v>
                </c:pt>
                <c:pt idx="85">
                  <c:v>4.1382440727157216E-2</c:v>
                </c:pt>
                <c:pt idx="86">
                  <c:v>4.1382440727157216E-2</c:v>
                </c:pt>
                <c:pt idx="87">
                  <c:v>4.1382440727157216E-2</c:v>
                </c:pt>
                <c:pt idx="88">
                  <c:v>4.6652930274366185E-2</c:v>
                </c:pt>
                <c:pt idx="89">
                  <c:v>4.4991579142025701E-2</c:v>
                </c:pt>
                <c:pt idx="90">
                  <c:v>4.9385805851159571E-2</c:v>
                </c:pt>
                <c:pt idx="91">
                  <c:v>4.9385805851159571E-2</c:v>
                </c:pt>
                <c:pt idx="92">
                  <c:v>4.9385805851159571E-2</c:v>
                </c:pt>
                <c:pt idx="93">
                  <c:v>4.9385805851159571E-2</c:v>
                </c:pt>
                <c:pt idx="94">
                  <c:v>4.9385805851159571E-2</c:v>
                </c:pt>
                <c:pt idx="95">
                  <c:v>4.9385805851159571E-2</c:v>
                </c:pt>
                <c:pt idx="96">
                  <c:v>6.9167140751640946E-2</c:v>
                </c:pt>
                <c:pt idx="97">
                  <c:v>6.0860385089939795E-2</c:v>
                </c:pt>
                <c:pt idx="98">
                  <c:v>6.9052573445315776E-2</c:v>
                </c:pt>
                <c:pt idx="99">
                  <c:v>6.9453576901829017E-2</c:v>
                </c:pt>
                <c:pt idx="100">
                  <c:v>6.9453576901829017E-2</c:v>
                </c:pt>
                <c:pt idx="101">
                  <c:v>6.9453576901829017E-2</c:v>
                </c:pt>
                <c:pt idx="102">
                  <c:v>7.1172229571706824E-2</c:v>
                </c:pt>
                <c:pt idx="103">
                  <c:v>7.5239672980626157E-2</c:v>
                </c:pt>
                <c:pt idx="104">
                  <c:v>7.7703066794742745E-2</c:v>
                </c:pt>
                <c:pt idx="105">
                  <c:v>8.0853900215560368E-2</c:v>
                </c:pt>
                <c:pt idx="106">
                  <c:v>8.3832900561265411E-2</c:v>
                </c:pt>
                <c:pt idx="107">
                  <c:v>8.3832900561265411E-2</c:v>
                </c:pt>
                <c:pt idx="108">
                  <c:v>8.3832900561265411E-2</c:v>
                </c:pt>
                <c:pt idx="109">
                  <c:v>8.1770510203661925E-2</c:v>
                </c:pt>
                <c:pt idx="110">
                  <c:v>7.0484789965005637E-2</c:v>
                </c:pt>
                <c:pt idx="111">
                  <c:v>6.590174002449814E-2</c:v>
                </c:pt>
                <c:pt idx="112">
                  <c:v>7.9192549083220168E-2</c:v>
                </c:pt>
                <c:pt idx="113">
                  <c:v>7.8447807938981387E-2</c:v>
                </c:pt>
                <c:pt idx="114">
                  <c:v>7.8447807938981387E-2</c:v>
                </c:pt>
                <c:pt idx="115">
                  <c:v>7.8447807938981387E-2</c:v>
                </c:pt>
                <c:pt idx="116">
                  <c:v>8.7212904363483543E-2</c:v>
                </c:pt>
                <c:pt idx="117">
                  <c:v>9.0993911622214652E-2</c:v>
                </c:pt>
                <c:pt idx="118">
                  <c:v>8.8129514351584962E-2</c:v>
                </c:pt>
                <c:pt idx="119">
                  <c:v>9.2368826604366919E-2</c:v>
                </c:pt>
                <c:pt idx="120">
                  <c:v>8.9230190327307349E-2</c:v>
                </c:pt>
                <c:pt idx="121">
                  <c:v>8.9230190327307349E-2</c:v>
                </c:pt>
                <c:pt idx="122">
                  <c:v>8.9230190327307349E-2</c:v>
                </c:pt>
                <c:pt idx="123">
                  <c:v>8.5207815543417664E-2</c:v>
                </c:pt>
                <c:pt idx="124">
                  <c:v>7.0141052277280097E-2</c:v>
                </c:pt>
                <c:pt idx="125">
                  <c:v>7.0943094959056333E-2</c:v>
                </c:pt>
                <c:pt idx="126">
                  <c:v>5.9829207795512929E-2</c:v>
                </c:pt>
                <c:pt idx="127">
                  <c:v>6.7276655006650407E-2</c:v>
                </c:pt>
                <c:pt idx="128">
                  <c:v>6.7276655006650407E-2</c:v>
                </c:pt>
                <c:pt idx="129">
                  <c:v>6.7276655006650407E-2</c:v>
                </c:pt>
                <c:pt idx="130">
                  <c:v>6.1719693540503613E-2</c:v>
                </c:pt>
                <c:pt idx="131">
                  <c:v>3.4622433122720932E-2</c:v>
                </c:pt>
                <c:pt idx="132">
                  <c:v>4.7741409106330367E-2</c:v>
                </c:pt>
                <c:pt idx="133">
                  <c:v>4.7741409106330367E-2</c:v>
                </c:pt>
                <c:pt idx="134">
                  <c:v>4.7741409106330367E-2</c:v>
                </c:pt>
                <c:pt idx="135">
                  <c:v>4.7741409106330367E-2</c:v>
                </c:pt>
                <c:pt idx="136">
                  <c:v>4.7741409106330367E-2</c:v>
                </c:pt>
                <c:pt idx="137">
                  <c:v>4.9059058319695058E-2</c:v>
                </c:pt>
                <c:pt idx="138">
                  <c:v>4.9059058319695058E-2</c:v>
                </c:pt>
                <c:pt idx="139">
                  <c:v>3.0497723945014172E-2</c:v>
                </c:pt>
                <c:pt idx="140">
                  <c:v>4.5335316829751234E-2</c:v>
                </c:pt>
                <c:pt idx="141">
                  <c:v>6.0115643945700868E-2</c:v>
                </c:pt>
                <c:pt idx="142">
                  <c:v>6.0115643945700868E-2</c:v>
                </c:pt>
                <c:pt idx="143">
                  <c:v>6.0115643945700868E-2</c:v>
                </c:pt>
                <c:pt idx="144">
                  <c:v>6.0115643945700868E-2</c:v>
                </c:pt>
                <c:pt idx="145">
                  <c:v>6.435495619848311E-2</c:v>
                </c:pt>
                <c:pt idx="146">
                  <c:v>6.4297654660945225E-2</c:v>
                </c:pt>
                <c:pt idx="147">
                  <c:v>7.0198353814817691E-2</c:v>
                </c:pt>
                <c:pt idx="148">
                  <c:v>7.8676978320381744E-2</c:v>
                </c:pt>
                <c:pt idx="149">
                  <c:v>7.8676978320381744E-2</c:v>
                </c:pt>
                <c:pt idx="150">
                  <c:v>7.8676978320381744E-2</c:v>
                </c:pt>
                <c:pt idx="151">
                  <c:v>7.2590388972637643E-2</c:v>
                </c:pt>
                <c:pt idx="152">
                  <c:v>7.5010538367975818E-2</c:v>
                </c:pt>
                <c:pt idx="153">
                  <c:v>7.3406453004422903E-2</c:v>
                </c:pt>
                <c:pt idx="154">
                  <c:v>7.0255619583605267E-2</c:v>
                </c:pt>
                <c:pt idx="155">
                  <c:v>7.7703066794742745E-2</c:v>
                </c:pt>
                <c:pt idx="156">
                  <c:v>7.7703066794742745E-2</c:v>
                </c:pt>
                <c:pt idx="157">
                  <c:v>7.7703066794742745E-2</c:v>
                </c:pt>
                <c:pt idx="158">
                  <c:v>8.0281027915184489E-2</c:v>
                </c:pt>
                <c:pt idx="159">
                  <c:v>8.2744421729301229E-2</c:v>
                </c:pt>
                <c:pt idx="160">
                  <c:v>8.2572552885438175E-2</c:v>
                </c:pt>
                <c:pt idx="161">
                  <c:v>8.7671209357534252E-2</c:v>
                </c:pt>
                <c:pt idx="162">
                  <c:v>9.3285436592468615E-2</c:v>
                </c:pt>
                <c:pt idx="163">
                  <c:v>9.3285436592468615E-2</c:v>
                </c:pt>
                <c:pt idx="164">
                  <c:v>9.3285436592468615E-2</c:v>
                </c:pt>
                <c:pt idx="165">
                  <c:v>9.3972876199169664E-2</c:v>
                </c:pt>
                <c:pt idx="166">
                  <c:v>9.7123745388737748E-2</c:v>
                </c:pt>
                <c:pt idx="167">
                  <c:v>9.5977965019235681E-2</c:v>
                </c:pt>
                <c:pt idx="168">
                  <c:v>0.10755015717682979</c:v>
                </c:pt>
                <c:pt idx="169">
                  <c:v>0.11345082056195224</c:v>
                </c:pt>
                <c:pt idx="170">
                  <c:v>0.11345082056195224</c:v>
                </c:pt>
                <c:pt idx="171">
                  <c:v>0.11345082056195224</c:v>
                </c:pt>
                <c:pt idx="172">
                  <c:v>0.10892507215898206</c:v>
                </c:pt>
                <c:pt idx="173">
                  <c:v>0.11545590938201798</c:v>
                </c:pt>
                <c:pt idx="174">
                  <c:v>0.12198674660505389</c:v>
                </c:pt>
                <c:pt idx="175">
                  <c:v>0.1312101122548566</c:v>
                </c:pt>
                <c:pt idx="176">
                  <c:v>0.1312101122548566</c:v>
                </c:pt>
                <c:pt idx="177">
                  <c:v>0.1312101122548566</c:v>
                </c:pt>
                <c:pt idx="178">
                  <c:v>0.1312101122548566</c:v>
                </c:pt>
                <c:pt idx="179">
                  <c:v>0.14169382558048654</c:v>
                </c:pt>
                <c:pt idx="180">
                  <c:v>0.15028705316112578</c:v>
                </c:pt>
                <c:pt idx="181">
                  <c:v>0.14795142532209296</c:v>
                </c:pt>
                <c:pt idx="182">
                  <c:v>0.14931314163548692</c:v>
                </c:pt>
                <c:pt idx="183">
                  <c:v>0.15458366695144576</c:v>
                </c:pt>
                <c:pt idx="184">
                  <c:v>0.15458366695144576</c:v>
                </c:pt>
                <c:pt idx="185">
                  <c:v>0.15458366695144576</c:v>
                </c:pt>
                <c:pt idx="186">
                  <c:v>0.15401075888231944</c:v>
                </c:pt>
                <c:pt idx="187">
                  <c:v>0.15446906387637044</c:v>
                </c:pt>
                <c:pt idx="188">
                  <c:v>0.16397890144511124</c:v>
                </c:pt>
                <c:pt idx="189">
                  <c:v>0.1423813009559379</c:v>
                </c:pt>
                <c:pt idx="190">
                  <c:v>0.149542312016887</c:v>
                </c:pt>
                <c:pt idx="191">
                  <c:v>0.149542312016887</c:v>
                </c:pt>
                <c:pt idx="192">
                  <c:v>0.149542312016887</c:v>
                </c:pt>
                <c:pt idx="193">
                  <c:v>0.16088533379308118</c:v>
                </c:pt>
                <c:pt idx="194">
                  <c:v>0.16741617101611708</c:v>
                </c:pt>
                <c:pt idx="195">
                  <c:v>0.1725148274882129</c:v>
                </c:pt>
                <c:pt idx="196">
                  <c:v>0.16449450797669954</c:v>
                </c:pt>
                <c:pt idx="197">
                  <c:v>0.16088533379308118</c:v>
                </c:pt>
                <c:pt idx="198">
                  <c:v>0.16088533379308118</c:v>
                </c:pt>
                <c:pt idx="199">
                  <c:v>0.16088533379308118</c:v>
                </c:pt>
                <c:pt idx="200">
                  <c:v>0.13487655220726283</c:v>
                </c:pt>
                <c:pt idx="201">
                  <c:v>0.14656331167118225</c:v>
                </c:pt>
                <c:pt idx="202">
                  <c:v>0.15555754270833461</c:v>
                </c:pt>
                <c:pt idx="203">
                  <c:v>0.16352059645106037</c:v>
                </c:pt>
                <c:pt idx="204">
                  <c:v>0.1773843135789086</c:v>
                </c:pt>
                <c:pt idx="205">
                  <c:v>0.1773843135789086</c:v>
                </c:pt>
                <c:pt idx="206">
                  <c:v>0.1773843135789086</c:v>
                </c:pt>
                <c:pt idx="207">
                  <c:v>0.16924939099232006</c:v>
                </c:pt>
                <c:pt idx="208">
                  <c:v>0.15538567386447183</c:v>
                </c:pt>
                <c:pt idx="209">
                  <c:v>0.16569755411498918</c:v>
                </c:pt>
                <c:pt idx="210">
                  <c:v>0.16775990870384233</c:v>
                </c:pt>
                <c:pt idx="211">
                  <c:v>0.15893754651055275</c:v>
                </c:pt>
                <c:pt idx="212">
                  <c:v>0.15670525459033796</c:v>
                </c:pt>
                <c:pt idx="213">
                  <c:v>0.15670525459033796</c:v>
                </c:pt>
                <c:pt idx="214">
                  <c:v>0.15744806422207516</c:v>
                </c:pt>
                <c:pt idx="215">
                  <c:v>0.15406806041985718</c:v>
                </c:pt>
                <c:pt idx="216">
                  <c:v>0.16443720643916193</c:v>
                </c:pt>
                <c:pt idx="217">
                  <c:v>0.17062430597447231</c:v>
                </c:pt>
                <c:pt idx="218">
                  <c:v>0.17343143747631459</c:v>
                </c:pt>
                <c:pt idx="219">
                  <c:v>0.17343143747631459</c:v>
                </c:pt>
                <c:pt idx="220">
                  <c:v>0.17343143747631459</c:v>
                </c:pt>
                <c:pt idx="221">
                  <c:v>0.17555109360270563</c:v>
                </c:pt>
                <c:pt idx="222">
                  <c:v>0.18431615425845749</c:v>
                </c:pt>
                <c:pt idx="223">
                  <c:v>0.18047784546218865</c:v>
                </c:pt>
                <c:pt idx="224">
                  <c:v>0.17520735591497982</c:v>
                </c:pt>
                <c:pt idx="225">
                  <c:v>0.1761812674406191</c:v>
                </c:pt>
                <c:pt idx="226">
                  <c:v>0.1761812674406191</c:v>
                </c:pt>
                <c:pt idx="227">
                  <c:v>0.1761812674406191</c:v>
                </c:pt>
                <c:pt idx="228">
                  <c:v>0.16947856137372042</c:v>
                </c:pt>
                <c:pt idx="229">
                  <c:v>0.16793177754770511</c:v>
                </c:pt>
                <c:pt idx="230">
                  <c:v>0.1736033063201772</c:v>
                </c:pt>
                <c:pt idx="231">
                  <c:v>0.15933854996706615</c:v>
                </c:pt>
                <c:pt idx="232">
                  <c:v>0.16684329871574094</c:v>
                </c:pt>
                <c:pt idx="233">
                  <c:v>0.16684329871574094</c:v>
                </c:pt>
                <c:pt idx="234">
                  <c:v>0.16684329871574094</c:v>
                </c:pt>
                <c:pt idx="235">
                  <c:v>0.17646770359080705</c:v>
                </c:pt>
                <c:pt idx="236">
                  <c:v>0.18775345959821338</c:v>
                </c:pt>
                <c:pt idx="237">
                  <c:v>0.18998768303092944</c:v>
                </c:pt>
                <c:pt idx="238">
                  <c:v>0.18901377150529045</c:v>
                </c:pt>
                <c:pt idx="239">
                  <c:v>0.18815446305472633</c:v>
                </c:pt>
                <c:pt idx="240">
                  <c:v>0.18815446305472633</c:v>
                </c:pt>
                <c:pt idx="241">
                  <c:v>0.18815446305472633</c:v>
                </c:pt>
                <c:pt idx="242">
                  <c:v>0.19703412678555382</c:v>
                </c:pt>
                <c:pt idx="243">
                  <c:v>0.19717326722314496</c:v>
                </c:pt>
                <c:pt idx="244">
                  <c:v>0.19817987138630541</c:v>
                </c:pt>
                <c:pt idx="245">
                  <c:v>0.20448157399669101</c:v>
                </c:pt>
                <c:pt idx="246">
                  <c:v>0.20201818018257442</c:v>
                </c:pt>
                <c:pt idx="247">
                  <c:v>0.20201818018257442</c:v>
                </c:pt>
                <c:pt idx="248">
                  <c:v>0.20201818018257442</c:v>
                </c:pt>
                <c:pt idx="249">
                  <c:v>0.21284563119592989</c:v>
                </c:pt>
                <c:pt idx="250">
                  <c:v>0.20448157399669101</c:v>
                </c:pt>
                <c:pt idx="251">
                  <c:v>0.2070595351171329</c:v>
                </c:pt>
                <c:pt idx="252">
                  <c:v>0.20236191787029995</c:v>
                </c:pt>
                <c:pt idx="253">
                  <c:v>0.20201818018257442</c:v>
                </c:pt>
                <c:pt idx="254">
                  <c:v>0.20201818018257442</c:v>
                </c:pt>
                <c:pt idx="255">
                  <c:v>0.20201818018257442</c:v>
                </c:pt>
                <c:pt idx="256">
                  <c:v>0.19222190646364568</c:v>
                </c:pt>
                <c:pt idx="257">
                  <c:v>0.18878463689264011</c:v>
                </c:pt>
                <c:pt idx="258">
                  <c:v>0.18511819694023374</c:v>
                </c:pt>
                <c:pt idx="259">
                  <c:v>0.19010225033725475</c:v>
                </c:pt>
                <c:pt idx="260">
                  <c:v>0.19296664760788446</c:v>
                </c:pt>
                <c:pt idx="261">
                  <c:v>0.19296664760788446</c:v>
                </c:pt>
                <c:pt idx="262">
                  <c:v>0.19296664760788446</c:v>
                </c:pt>
                <c:pt idx="263">
                  <c:v>0.16982229906144597</c:v>
                </c:pt>
                <c:pt idx="264">
                  <c:v>0.17337413593877685</c:v>
                </c:pt>
                <c:pt idx="265">
                  <c:v>0.17325956863245168</c:v>
                </c:pt>
                <c:pt idx="266">
                  <c:v>0.18786802690453855</c:v>
                </c:pt>
                <c:pt idx="267">
                  <c:v>0.1875815907543506</c:v>
                </c:pt>
                <c:pt idx="268">
                  <c:v>0.1875815907543506</c:v>
                </c:pt>
                <c:pt idx="269">
                  <c:v>0.1875815907543506</c:v>
                </c:pt>
                <c:pt idx="270">
                  <c:v>0.17956123547408723</c:v>
                </c:pt>
                <c:pt idx="271">
                  <c:v>0.15446906387637044</c:v>
                </c:pt>
                <c:pt idx="272">
                  <c:v>0.16208837993137051</c:v>
                </c:pt>
                <c:pt idx="273">
                  <c:v>0.15577204790222537</c:v>
                </c:pt>
                <c:pt idx="274">
                  <c:v>0.15189110275592868</c:v>
                </c:pt>
                <c:pt idx="275">
                  <c:v>0.15189110275592868</c:v>
                </c:pt>
                <c:pt idx="276">
                  <c:v>0.15189110275592868</c:v>
                </c:pt>
                <c:pt idx="277">
                  <c:v>0.14730808858417105</c:v>
                </c:pt>
                <c:pt idx="278">
                  <c:v>0.14765179050314672</c:v>
                </c:pt>
                <c:pt idx="279">
                  <c:v>0.14266773710612582</c:v>
                </c:pt>
                <c:pt idx="280">
                  <c:v>0.17171278480643665</c:v>
                </c:pt>
                <c:pt idx="281">
                  <c:v>0.16936399406739525</c:v>
                </c:pt>
                <c:pt idx="282">
                  <c:v>0.16936399406739525</c:v>
                </c:pt>
                <c:pt idx="283">
                  <c:v>0.16936399406739525</c:v>
                </c:pt>
                <c:pt idx="284">
                  <c:v>0.16724430217225433</c:v>
                </c:pt>
                <c:pt idx="285">
                  <c:v>0.15830737267263942</c:v>
                </c:pt>
                <c:pt idx="286">
                  <c:v>0.16466634105181227</c:v>
                </c:pt>
                <c:pt idx="287">
                  <c:v>0.1785873597171978</c:v>
                </c:pt>
                <c:pt idx="288">
                  <c:v>0.18740972191048783</c:v>
                </c:pt>
                <c:pt idx="289">
                  <c:v>0.18740972191048783</c:v>
                </c:pt>
                <c:pt idx="290">
                  <c:v>0.18740972191048783</c:v>
                </c:pt>
                <c:pt idx="291">
                  <c:v>0.18907107304282775</c:v>
                </c:pt>
                <c:pt idx="292">
                  <c:v>0.19657582179150296</c:v>
                </c:pt>
                <c:pt idx="293">
                  <c:v>0.2034503609335144</c:v>
                </c:pt>
                <c:pt idx="294">
                  <c:v>0.20333579362718907</c:v>
                </c:pt>
                <c:pt idx="295">
                  <c:v>0.21370493964649412</c:v>
                </c:pt>
                <c:pt idx="296">
                  <c:v>0.21370493964649412</c:v>
                </c:pt>
                <c:pt idx="297">
                  <c:v>0.21370493964649412</c:v>
                </c:pt>
                <c:pt idx="298">
                  <c:v>0.21364763810895623</c:v>
                </c:pt>
                <c:pt idx="299">
                  <c:v>0.22017847533199217</c:v>
                </c:pt>
                <c:pt idx="300">
                  <c:v>0.21164258505764039</c:v>
                </c:pt>
                <c:pt idx="301">
                  <c:v>0.20236191787029995</c:v>
                </c:pt>
                <c:pt idx="302">
                  <c:v>0.20803341087402202</c:v>
                </c:pt>
                <c:pt idx="303">
                  <c:v>0.20803341087402202</c:v>
                </c:pt>
                <c:pt idx="304">
                  <c:v>0.21815990169316749</c:v>
                </c:pt>
                <c:pt idx="305">
                  <c:v>0.21622559922939813</c:v>
                </c:pt>
                <c:pt idx="306">
                  <c:v>0.21719951075503729</c:v>
                </c:pt>
                <c:pt idx="307">
                  <c:v>0.21828798958700163</c:v>
                </c:pt>
                <c:pt idx="308">
                  <c:v>0.23576084512971818</c:v>
                </c:pt>
                <c:pt idx="309">
                  <c:v>0.24154694120851544</c:v>
                </c:pt>
                <c:pt idx="310">
                  <c:v>0.24154694120851544</c:v>
                </c:pt>
                <c:pt idx="311">
                  <c:v>0.24154694120851544</c:v>
                </c:pt>
                <c:pt idx="312">
                  <c:v>0.23696389126800768</c:v>
                </c:pt>
                <c:pt idx="313">
                  <c:v>0.23289644785908847</c:v>
                </c:pt>
                <c:pt idx="314">
                  <c:v>0.23679202242414463</c:v>
                </c:pt>
                <c:pt idx="315">
                  <c:v>0.24120320352078964</c:v>
                </c:pt>
                <c:pt idx="316">
                  <c:v>0.24360929579736862</c:v>
                </c:pt>
                <c:pt idx="317">
                  <c:v>0.24360929579736862</c:v>
                </c:pt>
                <c:pt idx="318">
                  <c:v>0.24360929579736862</c:v>
                </c:pt>
                <c:pt idx="319">
                  <c:v>0.25999370827687085</c:v>
                </c:pt>
                <c:pt idx="320">
                  <c:v>0.27047742160250082</c:v>
                </c:pt>
                <c:pt idx="321">
                  <c:v>0.2716804677407903</c:v>
                </c:pt>
                <c:pt idx="322">
                  <c:v>0.26652454549990678</c:v>
                </c:pt>
                <c:pt idx="323">
                  <c:v>0.27305538272294255</c:v>
                </c:pt>
                <c:pt idx="324">
                  <c:v>0.27305538272294255</c:v>
                </c:pt>
                <c:pt idx="325">
                  <c:v>0.27305538272294255</c:v>
                </c:pt>
                <c:pt idx="326">
                  <c:v>0.27448756347388242</c:v>
                </c:pt>
                <c:pt idx="327">
                  <c:v>0.25472318296091201</c:v>
                </c:pt>
                <c:pt idx="328">
                  <c:v>0.24527064692970882</c:v>
                </c:pt>
                <c:pt idx="329">
                  <c:v>0.26154045633413586</c:v>
                </c:pt>
                <c:pt idx="330">
                  <c:v>0.23421406130370287</c:v>
                </c:pt>
                <c:pt idx="331">
                  <c:v>0.23421406130370287</c:v>
                </c:pt>
                <c:pt idx="332">
                  <c:v>0.23421406130370287</c:v>
                </c:pt>
                <c:pt idx="333">
                  <c:v>0.24114593775200205</c:v>
                </c:pt>
                <c:pt idx="334">
                  <c:v>0.22121712829517365</c:v>
                </c:pt>
                <c:pt idx="335">
                  <c:v>0.22665204678624051</c:v>
                </c:pt>
                <c:pt idx="336">
                  <c:v>0.21576729423534743</c:v>
                </c:pt>
                <c:pt idx="337">
                  <c:v>0.20637205974168155</c:v>
                </c:pt>
                <c:pt idx="338">
                  <c:v>0.20637205974168155</c:v>
                </c:pt>
                <c:pt idx="339">
                  <c:v>0.20637205974168155</c:v>
                </c:pt>
                <c:pt idx="340">
                  <c:v>0.19680495640415316</c:v>
                </c:pt>
                <c:pt idx="341">
                  <c:v>0.24292185619066772</c:v>
                </c:pt>
                <c:pt idx="342">
                  <c:v>0.24435403694160726</c:v>
                </c:pt>
                <c:pt idx="343">
                  <c:v>0.24710386690591207</c:v>
                </c:pt>
                <c:pt idx="344">
                  <c:v>0.23971372123231219</c:v>
                </c:pt>
                <c:pt idx="345">
                  <c:v>0.23971372123231219</c:v>
                </c:pt>
                <c:pt idx="346">
                  <c:v>0.23971372123231219</c:v>
                </c:pt>
                <c:pt idx="347">
                  <c:v>0.23203710363977437</c:v>
                </c:pt>
                <c:pt idx="348">
                  <c:v>0.21261646081452951</c:v>
                </c:pt>
                <c:pt idx="349">
                  <c:v>0.20098700288814769</c:v>
                </c:pt>
                <c:pt idx="350">
                  <c:v>0.22315747567769734</c:v>
                </c:pt>
                <c:pt idx="351">
                  <c:v>0.19594564795358949</c:v>
                </c:pt>
                <c:pt idx="352">
                  <c:v>0.19594564795358949</c:v>
                </c:pt>
                <c:pt idx="353">
                  <c:v>0.19594564795358949</c:v>
                </c:pt>
                <c:pt idx="354">
                  <c:v>0.18557650193428457</c:v>
                </c:pt>
                <c:pt idx="355">
                  <c:v>0.19881004522421919</c:v>
                </c:pt>
                <c:pt idx="356">
                  <c:v>0.21296019850225534</c:v>
                </c:pt>
                <c:pt idx="357">
                  <c:v>0.22573543679813896</c:v>
                </c:pt>
                <c:pt idx="358">
                  <c:v>0.22573543679813896</c:v>
                </c:pt>
                <c:pt idx="359">
                  <c:v>0.22573543679813896</c:v>
                </c:pt>
                <c:pt idx="360">
                  <c:v>0.22573543679813896</c:v>
                </c:pt>
                <c:pt idx="361">
                  <c:v>0.23249540863382506</c:v>
                </c:pt>
                <c:pt idx="362">
                  <c:v>0.24412490232895706</c:v>
                </c:pt>
                <c:pt idx="363">
                  <c:v>0.23106322788288522</c:v>
                </c:pt>
                <c:pt idx="364">
                  <c:v>0.23719306164940804</c:v>
                </c:pt>
                <c:pt idx="365">
                  <c:v>0.2264497029673575</c:v>
                </c:pt>
                <c:pt idx="366">
                  <c:v>0.2264497029673575</c:v>
                </c:pt>
                <c:pt idx="367">
                  <c:v>0.2264497029673575</c:v>
                </c:pt>
                <c:pt idx="368">
                  <c:v>0.22819883061225554</c:v>
                </c:pt>
                <c:pt idx="369">
                  <c:v>0.22831339791858071</c:v>
                </c:pt>
                <c:pt idx="370">
                  <c:v>0.20677309896694496</c:v>
                </c:pt>
                <c:pt idx="371">
                  <c:v>0.1741761786205531</c:v>
                </c:pt>
                <c:pt idx="372">
                  <c:v>0.18494632809637096</c:v>
                </c:pt>
                <c:pt idx="373">
                  <c:v>0.18494632809637096</c:v>
                </c:pt>
                <c:pt idx="374">
                  <c:v>0.18494632809637096</c:v>
                </c:pt>
                <c:pt idx="375">
                  <c:v>0.1547555357953084</c:v>
                </c:pt>
                <c:pt idx="376">
                  <c:v>0.16982229906144597</c:v>
                </c:pt>
                <c:pt idx="377">
                  <c:v>0.19245107684504603</c:v>
                </c:pt>
                <c:pt idx="378">
                  <c:v>0.17990497316181275</c:v>
                </c:pt>
                <c:pt idx="379">
                  <c:v>0.15469823425777079</c:v>
                </c:pt>
                <c:pt idx="380">
                  <c:v>0.15469823425777079</c:v>
                </c:pt>
                <c:pt idx="381">
                  <c:v>0.15469823425777079</c:v>
                </c:pt>
                <c:pt idx="382">
                  <c:v>0.15739076268453772</c:v>
                </c:pt>
                <c:pt idx="383">
                  <c:v>0.1440426520882781</c:v>
                </c:pt>
                <c:pt idx="384">
                  <c:v>0.14914127279162387</c:v>
                </c:pt>
                <c:pt idx="385">
                  <c:v>0.15315145043175576</c:v>
                </c:pt>
                <c:pt idx="386">
                  <c:v>0.11413829593740331</c:v>
                </c:pt>
                <c:pt idx="387">
                  <c:v>0.11413829593740331</c:v>
                </c:pt>
                <c:pt idx="388">
                  <c:v>0.11413829593740331</c:v>
                </c:pt>
                <c:pt idx="389">
                  <c:v>7.2604446091396546E-2</c:v>
                </c:pt>
                <c:pt idx="390">
                  <c:v>7.6729191037853611E-2</c:v>
                </c:pt>
                <c:pt idx="391">
                  <c:v>7.7721165782254506E-2</c:v>
                </c:pt>
                <c:pt idx="392">
                  <c:v>9.5465363062649258E-2</c:v>
                </c:pt>
                <c:pt idx="393">
                  <c:v>6.9226659951680036E-2</c:v>
                </c:pt>
                <c:pt idx="394">
                  <c:v>6.9226659951680036E-2</c:v>
                </c:pt>
                <c:pt idx="395">
                  <c:v>6.9226659951680036E-2</c:v>
                </c:pt>
                <c:pt idx="396">
                  <c:v>0.12505223578831576</c:v>
                </c:pt>
                <c:pt idx="397">
                  <c:v>0.11965415910977299</c:v>
                </c:pt>
                <c:pt idx="398">
                  <c:v>0.13079193979833234</c:v>
                </c:pt>
                <c:pt idx="399">
                  <c:v>0.12013245883508689</c:v>
                </c:pt>
                <c:pt idx="400">
                  <c:v>8.8154051714101053E-2</c:v>
                </c:pt>
                <c:pt idx="401">
                  <c:v>8.8154051714101053E-2</c:v>
                </c:pt>
                <c:pt idx="402">
                  <c:v>8.8154051714101053E-2</c:v>
                </c:pt>
                <c:pt idx="403">
                  <c:v>0.10380162794311971</c:v>
                </c:pt>
                <c:pt idx="404">
                  <c:v>8.4259264061545172E-2</c:v>
                </c:pt>
                <c:pt idx="405">
                  <c:v>0.11172787564207141</c:v>
                </c:pt>
                <c:pt idx="406">
                  <c:v>0.11049793140376436</c:v>
                </c:pt>
                <c:pt idx="407">
                  <c:v>9.6558634907116525E-2</c:v>
                </c:pt>
                <c:pt idx="408">
                  <c:v>9.6558634907116525E-2</c:v>
                </c:pt>
                <c:pt idx="409">
                  <c:v>9.6558634907116525E-2</c:v>
                </c:pt>
                <c:pt idx="410">
                  <c:v>7.6742962006612458E-2</c:v>
                </c:pt>
                <c:pt idx="411">
                  <c:v>9.355212839264368E-2</c:v>
                </c:pt>
                <c:pt idx="412">
                  <c:v>8.3712610254936384E-2</c:v>
                </c:pt>
                <c:pt idx="413">
                  <c:v>8.2004366291315453E-2</c:v>
                </c:pt>
                <c:pt idx="414">
                  <c:v>7.0046622777218057E-2</c:v>
                </c:pt>
                <c:pt idx="415">
                  <c:v>7.0046622777218057E-2</c:v>
                </c:pt>
                <c:pt idx="416">
                  <c:v>7.0046622777218057E-2</c:v>
                </c:pt>
                <c:pt idx="417">
                  <c:v>4.6677789555632503E-2</c:v>
                </c:pt>
                <c:pt idx="418">
                  <c:v>5.3989100904180416E-2</c:v>
                </c:pt>
                <c:pt idx="419">
                  <c:v>4.7771061400099624E-2</c:v>
                </c:pt>
                <c:pt idx="420">
                  <c:v>1.1761194232718281E-2</c:v>
                </c:pt>
                <c:pt idx="421">
                  <c:v>5.7610579537807072E-2</c:v>
                </c:pt>
                <c:pt idx="422">
                  <c:v>5.7610579537807072E-2</c:v>
                </c:pt>
                <c:pt idx="423">
                  <c:v>5.7610579537807072E-2</c:v>
                </c:pt>
                <c:pt idx="424">
                  <c:v>7.2450211241295512E-2</c:v>
                </c:pt>
                <c:pt idx="425">
                  <c:v>7.995445922747009E-2</c:v>
                </c:pt>
                <c:pt idx="426">
                  <c:v>7.312148337298581E-2</c:v>
                </c:pt>
                <c:pt idx="427">
                  <c:v>8.0501113034078878E-2</c:v>
                </c:pt>
                <c:pt idx="428" formatCode="0.0%">
                  <c:v>6.8611687832526511E-2</c:v>
                </c:pt>
                <c:pt idx="429" formatCode="0.0%">
                  <c:v>6.8611687832526511E-2</c:v>
                </c:pt>
                <c:pt idx="430" formatCode="0.0%">
                  <c:v>6.8611687832526511E-2</c:v>
                </c:pt>
                <c:pt idx="431" formatCode="0.0%">
                  <c:v>5.4809063729718444E-2</c:v>
                </c:pt>
                <c:pt idx="432" formatCode="0.0%">
                  <c:v>1.8662524168497469E-2</c:v>
                </c:pt>
                <c:pt idx="433" formatCode="0.0%">
                  <c:v>3.0210286269825703E-2</c:v>
                </c:pt>
                <c:pt idx="434" formatCode="0.0%">
                  <c:v>3.2260193333670771E-2</c:v>
                </c:pt>
                <c:pt idx="435" formatCode="0.0%">
                  <c:v>3.1986848545991362E-2</c:v>
                </c:pt>
                <c:pt idx="436" formatCode="0.0%">
                  <c:v>3.1986848545991362E-2</c:v>
                </c:pt>
                <c:pt idx="437" formatCode="0.0%">
                  <c:v>3.1986848545991362E-2</c:v>
                </c:pt>
                <c:pt idx="438" formatCode="0.0%">
                  <c:v>2.1669030682970315E-2</c:v>
                </c:pt>
                <c:pt idx="439" formatCode="0.0%">
                  <c:v>8.481378699315912E-3</c:v>
                </c:pt>
                <c:pt idx="440" formatCode="0.0%">
                  <c:v>5.3647437803956137E-2</c:v>
                </c:pt>
                <c:pt idx="441" formatCode="0.0%">
                  <c:v>5.849886067588983E-2</c:v>
                </c:pt>
                <c:pt idx="442" formatCode="0.0%">
                  <c:v>8.5694199006236996E-2</c:v>
                </c:pt>
                <c:pt idx="443" formatCode="0.0%">
                  <c:v>8.5694199006236996E-2</c:v>
                </c:pt>
                <c:pt idx="444" formatCode="0.0%">
                  <c:v>8.5694199006236996E-2</c:v>
                </c:pt>
                <c:pt idx="445" formatCode="0.0%">
                  <c:v>8.9520668346247875E-2</c:v>
                </c:pt>
                <c:pt idx="446" formatCode="0.0%">
                  <c:v>0.10981464097206597</c:v>
                </c:pt>
                <c:pt idx="447" formatCode="0.0%">
                  <c:v>0.10694480685143247</c:v>
                </c:pt>
                <c:pt idx="448" formatCode="0.0%">
                  <c:v>9.6626988988411433E-2</c:v>
                </c:pt>
                <c:pt idx="449" formatCode="0.0%">
                  <c:v>0.10127342115396075</c:v>
                </c:pt>
                <c:pt idx="450" formatCode="0.0%">
                  <c:v>0.10127342115396075</c:v>
                </c:pt>
                <c:pt idx="451" formatCode="0.0%">
                  <c:v>0.10127342115396075</c:v>
                </c:pt>
                <c:pt idx="452" formatCode="0.0%">
                  <c:v>0.10913135054036772</c:v>
                </c:pt>
                <c:pt idx="453" formatCode="0.0%">
                  <c:v>0.11678428922038961</c:v>
                </c:pt>
                <c:pt idx="454" formatCode="0.0%">
                  <c:v>0.11582768976976211</c:v>
                </c:pt>
                <c:pt idx="455" formatCode="0.0%">
                  <c:v>9.5484284731411434E-2</c:v>
                </c:pt>
                <c:pt idx="456" formatCode="0.0%">
                  <c:v>0.10831138771482941</c:v>
                </c:pt>
                <c:pt idx="457" formatCode="0.0%">
                  <c:v>0.10831138771482941</c:v>
                </c:pt>
                <c:pt idx="458" formatCode="0.0%">
                  <c:v>0.10831138771482941</c:v>
                </c:pt>
                <c:pt idx="459" formatCode="0.0%">
                  <c:v>0.12812706061533347</c:v>
                </c:pt>
                <c:pt idx="460" formatCode="0.0%">
                  <c:v>0.13181689333025473</c:v>
                </c:pt>
                <c:pt idx="461" formatCode="0.0%">
                  <c:v>9.9565177190339679E-2</c:v>
                </c:pt>
                <c:pt idx="462" formatCode="0.0%">
                  <c:v>0.10468990908120275</c:v>
                </c:pt>
                <c:pt idx="463" formatCode="0.0%">
                  <c:v>0.10352828315544045</c:v>
                </c:pt>
                <c:pt idx="464" formatCode="0.0%">
                  <c:v>0.10352828315544045</c:v>
                </c:pt>
                <c:pt idx="465" formatCode="0.0%">
                  <c:v>0.10352828315544045</c:v>
                </c:pt>
                <c:pt idx="466" formatCode="0.0%">
                  <c:v>8.9452314264952981E-2</c:v>
                </c:pt>
                <c:pt idx="467" formatCode="0.0%">
                  <c:v>9.5875344475418137E-2</c:v>
                </c:pt>
                <c:pt idx="468" formatCode="0.0%">
                  <c:v>8.2346029391539732E-2</c:v>
                </c:pt>
                <c:pt idx="469" formatCode="0.0%">
                  <c:v>8.2346029391539732E-2</c:v>
                </c:pt>
                <c:pt idx="470" formatCode="0.0%">
                  <c:v>8.2346029391539732E-2</c:v>
                </c:pt>
                <c:pt idx="471" formatCode="0.0%">
                  <c:v>8.2346029391539732E-2</c:v>
                </c:pt>
                <c:pt idx="472" formatCode="0.0%">
                  <c:v>8.2346029391539732E-2</c:v>
                </c:pt>
                <c:pt idx="473" formatCode="0.0%">
                  <c:v>8.2346029391539732E-2</c:v>
                </c:pt>
                <c:pt idx="474" formatCode="0.0%">
                  <c:v>7.7972906244919649E-2</c:v>
                </c:pt>
                <c:pt idx="475" formatCode="0.0%">
                  <c:v>8.2961001510693244E-2</c:v>
                </c:pt>
                <c:pt idx="476" formatCode="0.0%">
                  <c:v>8.0364440640239246E-2</c:v>
                </c:pt>
                <c:pt idx="477" formatCode="0.0%">
                  <c:v>5.1665884821405827E-2</c:v>
                </c:pt>
                <c:pt idx="478" formatCode="0.0%">
                  <c:v>5.1665884821405827E-2</c:v>
                </c:pt>
                <c:pt idx="479" formatCode="0.0%">
                  <c:v>5.1665884821405827E-2</c:v>
                </c:pt>
                <c:pt idx="480" formatCode="0.0%">
                  <c:v>2.7613761168121583E-2</c:v>
                </c:pt>
                <c:pt idx="481" formatCode="0.0%">
                  <c:v>2.6247144535974626E-2</c:v>
                </c:pt>
                <c:pt idx="482" formatCode="0.0%">
                  <c:v>3.1781857839606999E-2</c:v>
                </c:pt>
                <c:pt idx="483" formatCode="0.0%">
                  <c:v>3.0415276976210066E-2</c:v>
                </c:pt>
                <c:pt idx="484" formatCode="0.0%">
                  <c:v>5.3169138078642389E-2</c:v>
                </c:pt>
                <c:pt idx="485" formatCode="0.0%">
                  <c:v>2.2857662015000245E-2</c:v>
                </c:pt>
                <c:pt idx="486" formatCode="0.0%">
                  <c:v>2.2857662015000245E-2</c:v>
                </c:pt>
                <c:pt idx="487" formatCode="0.0%">
                  <c:v>2.2967329002572257E-2</c:v>
                </c:pt>
                <c:pt idx="488" formatCode="0.0%">
                  <c:v>2.8023742580890455E-2</c:v>
                </c:pt>
                <c:pt idx="489" formatCode="0.0%">
                  <c:v>1.6202635691882961E-2</c:v>
                </c:pt>
                <c:pt idx="490" formatCode="0.0%">
                  <c:v>1.9619159387875128E-2</c:v>
                </c:pt>
                <c:pt idx="491" formatCode="0.0%">
                  <c:v>-3.5044790522998144E-2</c:v>
                </c:pt>
                <c:pt idx="492" formatCode="0.0%">
                  <c:v>-3.5044790522998144E-2</c:v>
                </c:pt>
                <c:pt idx="493" formatCode="0.0%">
                  <c:v>-3.5044790522998144E-2</c:v>
                </c:pt>
                <c:pt idx="494" formatCode="0.0%">
                  <c:v>-4.6934215724550511E-2</c:v>
                </c:pt>
                <c:pt idx="495" formatCode="0.0%">
                  <c:v>-5.1648966202644572E-2</c:v>
                </c:pt>
                <c:pt idx="496" formatCode="0.0%">
                  <c:v>-5.4382163698188324E-2</c:v>
                </c:pt>
                <c:pt idx="497" formatCode="0.0%">
                  <c:v>-7.440282730507676E-2</c:v>
                </c:pt>
                <c:pt idx="498" formatCode="0.0%">
                  <c:v>-7.440282730507676E-2</c:v>
                </c:pt>
                <c:pt idx="499" formatCode="0.0%">
                  <c:v>-7.440282730507676E-2</c:v>
                </c:pt>
                <c:pt idx="500" formatCode="0.0%">
                  <c:v>-7.440282730507676E-2</c:v>
                </c:pt>
                <c:pt idx="501" formatCode="0.0%">
                  <c:v>-3.6753034486619214E-2</c:v>
                </c:pt>
                <c:pt idx="502" formatCode="0.0%">
                  <c:v>-2.7733479174449939E-2</c:v>
                </c:pt>
                <c:pt idx="503" formatCode="0.0%">
                  <c:v>-3.8666269156624793E-2</c:v>
                </c:pt>
                <c:pt idx="504" formatCode="0.0%">
                  <c:v>-6.0326858414589422E-2</c:v>
                </c:pt>
                <c:pt idx="505" formatCode="0.0%">
                  <c:v>-4.5430926698563925E-2</c:v>
                </c:pt>
                <c:pt idx="506" formatCode="0.0%">
                  <c:v>-4.5430926698563925E-2</c:v>
                </c:pt>
                <c:pt idx="507" formatCode="0.0%">
                  <c:v>-4.5430926698563925E-2</c:v>
                </c:pt>
                <c:pt idx="508" formatCode="0.0%">
                  <c:v>-5.8618614450968352E-2</c:v>
                </c:pt>
                <c:pt idx="509" formatCode="0.0%">
                  <c:v>-7.9390922570850217E-2</c:v>
                </c:pt>
                <c:pt idx="510" formatCode="0.0%">
                  <c:v>-7.0986339377834898E-2</c:v>
                </c:pt>
                <c:pt idx="511" formatCode="0.0%">
                  <c:v>-7.0986339377834898E-2</c:v>
                </c:pt>
                <c:pt idx="512" formatCode="0.0%">
                  <c:v>-7.0986339377834898E-2</c:v>
                </c:pt>
                <c:pt idx="513" formatCode="0.0%">
                  <c:v>-7.0986339377834898E-2</c:v>
                </c:pt>
                <c:pt idx="514" formatCode="0.0%">
                  <c:v>-7.0986339377834898E-2</c:v>
                </c:pt>
                <c:pt idx="515" formatCode="0.0%">
                  <c:v>-1.5775771429102862E-2</c:v>
                </c:pt>
                <c:pt idx="516" formatCode="0.0%">
                  <c:v>-2.2493965364761691E-2</c:v>
                </c:pt>
                <c:pt idx="517" formatCode="0.0%">
                  <c:v>-1.6732370879730639E-2</c:v>
                </c:pt>
                <c:pt idx="518" formatCode="0.0%">
                  <c:v>-2.8485123687443235E-2</c:v>
                </c:pt>
                <c:pt idx="519" formatCode="0.0%">
                  <c:v>-1.8918914568665457E-2</c:v>
                </c:pt>
                <c:pt idx="520" formatCode="0.0%">
                  <c:v>-1.8918914568665457E-2</c:v>
                </c:pt>
                <c:pt idx="521" formatCode="0.0%">
                  <c:v>-1.8918914568665457E-2</c:v>
                </c:pt>
                <c:pt idx="522" formatCode="0.0%">
                  <c:v>-1.8918914568665457E-2</c:v>
                </c:pt>
                <c:pt idx="523" formatCode="0.0%">
                  <c:v>-2.5000281678906475E-2</c:v>
                </c:pt>
                <c:pt idx="524" formatCode="0.0%">
                  <c:v>-1.2085938714181311E-2</c:v>
                </c:pt>
                <c:pt idx="525" formatCode="0.0%">
                  <c:v>-1.9602240769113877E-2</c:v>
                </c:pt>
                <c:pt idx="526" formatCode="0.0%">
                  <c:v>-4.7412515449864398E-2</c:v>
                </c:pt>
                <c:pt idx="527" formatCode="0.0%">
                  <c:v>-4.7412515449864398E-2</c:v>
                </c:pt>
                <c:pt idx="528" formatCode="0.0%">
                  <c:v>-4.7412515449864398E-2</c:v>
                </c:pt>
                <c:pt idx="529" formatCode="0.0%">
                  <c:v>-8.0005894690003743E-2</c:v>
                </c:pt>
                <c:pt idx="530" formatCode="0.0%">
                  <c:v>-8.6018907718950002E-2</c:v>
                </c:pt>
                <c:pt idx="531" formatCode="0.0%">
                  <c:v>-7.9869222296164111E-2</c:v>
                </c:pt>
                <c:pt idx="532" formatCode="0.0%">
                  <c:v>-0.10398970003074325</c:v>
                </c:pt>
                <c:pt idx="533" formatCode="0.0%">
                  <c:v>-9.9411586177738792E-2</c:v>
                </c:pt>
                <c:pt idx="534" formatCode="0.0%">
                  <c:v>-9.9411586177738792E-2</c:v>
                </c:pt>
                <c:pt idx="535" formatCode="0.0%">
                  <c:v>-9.9411586177738792E-2</c:v>
                </c:pt>
                <c:pt idx="536" formatCode="0.0%">
                  <c:v>-9.8044969545591984E-2</c:v>
                </c:pt>
                <c:pt idx="537" formatCode="0.0%">
                  <c:v>-8.5335617287251461E-2</c:v>
                </c:pt>
                <c:pt idx="538" formatCode="0.0%">
                  <c:v>-9.2851919342184036E-2</c:v>
                </c:pt>
                <c:pt idx="539" formatCode="0.0%">
                  <c:v>-8.437898206787367E-2</c:v>
                </c:pt>
                <c:pt idx="540" formatCode="0.0%">
                  <c:v>-5.8891923469897731E-2</c:v>
                </c:pt>
                <c:pt idx="541" formatCode="0.0%">
                  <c:v>-5.8891923469897731E-2</c:v>
                </c:pt>
                <c:pt idx="542" formatCode="0.0%">
                  <c:v>-5.8891923469897731E-2</c:v>
                </c:pt>
                <c:pt idx="543" formatCode="0.0%">
                  <c:v>-5.4245491304348407E-2</c:v>
                </c:pt>
                <c:pt idx="544" formatCode="0.0%">
                  <c:v>-4.8779096313261189E-2</c:v>
                </c:pt>
                <c:pt idx="545" formatCode="0.0%">
                  <c:v>-7.0508039652520726E-2</c:v>
                </c:pt>
                <c:pt idx="546" formatCode="0.0%">
                  <c:v>-7.8566989414059665E-2</c:v>
                </c:pt>
                <c:pt idx="547" formatCode="0.0%">
                  <c:v>-7.0713030358905374E-2</c:v>
                </c:pt>
                <c:pt idx="548" formatCode="0.0%">
                  <c:v>-7.0713030358905374E-2</c:v>
                </c:pt>
                <c:pt idx="549" formatCode="0.0%">
                  <c:v>-7.0713030358905374E-2</c:v>
                </c:pt>
                <c:pt idx="550" formatCode="0.0%">
                  <c:v>-7.440282730507676E-2</c:v>
                </c:pt>
                <c:pt idx="551" formatCode="0.0%">
                  <c:v>-7.2011292909757427E-2</c:v>
                </c:pt>
                <c:pt idx="552" formatCode="0.0%">
                  <c:v>-3.7709669705996873E-2</c:v>
                </c:pt>
                <c:pt idx="553" formatCode="0.0%">
                  <c:v>-2.4385309559752669E-2</c:v>
                </c:pt>
                <c:pt idx="554" formatCode="0.0%">
                  <c:v>-2.4316991247207938E-2</c:v>
                </c:pt>
                <c:pt idx="555" formatCode="0.0%">
                  <c:v>-2.4316991247207938E-2</c:v>
                </c:pt>
                <c:pt idx="556" formatCode="0.0%">
                  <c:v>-2.4316991247207938E-2</c:v>
                </c:pt>
                <c:pt idx="557" formatCode="0.0%">
                  <c:v>-2.9783386238295292E-2</c:v>
                </c:pt>
                <c:pt idx="558" formatCode="0.0%">
                  <c:v>-3.2994883459152788E-2</c:v>
                </c:pt>
                <c:pt idx="559" formatCode="0.0%">
                  <c:v>-4.8574105606876687E-2</c:v>
                </c:pt>
                <c:pt idx="560" formatCode="0.0%">
                  <c:v>-5.2468929028182745E-2</c:v>
                </c:pt>
                <c:pt idx="561" formatCode="0.0%">
                  <c:v>-3.7641315624701972E-2</c:v>
                </c:pt>
                <c:pt idx="562" formatCode="0.0%">
                  <c:v>-3.7641315624701972E-2</c:v>
                </c:pt>
                <c:pt idx="563" formatCode="0.0%">
                  <c:v>-3.7641315624701972E-2</c:v>
                </c:pt>
                <c:pt idx="564" formatCode="0.0%">
                  <c:v>-2.5136954072746107E-2</c:v>
                </c:pt>
                <c:pt idx="565" formatCode="0.0%">
                  <c:v>-3.3951518678530593E-2</c:v>
                </c:pt>
                <c:pt idx="566" formatCode="0.0%">
                  <c:v>-1.7757324411653171E-2</c:v>
                </c:pt>
                <c:pt idx="567" formatCode="0.0%">
                  <c:v>-1.1531487320067414E-3</c:v>
                </c:pt>
                <c:pt idx="568" formatCode="0.0%">
                  <c:v>-2.3147746577690496E-3</c:v>
                </c:pt>
                <c:pt idx="569" formatCode="0.0%">
                  <c:v>-2.3147746577690496E-3</c:v>
                </c:pt>
                <c:pt idx="570" formatCode="0.0%">
                  <c:v>-2.3147746577690496E-3</c:v>
                </c:pt>
                <c:pt idx="571" formatCode="0.0%">
                  <c:v>-1.2700910833334973E-2</c:v>
                </c:pt>
                <c:pt idx="572" formatCode="0.0%">
                  <c:v>-1.2632592520790241E-2</c:v>
                </c:pt>
                <c:pt idx="573" formatCode="0.0%">
                  <c:v>-6.4828713292543229E-3</c:v>
                </c:pt>
                <c:pt idx="574" formatCode="0.0%">
                  <c:v>6.7731347356949807E-3</c:v>
                </c:pt>
                <c:pt idx="575" formatCode="0.0%">
                  <c:v>2.6452135242359277E-2</c:v>
                </c:pt>
                <c:pt idx="576" formatCode="0.0%">
                  <c:v>2.6452135242359277E-2</c:v>
                </c:pt>
                <c:pt idx="577" formatCode="0.0%">
                  <c:v>2.9465902813087013E-2</c:v>
                </c:pt>
                <c:pt idx="578" formatCode="0.0%">
                  <c:v>1.9482486994035497E-2</c:v>
                </c:pt>
                <c:pt idx="579" formatCode="0.0%">
                  <c:v>1.5792654279114089E-2</c:v>
                </c:pt>
                <c:pt idx="580" formatCode="0.0%">
                  <c:v>3.1576867133222351E-2</c:v>
                </c:pt>
                <c:pt idx="581" formatCode="0.0%">
                  <c:v>4.5174536298395795E-2</c:v>
                </c:pt>
                <c:pt idx="582" formatCode="0.0%">
                  <c:v>3.9639822994763707E-2</c:v>
                </c:pt>
                <c:pt idx="583" formatCode="0.0%">
                  <c:v>3.9639822994763707E-2</c:v>
                </c:pt>
                <c:pt idx="584" formatCode="0.0%">
                  <c:v>3.9639822994763707E-2</c:v>
                </c:pt>
                <c:pt idx="585" formatCode="0.0%">
                  <c:v>5.4194091610564925E-2</c:v>
                </c:pt>
                <c:pt idx="586" formatCode="0.0%">
                  <c:v>3.0415276976210066E-2</c:v>
                </c:pt>
                <c:pt idx="587" formatCode="0.0%">
                  <c:v>4.1006403858160637E-2</c:v>
                </c:pt>
                <c:pt idx="588" formatCode="0.0%">
                  <c:v>5.4125773298020048E-2</c:v>
                </c:pt>
                <c:pt idx="589" formatCode="0.0%">
                  <c:v>5.3852428510340784E-2</c:v>
                </c:pt>
                <c:pt idx="590" formatCode="0.0%">
                  <c:v>5.3852428510340784E-2</c:v>
                </c:pt>
                <c:pt idx="591" formatCode="0.0%">
                  <c:v>5.3852428510340784E-2</c:v>
                </c:pt>
                <c:pt idx="592" formatCode="0.0%">
                  <c:v>7.2369838859992652E-2</c:v>
                </c:pt>
                <c:pt idx="593" formatCode="0.0%">
                  <c:v>7.066159489637186E-2</c:v>
                </c:pt>
                <c:pt idx="594" formatCode="0.0%">
                  <c:v>6.3896937354432456E-2</c:v>
                </c:pt>
                <c:pt idx="595" formatCode="0.0%">
                  <c:v>5.9865477308036645E-2</c:v>
                </c:pt>
                <c:pt idx="596" formatCode="0.0%">
                  <c:v>5.3510801178866529E-2</c:v>
                </c:pt>
                <c:pt idx="597" formatCode="0.0%">
                  <c:v>5.3510801178866529E-2</c:v>
                </c:pt>
                <c:pt idx="598" formatCode="0.0%">
                  <c:v>5.3510801178866529E-2</c:v>
                </c:pt>
                <c:pt idx="599" formatCode="0.0%">
                  <c:v>4.3807955434999005E-2</c:v>
                </c:pt>
                <c:pt idx="600" formatCode="0.0%">
                  <c:v>3.2943483765369021E-2</c:v>
                </c:pt>
                <c:pt idx="601" formatCode="0.0%">
                  <c:v>4.1484739352224409E-2</c:v>
                </c:pt>
                <c:pt idx="602" formatCode="0.0%">
                  <c:v>5.0230949876714136E-2</c:v>
                </c:pt>
                <c:pt idx="603" formatCode="0.0%">
                  <c:v>4.6267808142863347E-2</c:v>
                </c:pt>
                <c:pt idx="604" formatCode="0.0%">
                  <c:v>4.6267808142863347E-2</c:v>
                </c:pt>
                <c:pt idx="605" formatCode="0.0%">
                  <c:v>4.6267808142863347E-2</c:v>
                </c:pt>
                <c:pt idx="606" formatCode="0.0%">
                  <c:v>1.14878852137889E-2</c:v>
                </c:pt>
                <c:pt idx="607" formatCode="0.0%">
                  <c:v>9.7113229376230951E-3</c:v>
                </c:pt>
                <c:pt idx="608" formatCode="0.0%">
                  <c:v>-6.79899554196183E-3</c:v>
                </c:pt>
                <c:pt idx="609" formatCode="0.0%">
                  <c:v>-1.2700910833334973E-2</c:v>
                </c:pt>
                <c:pt idx="610" formatCode="0.0%">
                  <c:v>-4.296327640319504E-3</c:v>
                </c:pt>
                <c:pt idx="611" formatCode="0.0%">
                  <c:v>-4.296327640319504E-3</c:v>
                </c:pt>
                <c:pt idx="612" formatCode="0.0%">
                  <c:v>-4.296327640319504E-3</c:v>
                </c:pt>
                <c:pt idx="613" formatCode="0.0%">
                  <c:v>-9.6944043188618417E-3</c:v>
                </c:pt>
                <c:pt idx="614" formatCode="0.0%">
                  <c:v>-6.9612068233182358E-3</c:v>
                </c:pt>
                <c:pt idx="615" formatCode="0.0%">
                  <c:v>-1.1197657576098408E-2</c:v>
                </c:pt>
                <c:pt idx="616" formatCode="0.0%">
                  <c:v>1.3067397446076257E-3</c:v>
                </c:pt>
                <c:pt idx="617" formatCode="0.0%">
                  <c:v>1.9619159387875128E-2</c:v>
                </c:pt>
                <c:pt idx="618" formatCode="0.0%">
                  <c:v>1.9619159387875128E-2</c:v>
                </c:pt>
                <c:pt idx="619" formatCode="0.0%">
                  <c:v>1.9619159387875128E-2</c:v>
                </c:pt>
                <c:pt idx="620" formatCode="0.0%">
                  <c:v>2.7135425674057672E-2</c:v>
                </c:pt>
                <c:pt idx="621" formatCode="0.0%">
                  <c:v>3.7665924524719683E-3</c:v>
                </c:pt>
                <c:pt idx="622" formatCode="0.0%">
                  <c:v>-6.5512254105492222E-3</c:v>
                </c:pt>
                <c:pt idx="623" formatCode="0.0%">
                  <c:v>-2.4514112828586576E-3</c:v>
                </c:pt>
                <c:pt idx="624" formatCode="0.0%">
                  <c:v>-3.3541537265761576E-2</c:v>
                </c:pt>
                <c:pt idx="625" formatCode="0.0%">
                  <c:v>-3.3541537265761576E-2</c:v>
                </c:pt>
                <c:pt idx="626" formatCode="0.0%">
                  <c:v>-3.3541537265761576E-2</c:v>
                </c:pt>
                <c:pt idx="627" formatCode="0.0%">
                  <c:v>-3.5386453623222278E-2</c:v>
                </c:pt>
                <c:pt idx="628" formatCode="0.0%">
                  <c:v>-3.8802941550464425E-2</c:v>
                </c:pt>
                <c:pt idx="629" formatCode="0.0%">
                  <c:v>-3.1354993576826758E-2</c:v>
                </c:pt>
                <c:pt idx="630" formatCode="0.0%">
                  <c:v>-5.2878910440951755E-2</c:v>
                </c:pt>
                <c:pt idx="631" formatCode="0.0%">
                  <c:v>-6.3606709716741816E-2</c:v>
                </c:pt>
                <c:pt idx="632" formatCode="0.0%">
                  <c:v>-6.3606709716741816E-2</c:v>
                </c:pt>
                <c:pt idx="633" formatCode="0.0%">
                  <c:v>-6.3606709716741816E-2</c:v>
                </c:pt>
                <c:pt idx="634" formatCode="0.0%">
                  <c:v>-4.9257431807325107E-2</c:v>
                </c:pt>
                <c:pt idx="635" formatCode="0.0%">
                  <c:v>-4.9804049845184009E-2</c:v>
                </c:pt>
                <c:pt idx="636" formatCode="0.0%">
                  <c:v>-5.2810556359656854E-2</c:v>
                </c:pt>
                <c:pt idx="637" formatCode="0.0%">
                  <c:v>-6.8731441607604887E-2</c:v>
                </c:pt>
                <c:pt idx="638" formatCode="0.0%">
                  <c:v>-7.7870035319852204E-2</c:v>
                </c:pt>
                <c:pt idx="639" formatCode="0.0%">
                  <c:v>-7.7870035319852204E-2</c:v>
                </c:pt>
                <c:pt idx="640" formatCode="0.0%">
                  <c:v>-7.7870035319852204E-2</c:v>
                </c:pt>
                <c:pt idx="641" formatCode="0.0%">
                  <c:v>-6.2991737597588304E-2</c:v>
                </c:pt>
                <c:pt idx="642" formatCode="0.0%">
                  <c:v>-3.6343053073850058E-2</c:v>
                </c:pt>
                <c:pt idx="643" formatCode="0.0%">
                  <c:v>-3.3541537265761576E-2</c:v>
                </c:pt>
                <c:pt idx="644" formatCode="0.0%">
                  <c:v>-2.2335438264657625E-2</c:v>
                </c:pt>
                <c:pt idx="645" formatCode="0.0%">
                  <c:v>-4.474763626686553E-2</c:v>
                </c:pt>
                <c:pt idx="646" formatCode="0.0%">
                  <c:v>-4.474763626686553E-2</c:v>
                </c:pt>
                <c:pt idx="647" formatCode="0.0%">
                  <c:v>-4.474763626686553E-2</c:v>
                </c:pt>
                <c:pt idx="648" formatCode="0.0%">
                  <c:v>-5.5133808211181475E-2</c:v>
                </c:pt>
                <c:pt idx="649" formatCode="0.0%">
                  <c:v>-7.5974434643608368E-2</c:v>
                </c:pt>
                <c:pt idx="650" formatCode="0.0%">
                  <c:v>-6.8799759920149917E-2</c:v>
                </c:pt>
                <c:pt idx="651" formatCode="0.0%">
                  <c:v>-9.2715246948344265E-2</c:v>
                </c:pt>
                <c:pt idx="652" formatCode="0.0%">
                  <c:v>-6.2991737597588304E-2</c:v>
                </c:pt>
                <c:pt idx="653" formatCode="0.0%">
                  <c:v>-6.2991737597588304E-2</c:v>
                </c:pt>
                <c:pt idx="654" formatCode="0.0%">
                  <c:v>-6.2991737597588304E-2</c:v>
                </c:pt>
                <c:pt idx="655" formatCode="0.0%">
                  <c:v>-6.0600167433518808E-2</c:v>
                </c:pt>
                <c:pt idx="656" formatCode="0.0%">
                  <c:v>-4.7070852349640119E-2</c:v>
                </c:pt>
                <c:pt idx="657" formatCode="0.0%">
                  <c:v>-6.2650074497364164E-2</c:v>
                </c:pt>
                <c:pt idx="658" formatCode="0.0%">
                  <c:v>-6.2581756184819148E-2</c:v>
                </c:pt>
                <c:pt idx="659" formatCode="0.0%">
                  <c:v>-7.4266154911237128E-2</c:v>
                </c:pt>
                <c:pt idx="660" formatCode="0.0%">
                  <c:v>-7.4266154911237128E-2</c:v>
                </c:pt>
                <c:pt idx="661" formatCode="0.0%">
                  <c:v>-7.4266154911237128E-2</c:v>
                </c:pt>
                <c:pt idx="662" formatCode="0.0%">
                  <c:v>-6.750149736929785E-2</c:v>
                </c:pt>
                <c:pt idx="663" formatCode="0.0%">
                  <c:v>-5.6090407661809255E-2</c:v>
                </c:pt>
                <c:pt idx="664" formatCode="0.0%">
                  <c:v>-5.3698873266489928E-2</c:v>
                </c:pt>
                <c:pt idx="665" formatCode="0.0%">
                  <c:v>-7.0303048946136357E-2</c:v>
                </c:pt>
                <c:pt idx="666" formatCode="0.0%">
                  <c:v>-6.7091515956528833E-2</c:v>
                </c:pt>
                <c:pt idx="667" formatCode="0.0%">
                  <c:v>-6.7091515956528833E-2</c:v>
                </c:pt>
                <c:pt idx="668" formatCode="0.0%">
                  <c:v>-6.7091515956528833E-2</c:v>
                </c:pt>
                <c:pt idx="669" formatCode="0.0%">
                  <c:v>-5.2101977421691717E-2</c:v>
                </c:pt>
                <c:pt idx="670" formatCode="0.0%">
                  <c:v>-5.1717284515189303E-2</c:v>
                </c:pt>
                <c:pt idx="671" formatCode="0.0%">
                  <c:v>-5.7047042881187053E-2</c:v>
                </c:pt>
                <c:pt idx="672" formatCode="0.0%">
                  <c:v>-7.2626265028910952E-2</c:v>
                </c:pt>
                <c:pt idx="673" formatCode="0.0%">
                  <c:v>-7.3104564754224832E-2</c:v>
                </c:pt>
                <c:pt idx="674" formatCode="0.0%">
                  <c:v>-7.3104564754224832E-2</c:v>
                </c:pt>
                <c:pt idx="675" formatCode="0.0%">
                  <c:v>-7.3104564754224832E-2</c:v>
                </c:pt>
                <c:pt idx="676" formatCode="0.0%">
                  <c:v>-7.7546006213389515E-2</c:v>
                </c:pt>
                <c:pt idx="677" formatCode="0.0%">
                  <c:v>-6.9004750626534272E-2</c:v>
                </c:pt>
                <c:pt idx="678" formatCode="0.0%">
                  <c:v>-7.2626265028910952E-2</c:v>
                </c:pt>
                <c:pt idx="679" formatCode="0.0%">
                  <c:v>-3.8802941550464425E-2</c:v>
                </c:pt>
                <c:pt idx="680" formatCode="0.0%">
                  <c:v>-2.6025235210829011E-2</c:v>
                </c:pt>
                <c:pt idx="681" formatCode="0.0%">
                  <c:v>-2.6025235210829011E-2</c:v>
                </c:pt>
                <c:pt idx="682" formatCode="0.0%">
                  <c:v>-2.6025235210829011E-2</c:v>
                </c:pt>
                <c:pt idx="683" formatCode="0.0%">
                  <c:v>-2.4863645053816726E-2</c:v>
                </c:pt>
                <c:pt idx="684" formatCode="0.0%">
                  <c:v>-1.7210670605044383E-2</c:v>
                </c:pt>
                <c:pt idx="685" formatCode="0.0%">
                  <c:v>-3.0535030751288588E-2</c:v>
                </c:pt>
                <c:pt idx="686" formatCode="0.0%">
                  <c:v>-4.7480833762409136E-2</c:v>
                </c:pt>
                <c:pt idx="687" formatCode="0.0%">
                  <c:v>-3.5181462916837776E-2</c:v>
                </c:pt>
                <c:pt idx="688" formatCode="0.0%">
                  <c:v>-3.5181462916837776E-2</c:v>
                </c:pt>
                <c:pt idx="689" formatCode="0.0%">
                  <c:v>-3.5181462916837776E-2</c:v>
                </c:pt>
                <c:pt idx="690" formatCode="0.0%">
                  <c:v>-3.4224827697459971E-2</c:v>
                </c:pt>
                <c:pt idx="691" formatCode="0.0%">
                  <c:v>-4.0169522413861361E-2</c:v>
                </c:pt>
                <c:pt idx="692" formatCode="0.0%">
                  <c:v>-3.251658373383904E-2</c:v>
                </c:pt>
                <c:pt idx="693" formatCode="0.0%">
                  <c:v>-2.8553441999988109E-2</c:v>
                </c:pt>
                <c:pt idx="694" formatCode="0.0%">
                  <c:v>-3.1013330476602333E-2</c:v>
                </c:pt>
                <c:pt idx="695" formatCode="0.0%">
                  <c:v>-3.1013330476602333E-2</c:v>
                </c:pt>
                <c:pt idx="696" formatCode="0.0%">
                  <c:v>-3.1013330476602333E-2</c:v>
                </c:pt>
                <c:pt idx="697" formatCode="0.0%">
                  <c:v>-3.4634809110229127E-2</c:v>
                </c:pt>
                <c:pt idx="698" formatCode="0.0%">
                  <c:v>-4.474763626686553E-2</c:v>
                </c:pt>
                <c:pt idx="699" formatCode="0.0%">
                  <c:v>-1.1899261607808711E-2</c:v>
                </c:pt>
                <c:pt idx="700" formatCode="0.0%">
                  <c:v>-1.8577287237191341E-2</c:v>
                </c:pt>
                <c:pt idx="701" formatCode="0.0%">
                  <c:v>-2.1173812338895176E-2</c:v>
                </c:pt>
                <c:pt idx="702" formatCode="0.0%">
                  <c:v>-2.1173812338895176E-2</c:v>
                </c:pt>
                <c:pt idx="703" formatCode="0.0%">
                  <c:v>-2.1173812338895176E-2</c:v>
                </c:pt>
                <c:pt idx="704" formatCode="0.0%">
                  <c:v>-3.8802941550464425E-2</c:v>
                </c:pt>
                <c:pt idx="705" formatCode="0.0%">
                  <c:v>-5.0555694358177021E-2</c:v>
                </c:pt>
                <c:pt idx="706" formatCode="0.0%">
                  <c:v>-5.4928817504797112E-2</c:v>
                </c:pt>
                <c:pt idx="707" formatCode="0.0%">
                  <c:v>-4.9735731532638994E-2</c:v>
                </c:pt>
                <c:pt idx="708" formatCode="0.0%">
                  <c:v>-4.9735731532638994E-2</c:v>
                </c:pt>
                <c:pt idx="709" formatCode="0.0%">
                  <c:v>-4.9735731532638994E-2</c:v>
                </c:pt>
                <c:pt idx="710" formatCode="0.0%">
                  <c:v>-4.9735731532638994E-2</c:v>
                </c:pt>
                <c:pt idx="711" formatCode="0.0%">
                  <c:v>-5.6158725974354125E-2</c:v>
                </c:pt>
                <c:pt idx="712" formatCode="0.0%">
                  <c:v>-2.2745419677426638E-2</c:v>
                </c:pt>
                <c:pt idx="713" formatCode="0.0%">
                  <c:v>-3.7094697586843355E-2</c:v>
                </c:pt>
                <c:pt idx="714" formatCode="0.0%">
                  <c:v>-7.2011292909757427E-2</c:v>
                </c:pt>
                <c:pt idx="715" formatCode="0.0%">
                  <c:v>-7.6862715781691127E-2</c:v>
                </c:pt>
                <c:pt idx="716" formatCode="0.0%">
                  <c:v>-7.6862715781691127E-2</c:v>
                </c:pt>
                <c:pt idx="717" formatCode="0.0%">
                  <c:v>-7.6862715781691127E-2</c:v>
                </c:pt>
                <c:pt idx="718" formatCode="0.0%">
                  <c:v>-8.4242345442784056E-2</c:v>
                </c:pt>
                <c:pt idx="719" formatCode="0.0%">
                  <c:v>-9.2510256241959896E-2</c:v>
                </c:pt>
                <c:pt idx="720" formatCode="0.0%">
                  <c:v>-8.0484194415317775E-2</c:v>
                </c:pt>
                <c:pt idx="721" formatCode="0.0%">
                  <c:v>-8.7932142388955442E-2</c:v>
                </c:pt>
                <c:pt idx="722" formatCode="0.0%">
                  <c:v>-9.052870325940944E-2</c:v>
                </c:pt>
                <c:pt idx="723" formatCode="0.0%">
                  <c:v>-9.052870325940944E-2</c:v>
                </c:pt>
                <c:pt idx="724" formatCode="0.0%">
                  <c:v>-9.052870325940944E-2</c:v>
                </c:pt>
                <c:pt idx="725" formatCode="0.0%">
                  <c:v>-9.052870325940944E-2</c:v>
                </c:pt>
                <c:pt idx="726" formatCode="0.0%">
                  <c:v>-9.2305265535575248E-2</c:v>
                </c:pt>
                <c:pt idx="727" formatCode="0.0%">
                  <c:v>-8.9845377058961021E-2</c:v>
                </c:pt>
                <c:pt idx="728" formatCode="0.0%">
                  <c:v>-8.567728038747574E-2</c:v>
                </c:pt>
                <c:pt idx="729" formatCode="0.0%">
                  <c:v>-9.1758647497716617E-2</c:v>
                </c:pt>
                <c:pt idx="730" formatCode="0.0%">
                  <c:v>-8.748925372616484E-2</c:v>
                </c:pt>
                <c:pt idx="731" formatCode="0.0%">
                  <c:v>-8.748925372616484E-2</c:v>
                </c:pt>
                <c:pt idx="732" formatCode="0.0%">
                  <c:v>-8.748925372616484E-2</c:v>
                </c:pt>
                <c:pt idx="733" formatCode="0.0%">
                  <c:v>-7.4129518286147514E-2</c:v>
                </c:pt>
                <c:pt idx="734" formatCode="0.0%">
                  <c:v>-7.4539499698916531E-2</c:v>
                </c:pt>
                <c:pt idx="735" formatCode="0.0%">
                  <c:v>-7.3377873773154356E-2</c:v>
                </c:pt>
                <c:pt idx="736" formatCode="0.0%">
                  <c:v>-7.3719536873378219E-2</c:v>
                </c:pt>
                <c:pt idx="737" formatCode="0.0%">
                  <c:v>-7.3719536873378219E-2</c:v>
                </c:pt>
                <c:pt idx="738" formatCode="0.0%">
                  <c:v>-7.3719536873378219E-2</c:v>
                </c:pt>
                <c:pt idx="739" formatCode="0.0%">
                  <c:v>-5.9301904882666887E-2</c:v>
                </c:pt>
                <c:pt idx="740" formatCode="0.0%">
                  <c:v>-6.3948337048216078E-2</c:v>
                </c:pt>
                <c:pt idx="741" formatCode="0.0%">
                  <c:v>-5.2332256634343113E-2</c:v>
                </c:pt>
                <c:pt idx="742" formatCode="0.0%">
                  <c:v>-5.2605565653272492E-2</c:v>
                </c:pt>
                <c:pt idx="743" formatCode="0.0%">
                  <c:v>-4.6934215724550511E-2</c:v>
                </c:pt>
                <c:pt idx="744" formatCode="0.0%">
                  <c:v>-4.6934215724550511E-2</c:v>
                </c:pt>
                <c:pt idx="745" formatCode="0.0%">
                  <c:v>-4.6934215724550511E-2</c:v>
                </c:pt>
                <c:pt idx="746" formatCode="0.0%">
                  <c:v>-4.1809448064937416E-2</c:v>
                </c:pt>
                <c:pt idx="747" formatCode="0.0%">
                  <c:v>-4.0784494533014734E-2</c:v>
                </c:pt>
                <c:pt idx="748" formatCode="0.0%">
                  <c:v>-3.0398358357448956E-2</c:v>
                </c:pt>
                <c:pt idx="749" formatCode="0.0%">
                  <c:v>-5.0965675770946177E-2</c:v>
                </c:pt>
                <c:pt idx="750" formatCode="0.0%">
                  <c:v>-4.7207524743479896E-2</c:v>
                </c:pt>
                <c:pt idx="751" formatCode="0.0%">
                  <c:v>-4.7207524743479896E-2</c:v>
                </c:pt>
                <c:pt idx="752" formatCode="0.0%">
                  <c:v>-4.7207524743479896E-2</c:v>
                </c:pt>
                <c:pt idx="753" formatCode="0.0%">
                  <c:v>-3.0740021457673093E-2</c:v>
                </c:pt>
                <c:pt idx="754" formatCode="0.0%">
                  <c:v>-3.0193367651064305E-2</c:v>
                </c:pt>
                <c:pt idx="755" formatCode="0.0%">
                  <c:v>-3.1200401039225199E-2</c:v>
                </c:pt>
                <c:pt idx="756" formatCode="0.0%">
                  <c:v>-2.8057007518412433E-2</c:v>
                </c:pt>
                <c:pt idx="757" formatCode="0.0%">
                  <c:v>-2.1944163908150641E-2</c:v>
                </c:pt>
                <c:pt idx="758" formatCode="0.0%">
                  <c:v>-2.1944163908150641E-2</c:v>
                </c:pt>
                <c:pt idx="759" formatCode="0.0%">
                  <c:v>-2.1944163908150641E-2</c:v>
                </c:pt>
                <c:pt idx="760" formatCode="0.0%">
                  <c:v>-2.5316763579114224E-2</c:v>
                </c:pt>
                <c:pt idx="761" formatCode="0.0%">
                  <c:v>-2.3623649796752914E-2</c:v>
                </c:pt>
                <c:pt idx="762" formatCode="0.0%">
                  <c:v>-2.4543872428606762E-2</c:v>
                </c:pt>
                <c:pt idx="763" formatCode="0.0%">
                  <c:v>1.7343551511382316E-3</c:v>
                </c:pt>
                <c:pt idx="764" formatCode="0.0%">
                  <c:v>4.6151345092788178E-3</c:v>
                </c:pt>
                <c:pt idx="765" formatCode="0.0%">
                  <c:v>4.6151345092788178E-3</c:v>
                </c:pt>
                <c:pt idx="766" formatCode="0.0%">
                  <c:v>4.6151345092788178E-3</c:v>
                </c:pt>
                <c:pt idx="767" formatCode="0.0%">
                  <c:v>-7.2485371922567762E-4</c:v>
                </c:pt>
                <c:pt idx="768" formatCode="0.0%">
                  <c:v>-3.0434914019970448E-3</c:v>
                </c:pt>
                <c:pt idx="769" formatCode="0.0%">
                  <c:v>1.1019994194731452E-3</c:v>
                </c:pt>
                <c:pt idx="770" formatCode="0.0%">
                  <c:v>-2.4814212641284428E-3</c:v>
                </c:pt>
                <c:pt idx="771" formatCode="0.0%">
                  <c:v>-1.8149957980660929E-2</c:v>
                </c:pt>
                <c:pt idx="772" formatCode="0.0%">
                  <c:v>-1.8149957980660929E-2</c:v>
                </c:pt>
                <c:pt idx="773" formatCode="0.0%">
                  <c:v>-1.8149957980660929E-2</c:v>
                </c:pt>
                <c:pt idx="774" formatCode="0.0%">
                  <c:v>-7.6105884799945048E-3</c:v>
                </c:pt>
                <c:pt idx="775" formatCode="0.0%">
                  <c:v>-4.3784884591234171E-3</c:v>
                </c:pt>
                <c:pt idx="776" formatCode="0.0%">
                  <c:v>-2.9029917519051195E-3</c:v>
                </c:pt>
                <c:pt idx="777" formatCode="0.0%">
                  <c:v>-8.453729455547716E-3</c:v>
                </c:pt>
                <c:pt idx="778" formatCode="0.0%">
                  <c:v>-1.646367602955422E-2</c:v>
                </c:pt>
                <c:pt idx="779" formatCode="0.0%">
                  <c:v>-1.646367602955422E-2</c:v>
                </c:pt>
                <c:pt idx="780" formatCode="0.0%">
                  <c:v>-1.646367602955422E-2</c:v>
                </c:pt>
                <c:pt idx="781" formatCode="0.0%">
                  <c:v>-1.6604211448396456E-2</c:v>
                </c:pt>
                <c:pt idx="782" formatCode="0.0%">
                  <c:v>-2.3279160965276872E-2</c:v>
                </c:pt>
                <c:pt idx="783" formatCode="0.0%">
                  <c:v>-3.2483533408817211E-2</c:v>
                </c:pt>
                <c:pt idx="784" formatCode="0.0%">
                  <c:v>-2.2998090127592546E-2</c:v>
                </c:pt>
                <c:pt idx="785" formatCode="0.0%">
                  <c:v>-3.8666662612875061E-2</c:v>
                </c:pt>
                <c:pt idx="786" formatCode="0.0%">
                  <c:v>-3.8666662612875061E-2</c:v>
                </c:pt>
                <c:pt idx="787" formatCode="0.0%">
                  <c:v>-3.8666662612875061E-2</c:v>
                </c:pt>
                <c:pt idx="788" formatCode="0.0%">
                  <c:v>-3.7683916205979814E-2</c:v>
                </c:pt>
                <c:pt idx="789" formatCode="0.0%">
                  <c:v>-3.7313816949487232E-2</c:v>
                </c:pt>
                <c:pt idx="790" formatCode="0.0%">
                  <c:v>-3.9650339007270503E-2</c:v>
                </c:pt>
                <c:pt idx="791" formatCode="0.0%">
                  <c:v>-3.9931374076204805E-2</c:v>
                </c:pt>
                <c:pt idx="792" formatCode="0.0%">
                  <c:v>-2.3560196034211459E-2</c:v>
                </c:pt>
                <c:pt idx="793" formatCode="0.0%">
                  <c:v>-2.3560196034211459E-2</c:v>
                </c:pt>
                <c:pt idx="794" formatCode="0.0%">
                  <c:v>-2.3560196034211459E-2</c:v>
                </c:pt>
                <c:pt idx="795" formatCode="0.0%">
                  <c:v>-1.716628158626534E-2</c:v>
                </c:pt>
                <c:pt idx="796" formatCode="0.0%">
                  <c:v>-2.2998090127592546E-2</c:v>
                </c:pt>
                <c:pt idx="797" formatCode="0.0%">
                  <c:v>-3.002436030720361E-2</c:v>
                </c:pt>
                <c:pt idx="798" formatCode="0.0%">
                  <c:v>-3.3186174734278498E-2</c:v>
                </c:pt>
                <c:pt idx="799" formatCode="0.0%">
                  <c:v>-7.7732683319762116E-2</c:v>
                </c:pt>
                <c:pt idx="800" formatCode="0.0%">
                  <c:v>-7.7732683319762116E-2</c:v>
                </c:pt>
                <c:pt idx="801" formatCode="0.0%">
                  <c:v>-7.7732683319762116E-2</c:v>
                </c:pt>
                <c:pt idx="802" formatCode="0.0%">
                  <c:v>-0.1000762053219249</c:v>
                </c:pt>
                <c:pt idx="803" formatCode="0.0%">
                  <c:v>-8.1807924316186276E-2</c:v>
                </c:pt>
                <c:pt idx="804" formatCode="0.0%">
                  <c:v>-8.9958370540285132E-2</c:v>
                </c:pt>
                <c:pt idx="805" formatCode="0.0%">
                  <c:v>-7.6819256750412568E-2</c:v>
                </c:pt>
                <c:pt idx="806" formatCode="0.0%">
                  <c:v>-7.8927144958045828E-2</c:v>
                </c:pt>
                <c:pt idx="807" formatCode="0.0%">
                  <c:v>-7.8927144958045828E-2</c:v>
                </c:pt>
                <c:pt idx="808" formatCode="0.0%">
                  <c:v>-7.8927144958045828E-2</c:v>
                </c:pt>
                <c:pt idx="809" formatCode="0.0%">
                  <c:v>-7.8154253807538793E-2</c:v>
                </c:pt>
                <c:pt idx="810" formatCode="0.0%">
                  <c:v>-7.5695080705924914E-2</c:v>
                </c:pt>
                <c:pt idx="811" formatCode="0.0%">
                  <c:v>-6.7825669550760498E-2</c:v>
                </c:pt>
                <c:pt idx="812" formatCode="0.0%">
                  <c:v>-7.0284842652374377E-2</c:v>
                </c:pt>
                <c:pt idx="813" formatCode="0.0%">
                  <c:v>-7.611665119370159E-2</c:v>
                </c:pt>
                <c:pt idx="814" formatCode="0.0%">
                  <c:v>-7.611665119370159E-2</c:v>
                </c:pt>
                <c:pt idx="815" formatCode="0.0%">
                  <c:v>-7.611665119370159E-2</c:v>
                </c:pt>
                <c:pt idx="816" formatCode="0.0%">
                  <c:v>-6.585831676196946E-2</c:v>
                </c:pt>
                <c:pt idx="817" formatCode="0.0%">
                  <c:v>-7.6257186612543826E-2</c:v>
                </c:pt>
                <c:pt idx="818" formatCode="0.0%">
                  <c:v>-6.7544598713076165E-2</c:v>
                </c:pt>
                <c:pt idx="819" formatCode="0.0%">
                  <c:v>-6.122096985892625E-2</c:v>
                </c:pt>
                <c:pt idx="820" formatCode="0.0%">
                  <c:v>-4.7001139055844306E-2</c:v>
                </c:pt>
                <c:pt idx="821" formatCode="0.0%">
                  <c:v>-4.7001139055844306E-2</c:v>
                </c:pt>
                <c:pt idx="822" formatCode="0.0%">
                  <c:v>-4.7001139055844306E-2</c:v>
                </c:pt>
                <c:pt idx="823" formatCode="0.0%">
                  <c:v>-5.1454455740017127E-2</c:v>
                </c:pt>
                <c:pt idx="824" formatCode="0.0%">
                  <c:v>-4.8924997044606899E-2</c:v>
                </c:pt>
                <c:pt idx="825" formatCode="0.0%">
                  <c:v>-6.3047787228874913E-2</c:v>
                </c:pt>
                <c:pt idx="826" formatCode="0.0%">
                  <c:v>-6.3047787228874913E-2</c:v>
                </c:pt>
                <c:pt idx="827" formatCode="0.0%">
                  <c:v>-6.3047787228874913E-2</c:v>
                </c:pt>
                <c:pt idx="828" formatCode="0.0%">
                  <c:v>-6.3047787228874913E-2</c:v>
                </c:pt>
                <c:pt idx="829" formatCode="0.0%">
                  <c:v>-6.3047787228874913E-2</c:v>
                </c:pt>
                <c:pt idx="830" formatCode="0.0%">
                  <c:v>-6.3047787228874913E-2</c:v>
                </c:pt>
                <c:pt idx="831" formatCode="0.0%">
                  <c:v>-5.9394152488977309E-2</c:v>
                </c:pt>
                <c:pt idx="832" formatCode="0.0%">
                  <c:v>-6.0939899021241931E-2</c:v>
                </c:pt>
                <c:pt idx="833" formatCode="0.0%">
                  <c:v>-6.3890963973178574E-2</c:v>
                </c:pt>
                <c:pt idx="834" formatCode="0.0%">
                  <c:v>-4.9135782288495307E-2</c:v>
                </c:pt>
                <c:pt idx="835" formatCode="0.0%">
                  <c:v>-4.9135782288495307E-2</c:v>
                </c:pt>
                <c:pt idx="836" formatCode="0.0%">
                  <c:v>-4.9135782288495307E-2</c:v>
                </c:pt>
                <c:pt idx="837" formatCode="0.0%">
                  <c:v>-4.7238715093500472E-2</c:v>
                </c:pt>
                <c:pt idx="838" formatCode="0.0%">
                  <c:v>-4.7238715093500472E-2</c:v>
                </c:pt>
                <c:pt idx="839" formatCode="0.0%">
                  <c:v>-5.4546020342045691E-2</c:v>
                </c:pt>
                <c:pt idx="840" formatCode="0.0%">
                  <c:v>-5.7216014456298009E-2</c:v>
                </c:pt>
                <c:pt idx="841" formatCode="0.0%">
                  <c:v>-5.7075479037455634E-2</c:v>
                </c:pt>
                <c:pt idx="842" formatCode="0.0%">
                  <c:v>-5.7075479037455634E-2</c:v>
                </c:pt>
                <c:pt idx="843" formatCode="0.0%">
                  <c:v>-5.7075479037455634E-2</c:v>
                </c:pt>
                <c:pt idx="844" formatCode="0.0%">
                  <c:v>-5.5037840654868546E-2</c:v>
                </c:pt>
                <c:pt idx="845" formatCode="0.0%">
                  <c:v>-5.7918620013009132E-2</c:v>
                </c:pt>
                <c:pt idx="846" formatCode="0.0%">
                  <c:v>-6.8949845595248152E-2</c:v>
                </c:pt>
                <c:pt idx="847" formatCode="0.0%">
                  <c:v>-6.3118072822671109E-2</c:v>
                </c:pt>
                <c:pt idx="848" formatCode="0.0%">
                  <c:v>-5.4967590829822367E-2</c:v>
                </c:pt>
                <c:pt idx="849" formatCode="0.0%">
                  <c:v>-5.4967590829822367E-2</c:v>
                </c:pt>
                <c:pt idx="850" formatCode="0.0%">
                  <c:v>-5.3439871747569895E-2</c:v>
                </c:pt>
                <c:pt idx="851" formatCode="0.0%">
                  <c:v>-5.3439871747569895E-2</c:v>
                </c:pt>
                <c:pt idx="852" formatCode="0.0%">
                  <c:v>-4.9276317707337682E-2</c:v>
                </c:pt>
                <c:pt idx="853" formatCode="0.0%">
                  <c:v>-5.8621261338470274E-2</c:v>
                </c:pt>
                <c:pt idx="854" formatCode="0.0%">
                  <c:v>-6.3820678379382378E-2</c:v>
                </c:pt>
                <c:pt idx="855" formatCode="0.0%">
                  <c:v>-6.3820678379382378E-2</c:v>
                </c:pt>
                <c:pt idx="856" formatCode="0.0%">
                  <c:v>-6.3820678379382378E-2</c:v>
                </c:pt>
                <c:pt idx="857" formatCode="0.0%">
                  <c:v>-6.3820678379382378E-2</c:v>
                </c:pt>
                <c:pt idx="858" formatCode="0.0%">
                  <c:v>-5.7005193443659577E-2</c:v>
                </c:pt>
                <c:pt idx="859" formatCode="0.0%">
                  <c:v>-5.6021517049263989E-2</c:v>
                </c:pt>
                <c:pt idx="860" formatCode="0.0%">
                  <c:v>-5.3843379016584689E-2</c:v>
                </c:pt>
                <c:pt idx="861" formatCode="0.0%">
                  <c:v>-4.9065532463449128E-2</c:v>
                </c:pt>
                <c:pt idx="862" formatCode="0.0%">
                  <c:v>-4.3163474097076035E-2</c:v>
                </c:pt>
                <c:pt idx="863" formatCode="0.0%">
                  <c:v>-4.3163474097076035E-2</c:v>
                </c:pt>
                <c:pt idx="864" formatCode="0.0%">
                  <c:v>-4.3163474097076035E-2</c:v>
                </c:pt>
                <c:pt idx="865" formatCode="0.0%">
                  <c:v>-4.3093224272029856E-2</c:v>
                </c:pt>
                <c:pt idx="866" formatCode="0.0%">
                  <c:v>-4.4006615072629388E-2</c:v>
                </c:pt>
                <c:pt idx="867" formatCode="0.0%">
                  <c:v>-4.0774550820508466E-2</c:v>
                </c:pt>
                <c:pt idx="868" formatCode="0.0%">
                  <c:v>-4.0774550820508466E-2</c:v>
                </c:pt>
                <c:pt idx="869" formatCode="0.0%">
                  <c:v>-4.0774550820508466E-2</c:v>
                </c:pt>
                <c:pt idx="870" formatCode="0.0%">
                  <c:v>-4.0774550820508466E-2</c:v>
                </c:pt>
                <c:pt idx="871" formatCode="0.0%">
                  <c:v>-4.0774550820508466E-2</c:v>
                </c:pt>
                <c:pt idx="872" formatCode="0.0%">
                  <c:v>-1.7517602248995841E-2</c:v>
                </c:pt>
                <c:pt idx="873" formatCode="0.0%">
                  <c:v>-2.2506269814769695E-2</c:v>
                </c:pt>
                <c:pt idx="874" formatCode="0.0%">
                  <c:v>-3.7893771462367741E-2</c:v>
                </c:pt>
                <c:pt idx="875" formatCode="0.0%">
                  <c:v>-2.1592843245420282E-2</c:v>
                </c:pt>
                <c:pt idx="876" formatCode="0.0%">
                  <c:v>-1.1896614720307071E-2</c:v>
                </c:pt>
                <c:pt idx="877" formatCode="0.0%">
                  <c:v>-1.1896614720307071E-2</c:v>
                </c:pt>
                <c:pt idx="878" formatCode="0.0%">
                  <c:v>-1.1896614720307071E-2</c:v>
                </c:pt>
                <c:pt idx="879" formatCode="0.0%">
                  <c:v>-1.1896614720307071E-2</c:v>
                </c:pt>
                <c:pt idx="880" formatCode="0.0%">
                  <c:v>-2.4814212641284428E-3</c:v>
                </c:pt>
                <c:pt idx="881" formatCode="0.0%">
                  <c:v>-9.6618905250906544E-3</c:v>
                </c:pt>
                <c:pt idx="882" formatCode="0.0%">
                  <c:v>-1.3301861602479193E-2</c:v>
                </c:pt>
                <c:pt idx="883" formatCode="0.0%">
                  <c:v>2.4369607078492095E-3</c:v>
                </c:pt>
                <c:pt idx="884" formatCode="0.0%">
                  <c:v>2.4369607078492095E-3</c:v>
                </c:pt>
                <c:pt idx="885" formatCode="0.0%">
                  <c:v>2.4369607078492095E-3</c:v>
                </c:pt>
                <c:pt idx="886" formatCode="0.0%">
                  <c:v>2.4369607078492095E-3</c:v>
                </c:pt>
                <c:pt idx="887" formatCode="0.0%">
                  <c:v>1.2344010245600999E-2</c:v>
                </c:pt>
                <c:pt idx="888" formatCode="0.0%">
                  <c:v>9.7443017251448785E-3</c:v>
                </c:pt>
                <c:pt idx="889" formatCode="0.0%">
                  <c:v>-3.886668146300707E-3</c:v>
                </c:pt>
                <c:pt idx="890" formatCode="0.0%">
                  <c:v>7.0040577858463847E-3</c:v>
                </c:pt>
                <c:pt idx="891" formatCode="0.0%">
                  <c:v>7.0040577858463847E-3</c:v>
                </c:pt>
                <c:pt idx="892" formatCode="0.0%">
                  <c:v>7.0040577858463847E-3</c:v>
                </c:pt>
                <c:pt idx="893" formatCode="0.0%">
                  <c:v>7.9174485864457727E-3</c:v>
                </c:pt>
                <c:pt idx="894" formatCode="0.0%">
                  <c:v>1.9089209587527307E-2</c:v>
                </c:pt>
                <c:pt idx="895" formatCode="0.0%">
                  <c:v>1.8246068611974097E-2</c:v>
                </c:pt>
                <c:pt idx="896" formatCode="0.0%">
                  <c:v>1.5786895510360211E-2</c:v>
                </c:pt>
                <c:pt idx="897" formatCode="0.0%">
                  <c:v>2.2251024014602338E-2</c:v>
                </c:pt>
                <c:pt idx="898" formatCode="0.0%">
                  <c:v>2.2251024014602338E-2</c:v>
                </c:pt>
                <c:pt idx="899" formatCode="0.0%">
                  <c:v>2.2251024014602338E-2</c:v>
                </c:pt>
                <c:pt idx="900" formatCode="0.0%">
                  <c:v>1.6348965648228953E-2</c:v>
                </c:pt>
                <c:pt idx="901" formatCode="0.0%">
                  <c:v>1.136033385120541E-2</c:v>
                </c:pt>
                <c:pt idx="902" formatCode="0.0%">
                  <c:v>6.301416460385241E-3</c:v>
                </c:pt>
                <c:pt idx="903" formatCode="0.0%">
                  <c:v>1.4532843134536222E-3</c:v>
                </c:pt>
                <c:pt idx="904" formatCode="0.0%">
                  <c:v>5.0367049970554941E-3</c:v>
                </c:pt>
                <c:pt idx="905" formatCode="0.0%">
                  <c:v>5.0367049970554941E-3</c:v>
                </c:pt>
                <c:pt idx="906" formatCode="0.0%">
                  <c:v>5.0367049970554941E-3</c:v>
                </c:pt>
                <c:pt idx="907" formatCode="0.0%">
                  <c:v>8.4093046680186485E-3</c:v>
                </c:pt>
                <c:pt idx="908" formatCode="0.0%">
                  <c:v>-9.2462218810709376E-5</c:v>
                </c:pt>
                <c:pt idx="909" formatCode="0.0%">
                  <c:v>1.0095622387875237E-2</c:v>
                </c:pt>
                <c:pt idx="910" formatCode="0.0%">
                  <c:v>1.4943718766056975E-2</c:v>
                </c:pt>
                <c:pt idx="911" formatCode="0.0%">
                  <c:v>2.3804067371871299E-2</c:v>
                </c:pt>
                <c:pt idx="912" formatCode="0.0%">
                  <c:v>2.3804067371871299E-2</c:v>
                </c:pt>
                <c:pt idx="913" formatCode="0.0%">
                  <c:v>2.3804067371871299E-2</c:v>
                </c:pt>
                <c:pt idx="914" formatCode="0.0%">
                  <c:v>2.3304986002794122E-2</c:v>
                </c:pt>
                <c:pt idx="915" formatCode="0.0%">
                  <c:v>2.2532094852286945E-2</c:v>
                </c:pt>
                <c:pt idx="916" formatCode="0.0%">
                  <c:v>1.9229745006369398E-2</c:v>
                </c:pt>
                <c:pt idx="917" formatCode="0.0%">
                  <c:v>6.301416460385241E-3</c:v>
                </c:pt>
                <c:pt idx="918" formatCode="0.0%">
                  <c:v>4.6151345092788178E-3</c:v>
                </c:pt>
                <c:pt idx="919" formatCode="0.0%">
                  <c:v>4.6151345092788178E-3</c:v>
                </c:pt>
                <c:pt idx="920" formatCode="0.0%">
                  <c:v>4.6151345092788178E-3</c:v>
                </c:pt>
                <c:pt idx="921" formatCode="0.0%">
                  <c:v>1.5235699072498222E-3</c:v>
                </c:pt>
                <c:pt idx="922" formatCode="0.0%">
                  <c:v>5.458275484832029E-3</c:v>
                </c:pt>
                <c:pt idx="923" formatCode="0.0%">
                  <c:v>1.0868477769632392E-2</c:v>
                </c:pt>
                <c:pt idx="924" formatCode="0.0%">
                  <c:v>1.5154504009945242E-2</c:v>
                </c:pt>
                <c:pt idx="925" formatCode="0.0%">
                  <c:v>1.7754248299151242E-2</c:v>
                </c:pt>
                <c:pt idx="926" formatCode="0.0%">
                  <c:v>1.7754248299151242E-2</c:v>
                </c:pt>
                <c:pt idx="927" formatCode="0.0%">
                  <c:v>1.7754248299151242E-2</c:v>
                </c:pt>
                <c:pt idx="928" formatCode="0.0%">
                  <c:v>1.5646360091517975E-2</c:v>
                </c:pt>
                <c:pt idx="929" formatCode="0.0%">
                  <c:v>1.7332642042624542E-2</c:v>
                </c:pt>
                <c:pt idx="930" formatCode="0.0%">
                  <c:v>2.8504403043706078E-2</c:v>
                </c:pt>
                <c:pt idx="931" formatCode="0.0%">
                  <c:v>2.2532094852286945E-2</c:v>
                </c:pt>
                <c:pt idx="932" formatCode="0.0%">
                  <c:v>2.2672630271129039E-2</c:v>
                </c:pt>
                <c:pt idx="933" formatCode="0.0%">
                  <c:v>2.2672630271129039E-2</c:v>
                </c:pt>
                <c:pt idx="934" formatCode="0.0%">
                  <c:v>2.2672630271129039E-2</c:v>
                </c:pt>
                <c:pt idx="935" formatCode="0.0%">
                  <c:v>2.3937341734458783E-2</c:v>
                </c:pt>
                <c:pt idx="936" formatCode="0.0%">
                  <c:v>3.5460423398270963E-2</c:v>
                </c:pt>
                <c:pt idx="937" formatCode="0.0%">
                  <c:v>2.7099156161533956E-2</c:v>
                </c:pt>
                <c:pt idx="938" formatCode="0.0%">
                  <c:v>4.5507972586114533E-2</c:v>
                </c:pt>
                <c:pt idx="939" formatCode="0.0%">
                  <c:v>3.8270917162615492E-2</c:v>
                </c:pt>
                <c:pt idx="940" formatCode="0.0%">
                  <c:v>3.8270917162615492E-2</c:v>
                </c:pt>
                <c:pt idx="941" formatCode="0.0%">
                  <c:v>3.8270917162615492E-2</c:v>
                </c:pt>
                <c:pt idx="942" formatCode="0.0%">
                  <c:v>4.1386446827159917E-2</c:v>
                </c:pt>
                <c:pt idx="943" formatCode="0.0%">
                  <c:v>3.9465378800899203E-2</c:v>
                </c:pt>
                <c:pt idx="944" formatCode="0.0%">
                  <c:v>3.2579644040130515E-2</c:v>
                </c:pt>
                <c:pt idx="945" formatCode="0.0%">
                  <c:v>2.6185765360934567E-2</c:v>
                </c:pt>
                <c:pt idx="946" formatCode="0.0%">
                  <c:v>2.0002636156876859E-2</c:v>
                </c:pt>
                <c:pt idx="947" formatCode="0.0%">
                  <c:v>2.0002636156876859E-2</c:v>
                </c:pt>
                <c:pt idx="948" formatCode="0.0%">
                  <c:v>2.0002636156876859E-2</c:v>
                </c:pt>
                <c:pt idx="949" formatCode="0.0%">
                  <c:v>2.091606272622613E-2</c:v>
                </c:pt>
                <c:pt idx="950" formatCode="0.0%">
                  <c:v>1.9721601087942419E-2</c:v>
                </c:pt>
                <c:pt idx="951" formatCode="0.0%">
                  <c:v>2.1407883039049124E-2</c:v>
                </c:pt>
                <c:pt idx="952" formatCode="0.0%">
                  <c:v>2.5483124035473422E-2</c:v>
                </c:pt>
                <c:pt idx="953" formatCode="0.0%">
                  <c:v>1.410057779050362E-2</c:v>
                </c:pt>
                <c:pt idx="954" formatCode="0.0%">
                  <c:v>1.410057779050362E-2</c:v>
                </c:pt>
                <c:pt idx="955" formatCode="0.0%">
                  <c:v>1.410057779050362E-2</c:v>
                </c:pt>
                <c:pt idx="956" formatCode="0.0%">
                  <c:v>1.831631843702013E-2</c:v>
                </c:pt>
                <c:pt idx="957" formatCode="0.0%">
                  <c:v>1.3468222058838535E-2</c:v>
                </c:pt>
                <c:pt idx="958" formatCode="0.0%">
                  <c:v>1.0376657456809824E-2</c:v>
                </c:pt>
                <c:pt idx="959" formatCode="0.0%">
                  <c:v>7.5067875674264431E-4</c:v>
                </c:pt>
                <c:pt idx="960" formatCode="0.0%">
                  <c:v>-1.6042105541777544E-2</c:v>
                </c:pt>
                <c:pt idx="961" formatCode="0.0%">
                  <c:v>-1.6042105541777544E-2</c:v>
                </c:pt>
                <c:pt idx="962" formatCode="0.0%">
                  <c:v>-1.6042105541777544E-2</c:v>
                </c:pt>
                <c:pt idx="963" formatCode="0.0%">
                  <c:v>-7.8916235489288056E-3</c:v>
                </c:pt>
                <c:pt idx="964" formatCode="0.0%">
                  <c:v>-8.6535336931774513E-4</c:v>
                </c:pt>
                <c:pt idx="965" formatCode="0.0%">
                  <c:v>6.2311666353392072E-3</c:v>
                </c:pt>
                <c:pt idx="966" formatCode="0.0%">
                  <c:v>1.1992689582870355E-2</c:v>
                </c:pt>
                <c:pt idx="967" formatCode="0.0%">
                  <c:v>3.7719577649755818E-3</c:v>
                </c:pt>
                <c:pt idx="968" formatCode="0.0%">
                  <c:v>3.7719577649755818E-3</c:v>
                </c:pt>
                <c:pt idx="969" formatCode="0.0%">
                  <c:v>3.7719577649755818E-3</c:v>
                </c:pt>
                <c:pt idx="970" formatCode="0.0%">
                  <c:v>1.1781904338981946E-2</c:v>
                </c:pt>
                <c:pt idx="971" formatCode="0.0%">
                  <c:v>1.620846599813703E-2</c:v>
                </c:pt>
                <c:pt idx="972" formatCode="0.0%">
                  <c:v>2.0072885981922754E-2</c:v>
                </c:pt>
                <c:pt idx="973" formatCode="0.0%">
                  <c:v>2.4019609859512913E-2</c:v>
                </c:pt>
                <c:pt idx="974" formatCode="0.0%">
                  <c:v>2.8012582730883508E-2</c:v>
                </c:pt>
                <c:pt idx="975" formatCode="0.0%">
                  <c:v>2.8012582730883508E-2</c:v>
                </c:pt>
                <c:pt idx="976" formatCode="0.0%">
                  <c:v>2.8012582730883508E-2</c:v>
                </c:pt>
                <c:pt idx="977" formatCode="0.0%">
                  <c:v>3.3001214527907052E-2</c:v>
                </c:pt>
                <c:pt idx="978" formatCode="0.0%">
                  <c:v>3.2017538133511464E-2</c:v>
                </c:pt>
                <c:pt idx="979" formatCode="0.0%">
                  <c:v>3.068254107638552E-2</c:v>
                </c:pt>
                <c:pt idx="980" formatCode="0.0%">
                  <c:v>2.2602344677332839E-2</c:v>
                </c:pt>
                <c:pt idx="981" formatCode="0.0%">
                  <c:v>2.2321309608398253E-2</c:v>
                </c:pt>
                <c:pt idx="982" formatCode="0.0%">
                  <c:v>2.2321309608398253E-2</c:v>
                </c:pt>
                <c:pt idx="983" formatCode="0.0%">
                  <c:v>2.2321309608398253E-2</c:v>
                </c:pt>
                <c:pt idx="984" formatCode="0.0%">
                  <c:v>2.0353956819607218E-2</c:v>
                </c:pt>
                <c:pt idx="985" formatCode="0.0%">
                  <c:v>2.1478168632845181E-2</c:v>
                </c:pt>
                <c:pt idx="986" formatCode="0.0%">
                  <c:v>1.466268369712239E-2</c:v>
                </c:pt>
                <c:pt idx="987" formatCode="0.0%">
                  <c:v>2.1688953876733592E-2</c:v>
                </c:pt>
                <c:pt idx="988" formatCode="0.0%">
                  <c:v>2.4569697466124012E-2</c:v>
                </c:pt>
                <c:pt idx="989" formatCode="0.0%">
                  <c:v>2.4569697466124012E-2</c:v>
                </c:pt>
                <c:pt idx="990" formatCode="0.0%">
                  <c:v>2.4569697466124012E-2</c:v>
                </c:pt>
                <c:pt idx="991" formatCode="0.0%">
                  <c:v>1.620846599813703E-2</c:v>
                </c:pt>
                <c:pt idx="992" formatCode="0.0%">
                  <c:v>8.1985194241302392E-3</c:v>
                </c:pt>
                <c:pt idx="993" formatCode="0.0%">
                  <c:v>1.5505824672675601E-2</c:v>
                </c:pt>
                <c:pt idx="994" formatCode="0.0%">
                  <c:v>-3.8163825525045071E-3</c:v>
                </c:pt>
                <c:pt idx="995" formatCode="0.0%">
                  <c:v>-6.0648061789800069E-3</c:v>
                </c:pt>
                <c:pt idx="996" formatCode="0.0%">
                  <c:v>-6.0648061789800069E-3</c:v>
                </c:pt>
                <c:pt idx="997" formatCode="0.0%">
                  <c:v>-6.0648061789800069E-3</c:v>
                </c:pt>
                <c:pt idx="998" formatCode="0.0%">
                  <c:v>-5.2919150284726872E-3</c:v>
                </c:pt>
                <c:pt idx="999" formatCode="0.0%">
                  <c:v>-1.0210297000450482E-2</c:v>
                </c:pt>
                <c:pt idx="1000" formatCode="0.0%">
                  <c:v>-3.0434914019970448E-3</c:v>
                </c:pt>
                <c:pt idx="1001" formatCode="0.0%">
                  <c:v>-6.416126841710508E-3</c:v>
                </c:pt>
                <c:pt idx="1002" formatCode="0.0%">
                  <c:v>6.301416460385241E-3</c:v>
                </c:pt>
                <c:pt idx="1003" formatCode="0.0%">
                  <c:v>-4.3251572528384937E-3</c:v>
                </c:pt>
                <c:pt idx="1004" formatCode="0.0%">
                  <c:v>-4.3251572528384937E-3</c:v>
                </c:pt>
                <c:pt idx="1005" formatCode="0.0%">
                  <c:v>-6.5456812542947769E-4</c:v>
                </c:pt>
                <c:pt idx="1006" formatCode="0.0%">
                  <c:v>2.718031545533961E-3</c:v>
                </c:pt>
                <c:pt idx="1007" formatCode="0.0%">
                  <c:v>-5.9242707601377727E-3</c:v>
                </c:pt>
                <c:pt idx="1008" formatCode="0.0%">
                  <c:v>-1.0058887881599788E-3</c:v>
                </c:pt>
                <c:pt idx="1009" formatCode="0.0%">
                  <c:v>-7.9510354427171138E-4</c:v>
                </c:pt>
                <c:pt idx="1010" formatCode="0.0%">
                  <c:v>-7.9510354427171138E-4</c:v>
                </c:pt>
                <c:pt idx="1011" formatCode="0.0%">
                  <c:v>-7.9510354427171138E-4</c:v>
                </c:pt>
                <c:pt idx="1012" formatCode="0.0%">
                  <c:v>8.0579840052881473E-3</c:v>
                </c:pt>
                <c:pt idx="1013" formatCode="0.0%">
                  <c:v>1.5014004359853032E-2</c:v>
                </c:pt>
                <c:pt idx="1014" formatCode="0.0%">
                  <c:v>1.7262392217578509E-2</c:v>
                </c:pt>
                <c:pt idx="1015" formatCode="0.0%">
                  <c:v>2.4499447641077837E-2</c:v>
                </c:pt>
                <c:pt idx="1016" formatCode="0.0%">
                  <c:v>2.1618668282937393E-2</c:v>
                </c:pt>
                <c:pt idx="1017" formatCode="0.0%">
                  <c:v>2.1618668282937393E-2</c:v>
                </c:pt>
                <c:pt idx="1018" formatCode="0.0%">
                  <c:v>2.1618668282937393E-2</c:v>
                </c:pt>
                <c:pt idx="1019" formatCode="0.0%">
                  <c:v>1.5857145335406386E-2</c:v>
                </c:pt>
                <c:pt idx="1020" formatCode="0.0%">
                  <c:v>9.8145515501909131E-3</c:v>
                </c:pt>
                <c:pt idx="1021" formatCode="0.0%">
                  <c:v>4.6151345092788178E-3</c:v>
                </c:pt>
                <c:pt idx="1022" formatCode="0.0%">
                  <c:v>1.1019994194731452E-3</c:v>
                </c:pt>
                <c:pt idx="1023" formatCode="0.0%">
                  <c:v>-1.224789961428769E-2</c:v>
                </c:pt>
                <c:pt idx="1024" formatCode="0.0%">
                  <c:v>-1.224789961428769E-2</c:v>
                </c:pt>
                <c:pt idx="1025" formatCode="0.0%">
                  <c:v>-1.224789961428769E-2</c:v>
                </c:pt>
                <c:pt idx="1026" formatCode="0.0%">
                  <c:v>-2.2084663558242994E-2</c:v>
                </c:pt>
                <c:pt idx="1027" formatCode="0.0%">
                  <c:v>-1.6604211448396456E-2</c:v>
                </c:pt>
                <c:pt idx="1028" formatCode="0.0%">
                  <c:v>-3.2272748164928942E-2</c:v>
                </c:pt>
                <c:pt idx="1029" formatCode="0.0%">
                  <c:v>-3.7964021287413913E-2</c:v>
                </c:pt>
                <c:pt idx="1030" formatCode="0.0%">
                  <c:v>-3.9650339007270503E-2</c:v>
                </c:pt>
                <c:pt idx="1031" formatCode="0.0%">
                  <c:v>-3.9650339007270503E-2</c:v>
                </c:pt>
                <c:pt idx="1032" formatCode="0.0%">
                  <c:v>-3.9650339007270503E-2</c:v>
                </c:pt>
                <c:pt idx="1033" formatCode="0.0%">
                  <c:v>-3.9369303938336202E-2</c:v>
                </c:pt>
                <c:pt idx="1034" formatCode="0.0%">
                  <c:v>-2.3532081796692809E-2</c:v>
                </c:pt>
                <c:pt idx="1035" formatCode="0.0%">
                  <c:v>-1.5831320297889279E-2</c:v>
                </c:pt>
                <c:pt idx="1036" formatCode="0.0%">
                  <c:v>-5.0811297845844193E-3</c:v>
                </c:pt>
                <c:pt idx="1037" formatCode="0.0%">
                  <c:v>1.1722492445194633E-3</c:v>
                </c:pt>
                <c:pt idx="1038" formatCode="0.0%">
                  <c:v>1.1722492445194633E-3</c:v>
                </c:pt>
                <c:pt idx="1039" formatCode="0.0%">
                  <c:v>1.1722492445194633E-3</c:v>
                </c:pt>
                <c:pt idx="1040" formatCode="0.0%">
                  <c:v>-3.7353305649503457E-4</c:v>
                </c:pt>
                <c:pt idx="1041" formatCode="0.0%">
                  <c:v>7.7066633425575048E-3</c:v>
                </c:pt>
                <c:pt idx="1042" formatCode="0.0%">
                  <c:v>1.48734689410108E-2</c:v>
                </c:pt>
                <c:pt idx="1043" formatCode="0.0%">
                  <c:v>2.0072885981922754E-2</c:v>
                </c:pt>
                <c:pt idx="1044" formatCode="0.0%">
                  <c:v>1.5154504009945242E-2</c:v>
                </c:pt>
                <c:pt idx="1045" formatCode="0.0%">
                  <c:v>1.5154504009945242E-2</c:v>
                </c:pt>
                <c:pt idx="1046" formatCode="0.0%">
                  <c:v>1.5154504009945242E-2</c:v>
                </c:pt>
                <c:pt idx="1047" formatCode="0.0%">
                  <c:v>1.9862100738034627E-2</c:v>
                </c:pt>
                <c:pt idx="1048" formatCode="0.0%">
                  <c:v>3.0050185344720575E-2</c:v>
                </c:pt>
                <c:pt idx="1049" formatCode="0.0%">
                  <c:v>3.1104147332912079E-2</c:v>
                </c:pt>
                <c:pt idx="1050" formatCode="0.0%">
                  <c:v>2.6888370917645545E-2</c:v>
                </c:pt>
                <c:pt idx="1051" formatCode="0.0%">
                  <c:v>2.6677585673757137E-2</c:v>
                </c:pt>
                <c:pt idx="1052" formatCode="0.0%">
                  <c:v>2.6677585673757137E-2</c:v>
                </c:pt>
                <c:pt idx="1053" formatCode="0.0%">
                  <c:v>2.6677585673757137E-2</c:v>
                </c:pt>
                <c:pt idx="1054" formatCode="0.0%">
                  <c:v>2.9909649925878343E-2</c:v>
                </c:pt>
                <c:pt idx="1055" formatCode="0.0%">
                  <c:v>2.9136794544121186E-2</c:v>
                </c:pt>
                <c:pt idx="1056" formatCode="0.0%">
                  <c:v>3.9957234882471937E-2</c:v>
                </c:pt>
                <c:pt idx="1057" formatCode="0.0%">
                  <c:v>4.0519340789090849E-2</c:v>
                </c:pt>
                <c:pt idx="1058" formatCode="0.0%">
                  <c:v>3.6584599442758756E-2</c:v>
                </c:pt>
                <c:pt idx="1059" formatCode="0.0%">
                  <c:v>3.6584599442758756E-2</c:v>
                </c:pt>
                <c:pt idx="1060" formatCode="0.0%">
                  <c:v>3.6584599442758756E-2</c:v>
                </c:pt>
                <c:pt idx="1061" formatCode="0.0%">
                  <c:v>3.6373814198870494E-2</c:v>
                </c:pt>
                <c:pt idx="1062" formatCode="0.0%">
                  <c:v>2.6537050254914901E-2</c:v>
                </c:pt>
                <c:pt idx="1063" formatCode="0.0%">
                  <c:v>3.6584599442758756E-2</c:v>
                </c:pt>
                <c:pt idx="1064" formatCode="0.0%">
                  <c:v>4.082841855804361E-2</c:v>
                </c:pt>
                <c:pt idx="1065" formatCode="0.0%">
                  <c:v>4.480533126065353E-2</c:v>
                </c:pt>
                <c:pt idx="1066" formatCode="0.0%">
                  <c:v>4.480533126065353E-2</c:v>
                </c:pt>
                <c:pt idx="1067" formatCode="0.0%">
                  <c:v>4.480533126065353E-2</c:v>
                </c:pt>
                <c:pt idx="1068" formatCode="0.0%">
                  <c:v>4.3400084378481411E-2</c:v>
                </c:pt>
                <c:pt idx="1069" formatCode="0.0%">
                  <c:v>4.3821654866257942E-2</c:v>
                </c:pt>
                <c:pt idx="1070" formatCode="0.0%">
                  <c:v>5.2745028009614003E-2</c:v>
                </c:pt>
                <c:pt idx="1071" formatCode="0.0%">
                  <c:v>5.0145319489157882E-2</c:v>
                </c:pt>
                <c:pt idx="1072" formatCode="0.0%">
                  <c:v>5.3658454578963413E-2</c:v>
                </c:pt>
                <c:pt idx="1073" formatCode="0.0%">
                  <c:v>5.3658454578963413E-2</c:v>
                </c:pt>
                <c:pt idx="1074" formatCode="0.0%">
                  <c:v>5.3658454578963413E-2</c:v>
                </c:pt>
                <c:pt idx="1075" formatCode="0.0%">
                  <c:v>6.4338359498472067E-2</c:v>
                </c:pt>
                <c:pt idx="1076" formatCode="0.0%">
                  <c:v>6.6094927043374843E-2</c:v>
                </c:pt>
                <c:pt idx="1077" formatCode="0.0%">
                  <c:v>7.4104873617381481E-2</c:v>
                </c:pt>
                <c:pt idx="1078" formatCode="0.0%">
                  <c:v>7.3753552954650706E-2</c:v>
                </c:pt>
                <c:pt idx="1079" formatCode="0.0%">
                  <c:v>7.8531399507786259E-2</c:v>
                </c:pt>
                <c:pt idx="1080" formatCode="0.0%">
                  <c:v>7.8531399507786259E-2</c:v>
                </c:pt>
                <c:pt idx="1081" formatCode="0.0%">
                  <c:v>7.8531399507786259E-2</c:v>
                </c:pt>
                <c:pt idx="1082" formatCode="0.0%">
                  <c:v>8.0287967052689022E-2</c:v>
                </c:pt>
                <c:pt idx="1083" formatCode="0.0%">
                  <c:v>8.2185070016433881E-2</c:v>
                </c:pt>
                <c:pt idx="1084" formatCode="0.0%">
                  <c:v>8.5768454931285584E-2</c:v>
                </c:pt>
                <c:pt idx="1085" formatCode="0.0%">
                  <c:v>7.9234040833247268E-2</c:v>
                </c:pt>
                <c:pt idx="1086" formatCode="0.0%">
                  <c:v>8.0147431633846647E-2</c:v>
                </c:pt>
                <c:pt idx="1087" formatCode="0.0%">
                  <c:v>8.0147431633846647E-2</c:v>
                </c:pt>
                <c:pt idx="1088" formatCode="0.0%">
                  <c:v>8.0147431633846647E-2</c:v>
                </c:pt>
                <c:pt idx="1089" formatCode="0.0%">
                  <c:v>8.0147431633846647E-2</c:v>
                </c:pt>
                <c:pt idx="1090" formatCode="0.0%">
                  <c:v>8.0147431633846647E-2</c:v>
                </c:pt>
                <c:pt idx="1091" formatCode="0.0%">
                  <c:v>7.9234040833247268E-2</c:v>
                </c:pt>
                <c:pt idx="1092" formatCode="0.0%">
                  <c:v>8.099060837815017E-2</c:v>
                </c:pt>
                <c:pt idx="1093" formatCode="0.0%">
                  <c:v>8.3098496585783291E-2</c:v>
                </c:pt>
                <c:pt idx="1094" formatCode="0.0%">
                  <c:v>8.3098496585783291E-2</c:v>
                </c:pt>
                <c:pt idx="1095" formatCode="0.0%">
                  <c:v>8.1989808410055931E-2</c:v>
                </c:pt>
                <c:pt idx="1096" formatCode="0.0%">
                  <c:v>8.1989808410055931E-2</c:v>
                </c:pt>
                <c:pt idx="1097" formatCode="0.0%">
                  <c:v>7.7126152625614133E-2</c:v>
                </c:pt>
                <c:pt idx="1098" formatCode="0.0%">
                  <c:v>6.9326991295495896E-2</c:v>
                </c:pt>
                <c:pt idx="1099" formatCode="0.0%">
                  <c:v>6.2933112616299955E-2</c:v>
                </c:pt>
                <c:pt idx="1100" formatCode="0.0%">
                  <c:v>6.1036009652555095E-2</c:v>
                </c:pt>
                <c:pt idx="1101" formatCode="0.0%">
                  <c:v>6.1036009652555095E-2</c:v>
                </c:pt>
                <c:pt idx="1102" formatCode="0.0%">
                  <c:v>6.1036009652555095E-2</c:v>
                </c:pt>
                <c:pt idx="1103" formatCode="0.0%">
                  <c:v>6.7500173925547247E-2</c:v>
                </c:pt>
                <c:pt idx="1104" formatCode="0.0%">
                  <c:v>7.4245373267473547E-2</c:v>
                </c:pt>
                <c:pt idx="1105" formatCode="0.0%">
                  <c:v>8.2114820191387994E-2</c:v>
                </c:pt>
                <c:pt idx="1106" formatCode="0.0%">
                  <c:v>8.6822416919477091E-2</c:v>
                </c:pt>
                <c:pt idx="1107" formatCode="0.0%">
                  <c:v>9.3427080842561447E-2</c:v>
                </c:pt>
                <c:pt idx="1108" formatCode="0.0%">
                  <c:v>9.3427080842561447E-2</c:v>
                </c:pt>
                <c:pt idx="1109" formatCode="0.0%">
                  <c:v>9.3427080842561447E-2</c:v>
                </c:pt>
                <c:pt idx="1110" formatCode="0.0%">
                  <c:v>9.0757122497059306E-2</c:v>
                </c:pt>
                <c:pt idx="1111" formatCode="0.0%">
                  <c:v>9.2443404448165858E-2</c:v>
                </c:pt>
                <c:pt idx="1112" formatCode="0.0%">
                  <c:v>7.7336937869502409E-2</c:v>
                </c:pt>
                <c:pt idx="1113" formatCode="0.0%">
                  <c:v>8.8578948695629836E-2</c:v>
                </c:pt>
                <c:pt idx="1114" formatCode="0.0%">
                  <c:v>9.4762077899687547E-2</c:v>
                </c:pt>
                <c:pt idx="1115" formatCode="0.0%">
                  <c:v>9.4762077899687547E-2</c:v>
                </c:pt>
                <c:pt idx="1116" formatCode="0.0%">
                  <c:v>9.4762077899687547E-2</c:v>
                </c:pt>
                <c:pt idx="1117" formatCode="0.0%">
                  <c:v>0.10902540350279794</c:v>
                </c:pt>
                <c:pt idx="1118" formatCode="0.0%">
                  <c:v>0.10909565332784396</c:v>
                </c:pt>
                <c:pt idx="1119" formatCode="0.0%">
                  <c:v>0.11717584972689664</c:v>
                </c:pt>
                <c:pt idx="1120" formatCode="0.0%">
                  <c:v>0.1202674143289255</c:v>
                </c:pt>
                <c:pt idx="1121" formatCode="0.0%">
                  <c:v>0.12371026382493497</c:v>
                </c:pt>
                <c:pt idx="1122" formatCode="0.0%">
                  <c:v>0.12371026382493497</c:v>
                </c:pt>
                <c:pt idx="1123" formatCode="0.0%">
                  <c:v>0.12371026382493497</c:v>
                </c:pt>
                <c:pt idx="1124" formatCode="0.0%">
                  <c:v>0.13017442809792712</c:v>
                </c:pt>
                <c:pt idx="1125" formatCode="0.0%">
                  <c:v>0.13396863402541712</c:v>
                </c:pt>
                <c:pt idx="1126" formatCode="0.0%">
                  <c:v>0.11141074990436323</c:v>
                </c:pt>
                <c:pt idx="1127" formatCode="0.0%">
                  <c:v>0.12040794974776774</c:v>
                </c:pt>
                <c:pt idx="1128" formatCode="0.0%">
                  <c:v>0.13649809272082677</c:v>
                </c:pt>
                <c:pt idx="1129" formatCode="0.0%">
                  <c:v>0.13649809272082677</c:v>
                </c:pt>
                <c:pt idx="1130" formatCode="0.0%">
                  <c:v>0.13649809272082677</c:v>
                </c:pt>
                <c:pt idx="1131" formatCode="0.0%">
                  <c:v>0.147388782884224</c:v>
                </c:pt>
                <c:pt idx="1132" formatCode="0.0%">
                  <c:v>0.14837245927861958</c:v>
                </c:pt>
                <c:pt idx="1133" formatCode="0.0%">
                  <c:v>0.15083166814898333</c:v>
                </c:pt>
                <c:pt idx="1134" formatCode="0.0%">
                  <c:v>0.15870107930414762</c:v>
                </c:pt>
                <c:pt idx="1135" formatCode="0.0%">
                  <c:v>0.15792818815364029</c:v>
                </c:pt>
                <c:pt idx="1136" formatCode="0.0%">
                  <c:v>0.15792818815364029</c:v>
                </c:pt>
                <c:pt idx="1137" formatCode="0.0%">
                  <c:v>0.15792818815364029</c:v>
                </c:pt>
                <c:pt idx="1138" formatCode="0.0%">
                  <c:v>0.16080896751178103</c:v>
                </c:pt>
                <c:pt idx="1139" formatCode="0.0%">
                  <c:v>0.14605378582709791</c:v>
                </c:pt>
                <c:pt idx="1140" formatCode="0.0%">
                  <c:v>0.15813897339752869</c:v>
                </c:pt>
                <c:pt idx="1141" formatCode="0.0%">
                  <c:v>0.15842000846646329</c:v>
                </c:pt>
                <c:pt idx="1142" formatCode="0.0%">
                  <c:v>0.15905239996687798</c:v>
                </c:pt>
                <c:pt idx="1143" formatCode="0.0%">
                  <c:v>0.15905239996687798</c:v>
                </c:pt>
                <c:pt idx="1144" formatCode="0.0%">
                  <c:v>0.15905239996687798</c:v>
                </c:pt>
                <c:pt idx="1145" formatCode="0.0%">
                  <c:v>0.15933343503581271</c:v>
                </c:pt>
                <c:pt idx="1146" formatCode="0.0%">
                  <c:v>0.14507010943270246</c:v>
                </c:pt>
                <c:pt idx="1147" formatCode="0.0%">
                  <c:v>0.14338382748159575</c:v>
                </c:pt>
                <c:pt idx="1148" formatCode="0.0%">
                  <c:v>0.16579759930880469</c:v>
                </c:pt>
                <c:pt idx="1149" formatCode="0.0%">
                  <c:v>0.17148887243128969</c:v>
                </c:pt>
                <c:pt idx="1150" formatCode="0.0%">
                  <c:v>0.17148887243128969</c:v>
                </c:pt>
                <c:pt idx="1151" formatCode="0.0%">
                  <c:v>0.17148887243128969</c:v>
                </c:pt>
                <c:pt idx="1152" formatCode="0.0%">
                  <c:v>0.16692181112204252</c:v>
                </c:pt>
                <c:pt idx="1153" formatCode="0.0%">
                  <c:v>0.16706231077213474</c:v>
                </c:pt>
                <c:pt idx="1154" formatCode="0.0%">
                  <c:v>0.16130078782460372</c:v>
                </c:pt>
                <c:pt idx="1155" formatCode="0.0%">
                  <c:v>0.17056814903693548</c:v>
                </c:pt>
                <c:pt idx="1156" formatCode="0.0%">
                  <c:v>0.17451015143952248</c:v>
                </c:pt>
                <c:pt idx="1157" formatCode="0.0%">
                  <c:v>0.17451015143952248</c:v>
                </c:pt>
                <c:pt idx="1158" formatCode="0.0%">
                  <c:v>0.17451015143952248</c:v>
                </c:pt>
                <c:pt idx="1159" formatCode="0.0%">
                  <c:v>0.17858539243594662</c:v>
                </c:pt>
                <c:pt idx="1160" formatCode="0.0%">
                  <c:v>0.16959176946754467</c:v>
                </c:pt>
                <c:pt idx="1161" formatCode="0.0%">
                  <c:v>0.16558681406491643</c:v>
                </c:pt>
                <c:pt idx="1162" formatCode="0.0%">
                  <c:v>0.17268333406957354</c:v>
                </c:pt>
                <c:pt idx="1163" formatCode="0.0%">
                  <c:v>0.17914749834256555</c:v>
                </c:pt>
                <c:pt idx="1164" formatCode="0.0%">
                  <c:v>0.17914749834256555</c:v>
                </c:pt>
                <c:pt idx="1165" formatCode="0.0%">
                  <c:v>0.17914749834256555</c:v>
                </c:pt>
                <c:pt idx="1166" formatCode="0.0%">
                  <c:v>0.16347892585728302</c:v>
                </c:pt>
                <c:pt idx="1167" formatCode="0.0%">
                  <c:v>0.17535332818382571</c:v>
                </c:pt>
                <c:pt idx="1168" formatCode="0.0%">
                  <c:v>0.17500200752109521</c:v>
                </c:pt>
                <c:pt idx="1169" formatCode="0.0%">
                  <c:v>0.17451015143952248</c:v>
                </c:pt>
                <c:pt idx="1170" formatCode="0.0%">
                  <c:v>0.16881887831703751</c:v>
                </c:pt>
                <c:pt idx="1171" formatCode="0.0%">
                  <c:v>0.16881887831703751</c:v>
                </c:pt>
                <c:pt idx="1172" formatCode="0.0%">
                  <c:v>0.16881887831703751</c:v>
                </c:pt>
                <c:pt idx="1173" formatCode="0.0%">
                  <c:v>0.17443990161447614</c:v>
                </c:pt>
                <c:pt idx="1174" formatCode="0.0%">
                  <c:v>0.16734338160981907</c:v>
                </c:pt>
                <c:pt idx="1175" formatCode="0.0%">
                  <c:v>0.17338597539503467</c:v>
                </c:pt>
                <c:pt idx="1176" formatCode="0.0%">
                  <c:v>0.18596298327828834</c:v>
                </c:pt>
                <c:pt idx="1177" formatCode="0.0%">
                  <c:v>0.18357406000172063</c:v>
                </c:pt>
                <c:pt idx="1178" formatCode="0.0%">
                  <c:v>0.18357406000172063</c:v>
                </c:pt>
                <c:pt idx="1179" formatCode="0.0%">
                  <c:v>0.18357406000172063</c:v>
                </c:pt>
                <c:pt idx="1180" formatCode="0.0%">
                  <c:v>0.17725039537882067</c:v>
                </c:pt>
                <c:pt idx="1181" formatCode="0.0%">
                  <c:v>0.18069328064358017</c:v>
                </c:pt>
                <c:pt idx="1182" formatCode="0.0%">
                  <c:v>0.1774611806227088</c:v>
                </c:pt>
                <c:pt idx="1183" formatCode="0.0%">
                  <c:v>0.1774611806227088</c:v>
                </c:pt>
                <c:pt idx="1184" formatCode="0.0%">
                  <c:v>0.1774611806227088</c:v>
                </c:pt>
                <c:pt idx="1185" formatCode="0.0%">
                  <c:v>0.1774611806227088</c:v>
                </c:pt>
                <c:pt idx="1186" formatCode="0.0%">
                  <c:v>0.18053414547472557</c:v>
                </c:pt>
                <c:pt idx="1187" formatCode="0.0%">
                  <c:v>0.18053414547472557</c:v>
                </c:pt>
                <c:pt idx="1188" formatCode="0.0%">
                  <c:v>0.16790548751643811</c:v>
                </c:pt>
                <c:pt idx="1189" formatCode="0.0%">
                  <c:v>0.17162940785013192</c:v>
                </c:pt>
                <c:pt idx="1190" formatCode="0.0%">
                  <c:v>0.17549382783391779</c:v>
                </c:pt>
                <c:pt idx="1191" formatCode="0.0%">
                  <c:v>0.17008362554911741</c:v>
                </c:pt>
                <c:pt idx="1192" formatCode="0.0%">
                  <c:v>0.17008362554911741</c:v>
                </c:pt>
                <c:pt idx="1193" formatCode="0.0%">
                  <c:v>0.17008362554911741</c:v>
                </c:pt>
                <c:pt idx="1194" formatCode="0.0%">
                  <c:v>0.1723320134068429</c:v>
                </c:pt>
                <c:pt idx="1195" formatCode="0.0%">
                  <c:v>0.16860809307314922</c:v>
                </c:pt>
                <c:pt idx="1196" formatCode="0.0%">
                  <c:v>0.16973230488638677</c:v>
                </c:pt>
                <c:pt idx="1197" formatCode="0.0%">
                  <c:v>0.17556411342771397</c:v>
                </c:pt>
                <c:pt idx="1198" formatCode="0.0%">
                  <c:v>0.17879617767983519</c:v>
                </c:pt>
                <c:pt idx="1199" formatCode="0.0%">
                  <c:v>0.17879617767983519</c:v>
                </c:pt>
                <c:pt idx="1200" formatCode="0.0%">
                  <c:v>0.17879617767983519</c:v>
                </c:pt>
                <c:pt idx="1201" formatCode="0.0%">
                  <c:v>0.18160670721292946</c:v>
                </c:pt>
                <c:pt idx="1202" formatCode="0.0%">
                  <c:v>0.15687426193419868</c:v>
                </c:pt>
                <c:pt idx="1203" formatCode="0.0%">
                  <c:v>0.15891186454803588</c:v>
                </c:pt>
                <c:pt idx="1204" formatCode="0.0%">
                  <c:v>0.15097216779907568</c:v>
                </c:pt>
                <c:pt idx="1205" formatCode="0.0%">
                  <c:v>0.14366486255053018</c:v>
                </c:pt>
                <c:pt idx="1206" formatCode="0.0%">
                  <c:v>0.14366486255053018</c:v>
                </c:pt>
                <c:pt idx="1207" formatCode="0.0%">
                  <c:v>0.14366486255053018</c:v>
                </c:pt>
                <c:pt idx="1208" formatCode="0.0%">
                  <c:v>0.14352432713168795</c:v>
                </c:pt>
                <c:pt idx="1209" formatCode="0.0%">
                  <c:v>0.15195584419347113</c:v>
                </c:pt>
                <c:pt idx="1210" formatCode="0.0%">
                  <c:v>0.16137103764964977</c:v>
                </c:pt>
                <c:pt idx="1211" formatCode="0.0%">
                  <c:v>0.12771525499631323</c:v>
                </c:pt>
                <c:pt idx="1212" formatCode="0.0%">
                  <c:v>0.15286927076282056</c:v>
                </c:pt>
                <c:pt idx="1213" formatCode="0.0%">
                  <c:v>0.15286927076282056</c:v>
                </c:pt>
                <c:pt idx="1214" formatCode="0.0%">
                  <c:v>0.15286927076282056</c:v>
                </c:pt>
                <c:pt idx="1215" formatCode="0.0%">
                  <c:v>0.15357191208828169</c:v>
                </c:pt>
                <c:pt idx="1216" formatCode="0.0%">
                  <c:v>0.13899704067246674</c:v>
                </c:pt>
                <c:pt idx="1217" formatCode="0.0%">
                  <c:v>0.13899704067246674</c:v>
                </c:pt>
                <c:pt idx="1218" formatCode="0.0%">
                  <c:v>0.14640510648982841</c:v>
                </c:pt>
                <c:pt idx="1219" formatCode="0.0%">
                  <c:v>0.16052789667409642</c:v>
                </c:pt>
                <c:pt idx="1220" formatCode="0.0%">
                  <c:v>0.16052789667409642</c:v>
                </c:pt>
                <c:pt idx="1221" formatCode="0.0%">
                  <c:v>0.16052789667409642</c:v>
                </c:pt>
                <c:pt idx="1222" formatCode="0.0%">
                  <c:v>0.16537602882102803</c:v>
                </c:pt>
                <c:pt idx="1223" formatCode="0.0%">
                  <c:v>0.17078623110582852</c:v>
                </c:pt>
                <c:pt idx="1224" formatCode="0.0%">
                  <c:v>0.17767196586659723</c:v>
                </c:pt>
                <c:pt idx="1225" formatCode="0.0%">
                  <c:v>0.17767196586659723</c:v>
                </c:pt>
                <c:pt idx="1226" formatCode="0.0%">
                  <c:v>0.17767196586659723</c:v>
                </c:pt>
                <c:pt idx="1227" formatCode="0.0%">
                  <c:v>0.17767196586659723</c:v>
                </c:pt>
                <c:pt idx="1228" formatCode="0.0%">
                  <c:v>0.17767196586659723</c:v>
                </c:pt>
                <c:pt idx="1229" formatCode="0.0%">
                  <c:v>0.18259038360732505</c:v>
                </c:pt>
                <c:pt idx="1230" formatCode="0.0%">
                  <c:v>0.18266063343237121</c:v>
                </c:pt>
                <c:pt idx="1231" formatCode="0.0%">
                  <c:v>0.19130293573804266</c:v>
                </c:pt>
                <c:pt idx="1232" formatCode="0.0%">
                  <c:v>0.19924259671825298</c:v>
                </c:pt>
                <c:pt idx="1233" formatCode="0.0%">
                  <c:v>0.19376210883965655</c:v>
                </c:pt>
                <c:pt idx="1234" formatCode="0.0%">
                  <c:v>0.19376210883965655</c:v>
                </c:pt>
                <c:pt idx="1235" formatCode="0.0%">
                  <c:v>0.19376210883965655</c:v>
                </c:pt>
                <c:pt idx="1236" formatCode="0.0%">
                  <c:v>0.19376210883965655</c:v>
                </c:pt>
                <c:pt idx="1237" formatCode="0.0%">
                  <c:v>0.19488632065289438</c:v>
                </c:pt>
                <c:pt idx="1238" formatCode="0.0%">
                  <c:v>0.2012802351008402</c:v>
                </c:pt>
                <c:pt idx="1239" formatCode="0.0%">
                  <c:v>0.19938313213709535</c:v>
                </c:pt>
                <c:pt idx="1240" formatCode="0.0%">
                  <c:v>0.19010847409975867</c:v>
                </c:pt>
                <c:pt idx="1241" formatCode="0.0%">
                  <c:v>0.19010847409975867</c:v>
                </c:pt>
                <c:pt idx="1242" formatCode="0.0%">
                  <c:v>0.19010847409975867</c:v>
                </c:pt>
                <c:pt idx="1243" formatCode="0.0%">
                  <c:v>0.19228661213243825</c:v>
                </c:pt>
                <c:pt idx="1244" formatCode="0.0%">
                  <c:v>0.18462798622116211</c:v>
                </c:pt>
                <c:pt idx="1245" formatCode="0.0%">
                  <c:v>0.17753146621650501</c:v>
                </c:pt>
                <c:pt idx="1246" formatCode="0.0%">
                  <c:v>0.16593813472764693</c:v>
                </c:pt>
                <c:pt idx="1247" formatCode="0.0%">
                  <c:v>0.16414887454522287</c:v>
                </c:pt>
                <c:pt idx="1248" formatCode="0.0%">
                  <c:v>0.16414887454522287</c:v>
                </c:pt>
                <c:pt idx="1249" formatCode="0.0%">
                  <c:v>0.16414887454522287</c:v>
                </c:pt>
                <c:pt idx="1250" formatCode="0.0%">
                  <c:v>0.16938098422365641</c:v>
                </c:pt>
                <c:pt idx="1251" formatCode="0.0%">
                  <c:v>0.16874862849199146</c:v>
                </c:pt>
                <c:pt idx="1252" formatCode="0.0%">
                  <c:v>0.16874862849199146</c:v>
                </c:pt>
                <c:pt idx="1253" formatCode="0.0%">
                  <c:v>0.18975715343702818</c:v>
                </c:pt>
                <c:pt idx="1254" formatCode="0.0%">
                  <c:v>0.19312975310799146</c:v>
                </c:pt>
                <c:pt idx="1255" formatCode="0.0%">
                  <c:v>0.19312975310799146</c:v>
                </c:pt>
                <c:pt idx="1256" formatCode="0.0%">
                  <c:v>0.19312975310799146</c:v>
                </c:pt>
                <c:pt idx="1257" formatCode="0.0%">
                  <c:v>0.19565921180340154</c:v>
                </c:pt>
                <c:pt idx="1258" formatCode="0.0%">
                  <c:v>0.19685367344168525</c:v>
                </c:pt>
                <c:pt idx="1259" formatCode="0.0%">
                  <c:v>0.20683097280448309</c:v>
                </c:pt>
                <c:pt idx="1260" formatCode="0.0%">
                  <c:v>0.20317730229583517</c:v>
                </c:pt>
                <c:pt idx="1261" formatCode="0.0%">
                  <c:v>0.20746332853614774</c:v>
                </c:pt>
                <c:pt idx="1262" formatCode="0.0%">
                  <c:v>0.20746332853614774</c:v>
                </c:pt>
                <c:pt idx="1263" formatCode="0.0%">
                  <c:v>0.20746332853614774</c:v>
                </c:pt>
                <c:pt idx="1264" formatCode="0.0%">
                  <c:v>0.20338812330847361</c:v>
                </c:pt>
                <c:pt idx="1265" formatCode="0.0%">
                  <c:v>0.20971175216262353</c:v>
                </c:pt>
                <c:pt idx="1266" formatCode="0.0%">
                  <c:v>0.21048464331313041</c:v>
                </c:pt>
                <c:pt idx="1267" formatCode="0.0%">
                  <c:v>0.21210067543919123</c:v>
                </c:pt>
                <c:pt idx="1268" formatCode="0.0%">
                  <c:v>0.21547327511015454</c:v>
                </c:pt>
                <c:pt idx="1269" formatCode="0.0%">
                  <c:v>0.21547327511015454</c:v>
                </c:pt>
                <c:pt idx="1270" formatCode="0.0%">
                  <c:v>0.21547327511015454</c:v>
                </c:pt>
                <c:pt idx="1271" formatCode="0.0%">
                  <c:v>0.21744062789894555</c:v>
                </c:pt>
                <c:pt idx="1272" formatCode="0.0%">
                  <c:v>0.21603538101677316</c:v>
                </c:pt>
                <c:pt idx="1273" formatCode="0.0%">
                  <c:v>0.22144561907032384</c:v>
                </c:pt>
                <c:pt idx="1274" formatCode="0.0%">
                  <c:v>0.22882317414391523</c:v>
                </c:pt>
                <c:pt idx="1275" formatCode="0.0%">
                  <c:v>0.22938528005053427</c:v>
                </c:pt>
                <c:pt idx="1276" formatCode="0.0%">
                  <c:v>0.22938528005053427</c:v>
                </c:pt>
                <c:pt idx="1277" formatCode="0.0%">
                  <c:v>0.22021270602576465</c:v>
                </c:pt>
                <c:pt idx="1278" formatCode="0.0%">
                  <c:v>0.21652720132959602</c:v>
                </c:pt>
                <c:pt idx="1279" formatCode="0.0%">
                  <c:v>0.2131546016586327</c:v>
                </c:pt>
                <c:pt idx="1280" formatCode="0.0%">
                  <c:v>0.21905666002500609</c:v>
                </c:pt>
                <c:pt idx="1281" formatCode="0.0%">
                  <c:v>0.22004033641940168</c:v>
                </c:pt>
                <c:pt idx="1282" formatCode="0.0%">
                  <c:v>0.22376425675309547</c:v>
                </c:pt>
                <c:pt idx="1283" formatCode="0.0%">
                  <c:v>0.22376425675309547</c:v>
                </c:pt>
                <c:pt idx="1284" formatCode="0.0%">
                  <c:v>0.22376425675309547</c:v>
                </c:pt>
                <c:pt idx="1285" formatCode="0.0%">
                  <c:v>0.22376425675309547</c:v>
                </c:pt>
                <c:pt idx="1286" formatCode="0.0%">
                  <c:v>0.22531003905410954</c:v>
                </c:pt>
                <c:pt idx="1287" formatCode="0.0%">
                  <c:v>0.22580189513568258</c:v>
                </c:pt>
                <c:pt idx="1288" formatCode="0.0%">
                  <c:v>0.23100131217659453</c:v>
                </c:pt>
                <c:pt idx="1289" formatCode="0.0%">
                  <c:v>0.22706660659901259</c:v>
                </c:pt>
                <c:pt idx="1290" formatCode="0.0%">
                  <c:v>0.22706660659901259</c:v>
                </c:pt>
                <c:pt idx="1291" formatCode="0.0%">
                  <c:v>0.22706660659901259</c:v>
                </c:pt>
                <c:pt idx="1292" formatCode="0.0%">
                  <c:v>0.22713689219280853</c:v>
                </c:pt>
                <c:pt idx="1293" formatCode="0.0%">
                  <c:v>0.22966631511946872</c:v>
                </c:pt>
                <c:pt idx="1294" formatCode="0.0%">
                  <c:v>0.2129438164147443</c:v>
                </c:pt>
                <c:pt idx="1295" formatCode="0.0%">
                  <c:v>0.21160881935761849</c:v>
                </c:pt>
                <c:pt idx="1296" formatCode="0.0%">
                  <c:v>0.20338812330847361</c:v>
                </c:pt>
                <c:pt idx="1297" formatCode="0.0%">
                  <c:v>0.20338812330847361</c:v>
                </c:pt>
                <c:pt idx="1298" formatCode="0.0%">
                  <c:v>0.20338812330847361</c:v>
                </c:pt>
                <c:pt idx="1299" formatCode="0.0%">
                  <c:v>0.21027385806924229</c:v>
                </c:pt>
                <c:pt idx="1300" formatCode="0.0%">
                  <c:v>0.22039165708213204</c:v>
                </c:pt>
                <c:pt idx="1301" formatCode="0.0%">
                  <c:v>0.20465283477180349</c:v>
                </c:pt>
                <c:pt idx="1302" formatCode="0.0%">
                  <c:v>0.19010847409975867</c:v>
                </c:pt>
                <c:pt idx="1303" formatCode="0.0%">
                  <c:v>0.20113969968199782</c:v>
                </c:pt>
                <c:pt idx="1304" formatCode="0.0%">
                  <c:v>0.20113969968199782</c:v>
                </c:pt>
                <c:pt idx="1305" formatCode="0.0%">
                  <c:v>0.20113969968199782</c:v>
                </c:pt>
                <c:pt idx="1306" formatCode="0.0%">
                  <c:v>0.21006307282535402</c:v>
                </c:pt>
                <c:pt idx="1307" formatCode="0.0%">
                  <c:v>0.21188989019530283</c:v>
                </c:pt>
                <c:pt idx="1308" formatCode="0.0%">
                  <c:v>0.21624967159816394</c:v>
                </c:pt>
                <c:pt idx="1309" formatCode="0.0%">
                  <c:v>0.22446689807855649</c:v>
                </c:pt>
                <c:pt idx="1310" formatCode="0.0%">
                  <c:v>0.16537602882102803</c:v>
                </c:pt>
                <c:pt idx="1311" formatCode="0.0%">
                  <c:v>0.16537602882102803</c:v>
                </c:pt>
                <c:pt idx="1312" formatCode="0.0%">
                  <c:v>0.16537602882102803</c:v>
                </c:pt>
                <c:pt idx="1313" formatCode="0.0%">
                  <c:v>0.1317904959927374</c:v>
                </c:pt>
                <c:pt idx="1314" formatCode="0.0%">
                  <c:v>0.14218936584331174</c:v>
                </c:pt>
                <c:pt idx="1315" formatCode="0.0%">
                  <c:v>0.16390049634505985</c:v>
                </c:pt>
                <c:pt idx="1316" formatCode="0.0%">
                  <c:v>0.15525819403938826</c:v>
                </c:pt>
                <c:pt idx="1317" formatCode="0.0%">
                  <c:v>0.16038736125525418</c:v>
                </c:pt>
                <c:pt idx="1318" formatCode="0.0%">
                  <c:v>0.16038736125525418</c:v>
                </c:pt>
                <c:pt idx="1319" formatCode="0.0%">
                  <c:v>0.16038736125525418</c:v>
                </c:pt>
                <c:pt idx="1320" formatCode="0.0%">
                  <c:v>0.16284657012561837</c:v>
                </c:pt>
                <c:pt idx="1321" formatCode="0.0%">
                  <c:v>0.17338597539503467</c:v>
                </c:pt>
                <c:pt idx="1322" formatCode="0.0%">
                  <c:v>0.17465068685836457</c:v>
                </c:pt>
                <c:pt idx="1323" formatCode="0.0%">
                  <c:v>0.1987507764054304</c:v>
                </c:pt>
                <c:pt idx="1324" formatCode="0.0%">
                  <c:v>0.19650235277895489</c:v>
                </c:pt>
                <c:pt idx="1325" formatCode="0.0%">
                  <c:v>0.19650235277895489</c:v>
                </c:pt>
                <c:pt idx="1326" formatCode="0.0%">
                  <c:v>0.19650235277895489</c:v>
                </c:pt>
                <c:pt idx="1327" formatCode="0.0%">
                  <c:v>0.19966420297477966</c:v>
                </c:pt>
                <c:pt idx="1328" formatCode="0.0%">
                  <c:v>0.20493386984073794</c:v>
                </c:pt>
                <c:pt idx="1329" formatCode="0.0%">
                  <c:v>0.20458258494675732</c:v>
                </c:pt>
                <c:pt idx="1330" formatCode="0.0%">
                  <c:v>0.20732282888605552</c:v>
                </c:pt>
                <c:pt idx="1331" formatCode="0.0%">
                  <c:v>0.19924259671825298</c:v>
                </c:pt>
                <c:pt idx="1332" formatCode="0.0%">
                  <c:v>0.19924259671825298</c:v>
                </c:pt>
                <c:pt idx="1333" formatCode="0.0%">
                  <c:v>0.19924259671825298</c:v>
                </c:pt>
                <c:pt idx="1334" formatCode="0.0%">
                  <c:v>0.19945338196214138</c:v>
                </c:pt>
                <c:pt idx="1335" formatCode="0.0%">
                  <c:v>0.19284871803905732</c:v>
                </c:pt>
                <c:pt idx="1336" formatCode="0.0%">
                  <c:v>0.20022627311264857</c:v>
                </c:pt>
                <c:pt idx="1337" formatCode="0.0%">
                  <c:v>0.20999278723155781</c:v>
                </c:pt>
                <c:pt idx="1338" formatCode="0.0%">
                  <c:v>0.21350592232136337</c:v>
                </c:pt>
                <c:pt idx="1339" formatCode="0.0%">
                  <c:v>0.21527014437877129</c:v>
                </c:pt>
                <c:pt idx="1340" formatCode="0.0%">
                  <c:v>0.21527014437877129</c:v>
                </c:pt>
                <c:pt idx="1341" formatCode="0.0%">
                  <c:v>0.2105548931381766</c:v>
                </c:pt>
                <c:pt idx="1342" formatCode="0.0%">
                  <c:v>0.20170180558861689</c:v>
                </c:pt>
                <c:pt idx="1343" formatCode="0.0%">
                  <c:v>0.18596298327828834</c:v>
                </c:pt>
                <c:pt idx="1344" formatCode="0.0%">
                  <c:v>0.18476852164000435</c:v>
                </c:pt>
                <c:pt idx="1345" formatCode="0.0%">
                  <c:v>0.17795303670428184</c:v>
                </c:pt>
                <c:pt idx="1346" formatCode="0.0%">
                  <c:v>0.17795303670428184</c:v>
                </c:pt>
                <c:pt idx="1347" formatCode="0.0%">
                  <c:v>0.17795303670428184</c:v>
                </c:pt>
                <c:pt idx="1348" formatCode="0.0%">
                  <c:v>0.17893671309867742</c:v>
                </c:pt>
                <c:pt idx="1349" formatCode="0.0%">
                  <c:v>0.18511980653398466</c:v>
                </c:pt>
                <c:pt idx="1350" formatCode="0.0%">
                  <c:v>0.18069328064358017</c:v>
                </c:pt>
                <c:pt idx="1351" formatCode="0.0%">
                  <c:v>0.19460528558395979</c:v>
                </c:pt>
                <c:pt idx="1352" formatCode="0.0%">
                  <c:v>0.20120994950704416</c:v>
                </c:pt>
                <c:pt idx="1353" formatCode="0.0%">
                  <c:v>0.20120994950704416</c:v>
                </c:pt>
                <c:pt idx="1354" formatCode="0.0%">
                  <c:v>0.20120994950704416</c:v>
                </c:pt>
                <c:pt idx="1355" formatCode="0.0%">
                  <c:v>0.20437179970286906</c:v>
                </c:pt>
                <c:pt idx="1356" formatCode="0.0%">
                  <c:v>0.20774439937383221</c:v>
                </c:pt>
                <c:pt idx="1357" formatCode="0.0%">
                  <c:v>0.20022627311264857</c:v>
                </c:pt>
                <c:pt idx="1358" formatCode="0.0%">
                  <c:v>0.21898641019995993</c:v>
                </c:pt>
                <c:pt idx="1359" formatCode="0.0%">
                  <c:v>0.21266278134581015</c:v>
                </c:pt>
                <c:pt idx="1360" formatCode="0.0%">
                  <c:v>0.21266278134581015</c:v>
                </c:pt>
                <c:pt idx="1361" formatCode="0.0%">
                  <c:v>0.21266278134581015</c:v>
                </c:pt>
                <c:pt idx="1362" formatCode="0.0%">
                  <c:v>0.21933773086269043</c:v>
                </c:pt>
                <c:pt idx="1363" formatCode="0.0%">
                  <c:v>0.21870537513102548</c:v>
                </c:pt>
                <c:pt idx="1364" formatCode="0.0%">
                  <c:v>0.22102401281379699</c:v>
                </c:pt>
                <c:pt idx="1365" formatCode="0.0%">
                  <c:v>0.23901125875060131</c:v>
                </c:pt>
                <c:pt idx="1366" formatCode="0.0%">
                  <c:v>0.23233630923372076</c:v>
                </c:pt>
                <c:pt idx="1367" formatCode="0.0%">
                  <c:v>0.23233630923372076</c:v>
                </c:pt>
                <c:pt idx="1368" formatCode="0.0%">
                  <c:v>0.23233630923372076</c:v>
                </c:pt>
                <c:pt idx="1369" formatCode="0.0%">
                  <c:v>0.23074506485142648</c:v>
                </c:pt>
                <c:pt idx="1370" formatCode="0.0%">
                  <c:v>0.23430366202251179</c:v>
                </c:pt>
                <c:pt idx="1371" formatCode="0.0%">
                  <c:v>0.23282816531529349</c:v>
                </c:pt>
                <c:pt idx="1372" formatCode="0.0%">
                  <c:v>0.2317039535020558</c:v>
                </c:pt>
                <c:pt idx="1373" formatCode="0.0%">
                  <c:v>0.23957336465721993</c:v>
                </c:pt>
                <c:pt idx="1374" formatCode="0.0%">
                  <c:v>0.23957336465721993</c:v>
                </c:pt>
                <c:pt idx="1375" formatCode="0.0%">
                  <c:v>0.23957336465721993</c:v>
                </c:pt>
                <c:pt idx="1376" formatCode="0.0%">
                  <c:v>0.23648180005519109</c:v>
                </c:pt>
                <c:pt idx="1377" formatCode="0.0%">
                  <c:v>0.23535758824195341</c:v>
                </c:pt>
                <c:pt idx="1378" formatCode="0.0%">
                  <c:v>0.24062729087666185</c:v>
                </c:pt>
                <c:pt idx="1379" formatCode="0.0%">
                  <c:v>0.24336753481596005</c:v>
                </c:pt>
                <c:pt idx="1380" formatCode="0.0%">
                  <c:v>0.2500424843328406</c:v>
                </c:pt>
                <c:pt idx="1381" formatCode="0.0%">
                  <c:v>0.2500424843328406</c:v>
                </c:pt>
                <c:pt idx="1382" formatCode="0.0%">
                  <c:v>0.2500424843328406</c:v>
                </c:pt>
                <c:pt idx="1383" formatCode="0.0%">
                  <c:v>0.26219792172831746</c:v>
                </c:pt>
                <c:pt idx="1384" formatCode="0.0%">
                  <c:v>0.25882532205735415</c:v>
                </c:pt>
                <c:pt idx="1385" formatCode="0.0%">
                  <c:v>0.24575645809252777</c:v>
                </c:pt>
                <c:pt idx="1386" formatCode="0.0%">
                  <c:v>0.25784164566295859</c:v>
                </c:pt>
                <c:pt idx="1387" formatCode="0.0%">
                  <c:v>0.25826321615073522</c:v>
                </c:pt>
                <c:pt idx="1388" formatCode="0.0%">
                  <c:v>0.25826321615073522</c:v>
                </c:pt>
                <c:pt idx="1389" formatCode="0.0%">
                  <c:v>0.25826321615073522</c:v>
                </c:pt>
                <c:pt idx="1390" formatCode="0.0%">
                  <c:v>0.25896585747619638</c:v>
                </c:pt>
                <c:pt idx="1391" formatCode="0.0%">
                  <c:v>0.25573375745532528</c:v>
                </c:pt>
                <c:pt idx="1392" formatCode="0.0%">
                  <c:v>0.2541879751543108</c:v>
                </c:pt>
                <c:pt idx="1393" formatCode="0.0%">
                  <c:v>0.24898855811339884</c:v>
                </c:pt>
                <c:pt idx="1394" formatCode="0.0%">
                  <c:v>0.2520098371216315</c:v>
                </c:pt>
                <c:pt idx="1395" formatCode="0.0%">
                  <c:v>0.2520098371216315</c:v>
                </c:pt>
                <c:pt idx="1396" formatCode="0.0%">
                  <c:v>0.2520098371216315</c:v>
                </c:pt>
                <c:pt idx="1397" formatCode="0.0%">
                  <c:v>0.25496086630481812</c:v>
                </c:pt>
                <c:pt idx="1398" formatCode="0.0%">
                  <c:v>0.2591766427200845</c:v>
                </c:pt>
                <c:pt idx="1399" formatCode="0.0%">
                  <c:v>0.2546095814108375</c:v>
                </c:pt>
                <c:pt idx="1400" formatCode="0.0%">
                  <c:v>0.23160172641448867</c:v>
                </c:pt>
                <c:pt idx="1401" formatCode="0.0%">
                  <c:v>0.24414042596646723</c:v>
                </c:pt>
                <c:pt idx="1402" formatCode="0.0%">
                  <c:v>0.24414042596646723</c:v>
                </c:pt>
                <c:pt idx="1403" formatCode="0.0%">
                  <c:v>0.24414042596646723</c:v>
                </c:pt>
                <c:pt idx="1404" formatCode="0.0%">
                  <c:v>0.23458473286019627</c:v>
                </c:pt>
                <c:pt idx="1405" formatCode="0.0%">
                  <c:v>0.24364860565364438</c:v>
                </c:pt>
                <c:pt idx="1406" formatCode="0.0%">
                  <c:v>0.26641369814358412</c:v>
                </c:pt>
                <c:pt idx="1407" formatCode="0.0%">
                  <c:v>0.27814756505128457</c:v>
                </c:pt>
                <c:pt idx="1408" formatCode="0.0%">
                  <c:v>0.28721143784473269</c:v>
                </c:pt>
                <c:pt idx="1409" formatCode="0.0%">
                  <c:v>0.28721143784473269</c:v>
                </c:pt>
                <c:pt idx="1410" formatCode="0.0%">
                  <c:v>0.28721143784473269</c:v>
                </c:pt>
                <c:pt idx="1411" formatCode="0.0%">
                  <c:v>0.29859398408970234</c:v>
                </c:pt>
                <c:pt idx="1412" formatCode="0.0%">
                  <c:v>0.29887501915863679</c:v>
                </c:pt>
                <c:pt idx="1413" formatCode="0.0%">
                  <c:v>0.28917879063352359</c:v>
                </c:pt>
                <c:pt idx="1414" formatCode="0.0%">
                  <c:v>0.29276217554837503</c:v>
                </c:pt>
                <c:pt idx="1415" formatCode="0.0%">
                  <c:v>0.27358046797328739</c:v>
                </c:pt>
                <c:pt idx="1416" formatCode="0.0%">
                  <c:v>0.27358046797328739</c:v>
                </c:pt>
                <c:pt idx="1417" formatCode="0.0%">
                  <c:v>0.27358046797328739</c:v>
                </c:pt>
                <c:pt idx="1418" formatCode="0.0%">
                  <c:v>0.25840375156957762</c:v>
                </c:pt>
                <c:pt idx="1419" formatCode="0.0%">
                  <c:v>0.2556635076302794</c:v>
                </c:pt>
                <c:pt idx="1420" formatCode="0.0%">
                  <c:v>0.26641369814358412</c:v>
                </c:pt>
                <c:pt idx="1421" formatCode="0.0%">
                  <c:v>0.27133208011556165</c:v>
                </c:pt>
                <c:pt idx="1422" formatCode="0.0%">
                  <c:v>0.29810212800812963</c:v>
                </c:pt>
                <c:pt idx="1423" formatCode="0.0%">
                  <c:v>0.29810212800812963</c:v>
                </c:pt>
                <c:pt idx="1424" formatCode="0.0%">
                  <c:v>0.29810212800812963</c:v>
                </c:pt>
                <c:pt idx="1425" formatCode="0.0%">
                  <c:v>0.29557266931271953</c:v>
                </c:pt>
                <c:pt idx="1426" formatCode="0.0%">
                  <c:v>0.29592398997545016</c:v>
                </c:pt>
                <c:pt idx="1427" formatCode="0.0%">
                  <c:v>0.2971184516137339</c:v>
                </c:pt>
                <c:pt idx="1428" formatCode="0.0%">
                  <c:v>0.30126394243520449</c:v>
                </c:pt>
                <c:pt idx="1429" formatCode="0.0%">
                  <c:v>0.30133422802900045</c:v>
                </c:pt>
                <c:pt idx="1430" formatCode="0.0%">
                  <c:v>0.30222537066708555</c:v>
                </c:pt>
                <c:pt idx="1431" formatCode="0.0%">
                  <c:v>0.30222537066708555</c:v>
                </c:pt>
                <c:pt idx="1432" formatCode="0.0%">
                  <c:v>0.31510569755053808</c:v>
                </c:pt>
                <c:pt idx="1433" formatCode="0.0%">
                  <c:v>0.31601912411988764</c:v>
                </c:pt>
                <c:pt idx="1434" formatCode="0.0%">
                  <c:v>0.33140662576748581</c:v>
                </c:pt>
                <c:pt idx="1435" formatCode="0.0%">
                  <c:v>0.32733138477106138</c:v>
                </c:pt>
                <c:pt idx="1436" formatCode="0.0%">
                  <c:v>0.32740167036485757</c:v>
                </c:pt>
                <c:pt idx="1437" formatCode="0.0%">
                  <c:v>0.32740167036485757</c:v>
                </c:pt>
                <c:pt idx="1438" formatCode="0.0%">
                  <c:v>0.32740167036485757</c:v>
                </c:pt>
                <c:pt idx="1439" formatCode="0.0%">
                  <c:v>0.33435765495067243</c:v>
                </c:pt>
                <c:pt idx="1440" formatCode="0.0%">
                  <c:v>0.33442790477571832</c:v>
                </c:pt>
                <c:pt idx="1441" formatCode="0.0%">
                  <c:v>0.34384309823189713</c:v>
                </c:pt>
                <c:pt idx="1442" formatCode="0.0%">
                  <c:v>0.33541158117011405</c:v>
                </c:pt>
                <c:pt idx="1443" formatCode="0.0%">
                  <c:v>0.33541158117011405</c:v>
                </c:pt>
                <c:pt idx="1444" formatCode="0.0%">
                  <c:v>0.33541158117011405</c:v>
                </c:pt>
                <c:pt idx="1445" formatCode="0.0%">
                  <c:v>0.33541158117011405</c:v>
                </c:pt>
                <c:pt idx="1446" formatCode="0.0%">
                  <c:v>0.33885446643487316</c:v>
                </c:pt>
                <c:pt idx="1447" formatCode="0.0%">
                  <c:v>0.33562236641400206</c:v>
                </c:pt>
                <c:pt idx="1448" formatCode="0.0%">
                  <c:v>0.33583315165789057</c:v>
                </c:pt>
                <c:pt idx="1449" formatCode="0.0%">
                  <c:v>0.3111007063791601</c:v>
                </c:pt>
                <c:pt idx="1450" formatCode="0.0%">
                  <c:v>0.30273947491117298</c:v>
                </c:pt>
                <c:pt idx="1451" formatCode="0.0%">
                  <c:v>0.30273947491117298</c:v>
                </c:pt>
                <c:pt idx="1452" formatCode="0.0%">
                  <c:v>0.30273947491117298</c:v>
                </c:pt>
                <c:pt idx="1453" formatCode="0.0%">
                  <c:v>0.31440305622507708</c:v>
                </c:pt>
                <c:pt idx="1454" formatCode="0.0%">
                  <c:v>0.31440305622507708</c:v>
                </c:pt>
                <c:pt idx="1455" formatCode="0.0%">
                  <c:v>0.31440305622507708</c:v>
                </c:pt>
                <c:pt idx="1456" formatCode="0.0%">
                  <c:v>0.31440305622507708</c:v>
                </c:pt>
                <c:pt idx="1457" formatCode="0.0%">
                  <c:v>0.31953222344094312</c:v>
                </c:pt>
                <c:pt idx="1458" formatCode="0.0%">
                  <c:v>0.31953222344094312</c:v>
                </c:pt>
                <c:pt idx="1459" formatCode="0.0%">
                  <c:v>0.31953222344094312</c:v>
                </c:pt>
                <c:pt idx="1460" formatCode="0.0%">
                  <c:v>0.30112344278511244</c:v>
                </c:pt>
                <c:pt idx="1461" formatCode="0.0%">
                  <c:v>0.31035446294742031</c:v>
                </c:pt>
                <c:pt idx="1462" formatCode="0.0%">
                  <c:v>0.31035446294742031</c:v>
                </c:pt>
                <c:pt idx="1463" formatCode="0.0%">
                  <c:v>0.32395878510009796</c:v>
                </c:pt>
                <c:pt idx="1464" formatCode="0.0%">
                  <c:v>0.32058618542913481</c:v>
                </c:pt>
                <c:pt idx="1465" formatCode="0.0%">
                  <c:v>0.32058618542913481</c:v>
                </c:pt>
                <c:pt idx="1466" formatCode="0.0%">
                  <c:v>0.32058618542913481</c:v>
                </c:pt>
                <c:pt idx="1467" formatCode="0.0%">
                  <c:v>0.3240993205189403</c:v>
                </c:pt>
                <c:pt idx="1468" formatCode="0.0%">
                  <c:v>0.3234669290185252</c:v>
                </c:pt>
                <c:pt idx="1469" formatCode="0.0%">
                  <c:v>0.31875933229043596</c:v>
                </c:pt>
                <c:pt idx="1470" formatCode="0.0%">
                  <c:v>0.32009432934756205</c:v>
                </c:pt>
                <c:pt idx="1471" formatCode="0.0%">
                  <c:v>0.31348966542447754</c:v>
                </c:pt>
                <c:pt idx="1472" formatCode="0.0%">
                  <c:v>0.31348966542447754</c:v>
                </c:pt>
                <c:pt idx="1473" formatCode="0.0%">
                  <c:v>0.31348966542447754</c:v>
                </c:pt>
                <c:pt idx="1474" formatCode="0.0%">
                  <c:v>0.30976574509078375</c:v>
                </c:pt>
                <c:pt idx="1475" formatCode="0.0%">
                  <c:v>0.31025756540360644</c:v>
                </c:pt>
                <c:pt idx="1476" formatCode="0.0%">
                  <c:v>0.32016461494135795</c:v>
                </c:pt>
                <c:pt idx="1477" formatCode="0.0%">
                  <c:v>0.32620717295782353</c:v>
                </c:pt>
                <c:pt idx="1478" formatCode="0.0%">
                  <c:v>0.33506029627613343</c:v>
                </c:pt>
                <c:pt idx="1479" formatCode="0.0%">
                  <c:v>0.33506029627613343</c:v>
                </c:pt>
                <c:pt idx="1480" formatCode="0.0%">
                  <c:v>0.33506029627613343</c:v>
                </c:pt>
                <c:pt idx="1481" formatCode="0.0%">
                  <c:v>0.33168766083641998</c:v>
                </c:pt>
                <c:pt idx="1482" formatCode="0.0%">
                  <c:v>0.33203898149915062</c:v>
                </c:pt>
                <c:pt idx="1483" formatCode="0.0%">
                  <c:v>0.35023701267984308</c:v>
                </c:pt>
                <c:pt idx="1484" formatCode="0.0%">
                  <c:v>0.34816453553473281</c:v>
                </c:pt>
                <c:pt idx="1485" formatCode="0.0%">
                  <c:v>0.35106584615538705</c:v>
                </c:pt>
                <c:pt idx="1486" formatCode="0.0%">
                  <c:v>0.35106584615538705</c:v>
                </c:pt>
                <c:pt idx="1487" formatCode="0.0%">
                  <c:v>0.35106584615538705</c:v>
                </c:pt>
                <c:pt idx="1488" formatCode="0.0%">
                  <c:v>0.3299308071415169</c:v>
                </c:pt>
                <c:pt idx="1489" formatCode="0.0%">
                  <c:v>0.3437581474505913</c:v>
                </c:pt>
                <c:pt idx="1490" formatCode="0.0%">
                  <c:v>0.35128078057427814</c:v>
                </c:pt>
                <c:pt idx="1491" formatCode="0.0%">
                  <c:v>0.35522120915186406</c:v>
                </c:pt>
                <c:pt idx="1492" formatCode="0.0%">
                  <c:v>0.36060390526789632</c:v>
                </c:pt>
                <c:pt idx="1493" formatCode="0.0%">
                  <c:v>0.36060390526789632</c:v>
                </c:pt>
                <c:pt idx="1494" formatCode="0.0%">
                  <c:v>0.36060390526789632</c:v>
                </c:pt>
                <c:pt idx="1495" formatCode="0.0%">
                  <c:v>0.36059453385539031</c:v>
                </c:pt>
                <c:pt idx="1496" formatCode="0.0%">
                  <c:v>0.36109601173071953</c:v>
                </c:pt>
                <c:pt idx="1497" formatCode="0.0%">
                  <c:v>0.35214051824984238</c:v>
                </c:pt>
                <c:pt idx="1498" formatCode="0.0%">
                  <c:v>0.36367522475741199</c:v>
                </c:pt>
                <c:pt idx="1499" formatCode="0.0%">
                  <c:v>0.36116765653701632</c:v>
                </c:pt>
                <c:pt idx="1500" formatCode="0.0%">
                  <c:v>0.36116765653701632</c:v>
                </c:pt>
                <c:pt idx="1501" formatCode="0.0%">
                  <c:v>0.36116765653701632</c:v>
                </c:pt>
                <c:pt idx="1502" formatCode="0.0%">
                  <c:v>0.36446331762667911</c:v>
                </c:pt>
                <c:pt idx="1503" formatCode="0.0%">
                  <c:v>0.36238561824406529</c:v>
                </c:pt>
                <c:pt idx="1504" formatCode="0.0%">
                  <c:v>0.3532151545755477</c:v>
                </c:pt>
                <c:pt idx="1505" formatCode="0.0%">
                  <c:v>0.36023630982390531</c:v>
                </c:pt>
                <c:pt idx="1506" formatCode="0.0%">
                  <c:v>0.35908999292315313</c:v>
                </c:pt>
                <c:pt idx="1507" formatCode="0.0%">
                  <c:v>0.35908999292315313</c:v>
                </c:pt>
                <c:pt idx="1508" formatCode="0.0%">
                  <c:v>0.35908999292315313</c:v>
                </c:pt>
                <c:pt idx="1509" formatCode="0.0%">
                  <c:v>0.3676156533349979</c:v>
                </c:pt>
                <c:pt idx="1510" formatCode="0.0%">
                  <c:v>0.36582453317757258</c:v>
                </c:pt>
                <c:pt idx="1511" formatCode="0.0%">
                  <c:v>0.36174081498739241</c:v>
                </c:pt>
                <c:pt idx="1512" formatCode="0.0%">
                  <c:v>0.36432002801408514</c:v>
                </c:pt>
                <c:pt idx="1513" formatCode="0.0%">
                  <c:v>0.35751380718461834</c:v>
                </c:pt>
                <c:pt idx="1514" formatCode="0.0%">
                  <c:v>0.35751380718461834</c:v>
                </c:pt>
                <c:pt idx="1515" formatCode="0.0%">
                  <c:v>0.35751380718461834</c:v>
                </c:pt>
                <c:pt idx="1516" formatCode="0.0%">
                  <c:v>0.33666538316468658</c:v>
                </c:pt>
                <c:pt idx="1517" formatCode="0.0%">
                  <c:v>0.32341120130598855</c:v>
                </c:pt>
                <c:pt idx="1518" formatCode="0.0%">
                  <c:v>0.33566235587652843</c:v>
                </c:pt>
                <c:pt idx="1519" formatCode="0.0%">
                  <c:v>0.32527393050096121</c:v>
                </c:pt>
                <c:pt idx="1520" formatCode="0.0%">
                  <c:v>0.32413752154396519</c:v>
                </c:pt>
                <c:pt idx="1521" formatCode="0.0%">
                  <c:v>0.32413752154396519</c:v>
                </c:pt>
                <c:pt idx="1522" formatCode="0.0%">
                  <c:v>0.32413752154396519</c:v>
                </c:pt>
                <c:pt idx="1523" formatCode="0.0%">
                  <c:v>0.31345264476820345</c:v>
                </c:pt>
                <c:pt idx="1524" formatCode="0.0%">
                  <c:v>0.28415016937397353</c:v>
                </c:pt>
                <c:pt idx="1525" formatCode="0.0%">
                  <c:v>0.2804246752152787</c:v>
                </c:pt>
                <c:pt idx="1526" formatCode="0.0%">
                  <c:v>0.26702723951273682</c:v>
                </c:pt>
                <c:pt idx="1527" formatCode="0.0%">
                  <c:v>0.25971950503919089</c:v>
                </c:pt>
                <c:pt idx="1528" formatCode="0.0%">
                  <c:v>0.25971950503919089</c:v>
                </c:pt>
                <c:pt idx="1529" formatCode="0.0%">
                  <c:v>0.25971950503919089</c:v>
                </c:pt>
                <c:pt idx="1530" formatCode="0.0%">
                  <c:v>0.24159354788979598</c:v>
                </c:pt>
                <c:pt idx="1531" formatCode="0.0%">
                  <c:v>0.22353919977794759</c:v>
                </c:pt>
                <c:pt idx="1532" formatCode="0.0%">
                  <c:v>0.23149170173941641</c:v>
                </c:pt>
                <c:pt idx="1533" formatCode="0.0%">
                  <c:v>0.23471571802278235</c:v>
                </c:pt>
                <c:pt idx="1534" formatCode="0.0%">
                  <c:v>0.24245328556536008</c:v>
                </c:pt>
                <c:pt idx="1535" formatCode="0.0%">
                  <c:v>0.24245328556536008</c:v>
                </c:pt>
                <c:pt idx="1536" formatCode="0.0%">
                  <c:v>0.24245328556536008</c:v>
                </c:pt>
                <c:pt idx="1537" formatCode="0.0%">
                  <c:v>0.24890124659459148</c:v>
                </c:pt>
                <c:pt idx="1538" formatCode="0.0%">
                  <c:v>0.23951584850718249</c:v>
                </c:pt>
                <c:pt idx="1539" formatCode="0.0%">
                  <c:v>0.24990427388274966</c:v>
                </c:pt>
                <c:pt idx="1540" formatCode="0.0%">
                  <c:v>0.25871651351978286</c:v>
                </c:pt>
                <c:pt idx="1541" formatCode="0.0%">
                  <c:v>0.24875795698199751</c:v>
                </c:pt>
                <c:pt idx="1542" formatCode="0.0%">
                  <c:v>0.24875795698199751</c:v>
                </c:pt>
                <c:pt idx="1543" formatCode="0.0%">
                  <c:v>0.24875795698199751</c:v>
                </c:pt>
                <c:pt idx="1544" formatCode="0.0%">
                  <c:v>0.26595256741828138</c:v>
                </c:pt>
                <c:pt idx="1545" formatCode="0.0%">
                  <c:v>0.27361849015456213</c:v>
                </c:pt>
                <c:pt idx="1546" formatCode="0.0%">
                  <c:v>0.26795858622584801</c:v>
                </c:pt>
                <c:pt idx="1547" formatCode="0.0%">
                  <c:v>0.26559434338679622</c:v>
                </c:pt>
                <c:pt idx="1548" formatCode="0.0%">
                  <c:v>0.23622022318626962</c:v>
                </c:pt>
                <c:pt idx="1549" formatCode="0.0%">
                  <c:v>0.23622022318626962</c:v>
                </c:pt>
                <c:pt idx="1550" formatCode="0.0%">
                  <c:v>0.23622022318626962</c:v>
                </c:pt>
                <c:pt idx="1551" formatCode="0.0%">
                  <c:v>0.22816406338723255</c:v>
                </c:pt>
                <c:pt idx="1552" formatCode="0.0%">
                  <c:v>0.233727749378384</c:v>
                </c:pt>
                <c:pt idx="1553" formatCode="0.0%">
                  <c:v>0.2256168991605611</c:v>
                </c:pt>
                <c:pt idx="1554" formatCode="0.0%">
                  <c:v>0.17890487891115625</c:v>
                </c:pt>
                <c:pt idx="1555" formatCode="0.0%">
                  <c:v>0.14766802951565722</c:v>
                </c:pt>
                <c:pt idx="1556" formatCode="0.0%">
                  <c:v>0.14766802951565722</c:v>
                </c:pt>
                <c:pt idx="1557" formatCode="0.0%">
                  <c:v>0.14766802951565722</c:v>
                </c:pt>
                <c:pt idx="1558" formatCode="0.0%">
                  <c:v>0.10640097877607574</c:v>
                </c:pt>
                <c:pt idx="1559" formatCode="0.0%">
                  <c:v>0.14788296393454828</c:v>
                </c:pt>
                <c:pt idx="1560" formatCode="0.0%">
                  <c:v>0.10088440022870543</c:v>
                </c:pt>
                <c:pt idx="1561" formatCode="0.0%">
                  <c:v>0.14530378667660557</c:v>
                </c:pt>
                <c:pt idx="1562" formatCode="0.0%">
                  <c:v>0.12080147753552622</c:v>
                </c:pt>
                <c:pt idx="1563" formatCode="0.0%">
                  <c:v>0.12080147753552622</c:v>
                </c:pt>
                <c:pt idx="1564" formatCode="0.0%">
                  <c:v>0.12080147753552622</c:v>
                </c:pt>
                <c:pt idx="1565" formatCode="0.0%">
                  <c:v>0.14967408409197375</c:v>
                </c:pt>
                <c:pt idx="1566" formatCode="0.0%">
                  <c:v>0.15626533473379922</c:v>
                </c:pt>
                <c:pt idx="1567" formatCode="0.0%">
                  <c:v>0.13627661262068158</c:v>
                </c:pt>
                <c:pt idx="1568" formatCode="0.0%">
                  <c:v>0.13627661262068158</c:v>
                </c:pt>
                <c:pt idx="1569" formatCode="0.0%">
                  <c:v>0.13627661262068158</c:v>
                </c:pt>
                <c:pt idx="1570" formatCode="0.0%">
                  <c:v>0.13627661262068158</c:v>
                </c:pt>
                <c:pt idx="1571" formatCode="0.0%">
                  <c:v>0.13627661262068158</c:v>
                </c:pt>
                <c:pt idx="1572" formatCode="0.0%">
                  <c:v>0.13627661262068158</c:v>
                </c:pt>
                <c:pt idx="1573" formatCode="0.0%">
                  <c:v>0.11807897489623941</c:v>
                </c:pt>
                <c:pt idx="1574" formatCode="0.0%">
                  <c:v>0.17138224578746958</c:v>
                </c:pt>
                <c:pt idx="1575" formatCode="0.0%">
                  <c:v>0.16357303343859469</c:v>
                </c:pt>
                <c:pt idx="1576" formatCode="0.0%">
                  <c:v>0.17582418800913474</c:v>
                </c:pt>
                <c:pt idx="1577" formatCode="0.0%">
                  <c:v>0.17582418800913474</c:v>
                </c:pt>
                <c:pt idx="1578" formatCode="0.0%">
                  <c:v>0.17582418800913474</c:v>
                </c:pt>
                <c:pt idx="1579" formatCode="0.0%">
                  <c:v>0.18005119581190868</c:v>
                </c:pt>
                <c:pt idx="1580" formatCode="0.0%">
                  <c:v>0.17367487958897412</c:v>
                </c:pt>
                <c:pt idx="1581" formatCode="0.0%">
                  <c:v>0.19038700535619157</c:v>
                </c:pt>
                <c:pt idx="1582" formatCode="0.0%">
                  <c:v>0.20326389843964193</c:v>
                </c:pt>
                <c:pt idx="1583" formatCode="0.0%">
                  <c:v>0.21565834262277575</c:v>
                </c:pt>
                <c:pt idx="1584" formatCode="0.0%">
                  <c:v>0.21565834262277575</c:v>
                </c:pt>
                <c:pt idx="1585" formatCode="0.0%">
                  <c:v>0.21565834262277575</c:v>
                </c:pt>
                <c:pt idx="1586" formatCode="0.0%">
                  <c:v>0.22101335372628994</c:v>
                </c:pt>
                <c:pt idx="1587" formatCode="0.0%">
                  <c:v>0.20842228872427726</c:v>
                </c:pt>
                <c:pt idx="1588" formatCode="0.0%">
                  <c:v>0.20842228872427726</c:v>
                </c:pt>
                <c:pt idx="1589" formatCode="0.0%">
                  <c:v>0.21601656665426078</c:v>
                </c:pt>
                <c:pt idx="1590" formatCode="0.0%">
                  <c:v>0.22203469461446049</c:v>
                </c:pt>
                <c:pt idx="1591" formatCode="0.0%">
                  <c:v>0.22203469461446049</c:v>
                </c:pt>
                <c:pt idx="1592" formatCode="0.0%">
                  <c:v>0.22203469461446049</c:v>
                </c:pt>
                <c:pt idx="1593" formatCode="0.0%">
                  <c:v>0.25205358230291025</c:v>
                </c:pt>
                <c:pt idx="1594" formatCode="0.0%">
                  <c:v>0.25563578684901117</c:v>
                </c:pt>
                <c:pt idx="1595" formatCode="0.0%">
                  <c:v>0.25563578684901117</c:v>
                </c:pt>
                <c:pt idx="1596" formatCode="0.0%">
                  <c:v>0.25563578684901117</c:v>
                </c:pt>
                <c:pt idx="1597" formatCode="0.0%">
                  <c:v>0.25563578684901117</c:v>
                </c:pt>
                <c:pt idx="1598" formatCode="0.0%">
                  <c:v>0.25563578684901117</c:v>
                </c:pt>
                <c:pt idx="1599" formatCode="0.0%">
                  <c:v>0.25563578684901117</c:v>
                </c:pt>
                <c:pt idx="1600" formatCode="0.0%">
                  <c:v>0.25563578684901117</c:v>
                </c:pt>
                <c:pt idx="1601" formatCode="0.0%">
                  <c:v>0.25563578684901117</c:v>
                </c:pt>
                <c:pt idx="1602" formatCode="0.0%">
                  <c:v>0.25563578684901117</c:v>
                </c:pt>
                <c:pt idx="1603" formatCode="0.0%">
                  <c:v>0.25019085310793771</c:v>
                </c:pt>
                <c:pt idx="1604" formatCode="0.0%">
                  <c:v>0.23579035434848733</c:v>
                </c:pt>
                <c:pt idx="1605" formatCode="0.0%">
                  <c:v>0.23579035434848733</c:v>
                </c:pt>
                <c:pt idx="1606" formatCode="0.0%">
                  <c:v>0.23579035434848733</c:v>
                </c:pt>
                <c:pt idx="1607" formatCode="0.0%">
                  <c:v>0.24596384530516374</c:v>
                </c:pt>
                <c:pt idx="1608" formatCode="0.0%">
                  <c:v>0.2505490771394227</c:v>
                </c:pt>
                <c:pt idx="1609" formatCode="0.0%">
                  <c:v>0.25885980313237683</c:v>
                </c:pt>
                <c:pt idx="1610" formatCode="0.0%">
                  <c:v>0.25885980313237683</c:v>
                </c:pt>
                <c:pt idx="1611" formatCode="0.0%">
                  <c:v>0.25885980313237683</c:v>
                </c:pt>
                <c:pt idx="1612" formatCode="0.0%">
                  <c:v>0.24921833656354964</c:v>
                </c:pt>
                <c:pt idx="1613" formatCode="0.0%">
                  <c:v>0.24921833656354964</c:v>
                </c:pt>
                <c:pt idx="1614" formatCode="0.0%">
                  <c:v>0.24001736215126129</c:v>
                </c:pt>
                <c:pt idx="1615" formatCode="0.0%">
                  <c:v>0.24689522778702483</c:v>
                </c:pt>
                <c:pt idx="1616" formatCode="0.0%">
                  <c:v>0.25176700307772221</c:v>
                </c:pt>
                <c:pt idx="1617" formatCode="0.0%">
                  <c:v>0.25176700307772221</c:v>
                </c:pt>
                <c:pt idx="1618" formatCode="0.0%">
                  <c:v>0.26616750183717258</c:v>
                </c:pt>
                <c:pt idx="1619" formatCode="0.0%">
                  <c:v>0.26616750183717258</c:v>
                </c:pt>
                <c:pt idx="1620" formatCode="0.0%">
                  <c:v>0.26616750183717258</c:v>
                </c:pt>
                <c:pt idx="1621" formatCode="0.0%">
                  <c:v>0.26616750183717258</c:v>
                </c:pt>
                <c:pt idx="1622" formatCode="0.0%">
                  <c:v>0.26237036287218074</c:v>
                </c:pt>
                <c:pt idx="1623" formatCode="0.0%">
                  <c:v>0.26143898039031938</c:v>
                </c:pt>
                <c:pt idx="1624" formatCode="0.0%">
                  <c:v>0.246393714142946</c:v>
                </c:pt>
                <c:pt idx="1625" formatCode="0.0%">
                  <c:v>0.24359956669736221</c:v>
                </c:pt>
                <c:pt idx="1626" formatCode="0.0%">
                  <c:v>0.24359956669736221</c:v>
                </c:pt>
                <c:pt idx="1627" formatCode="0.0%">
                  <c:v>0.24359956669736221</c:v>
                </c:pt>
                <c:pt idx="1628" formatCode="0.0%">
                  <c:v>0.24230999595276587</c:v>
                </c:pt>
                <c:pt idx="1629" formatCode="0.0%">
                  <c:v>0.24094874463312266</c:v>
                </c:pt>
                <c:pt idx="1630" formatCode="0.0%">
                  <c:v>0.24008900695755855</c:v>
                </c:pt>
                <c:pt idx="1631" formatCode="0.0%">
                  <c:v>0.22805278680590974</c:v>
                </c:pt>
                <c:pt idx="1632" formatCode="0.0%">
                  <c:v>0.2377247641185069</c:v>
                </c:pt>
                <c:pt idx="1633" formatCode="0.0%">
                  <c:v>0.2377247641185069</c:v>
                </c:pt>
                <c:pt idx="1634" formatCode="0.0%">
                  <c:v>0.2377247641185069</c:v>
                </c:pt>
                <c:pt idx="1635" formatCode="0.0%">
                  <c:v>0.22339591016535379</c:v>
                </c:pt>
                <c:pt idx="1636" formatCode="0.0%">
                  <c:v>0.23356940112202992</c:v>
                </c:pt>
                <c:pt idx="1637" formatCode="0.0%">
                  <c:v>0.24238164075906313</c:v>
                </c:pt>
                <c:pt idx="1638" formatCode="0.0%">
                  <c:v>0.23292459786535688</c:v>
                </c:pt>
                <c:pt idx="1639" formatCode="0.0%">
                  <c:v>0.2488296017882945</c:v>
                </c:pt>
                <c:pt idx="1640" formatCode="0.0%">
                  <c:v>0.2488296017882945</c:v>
                </c:pt>
                <c:pt idx="1641" formatCode="0.0%">
                  <c:v>0.2488296017882945</c:v>
                </c:pt>
                <c:pt idx="1642" formatCode="0.0%">
                  <c:v>0.24733969027481678</c:v>
                </c:pt>
                <c:pt idx="1643" formatCode="0.0%">
                  <c:v>0.23965913811977629</c:v>
                </c:pt>
                <c:pt idx="1644" formatCode="0.0%">
                  <c:v>0.23657844721775462</c:v>
                </c:pt>
                <c:pt idx="1645" formatCode="0.0%">
                  <c:v>0.24832808814421539</c:v>
                </c:pt>
                <c:pt idx="1646" formatCode="0.0%">
                  <c:v>0.24223835114646902</c:v>
                </c:pt>
                <c:pt idx="1647" formatCode="0.0%">
                  <c:v>0.24223835114646902</c:v>
                </c:pt>
                <c:pt idx="1648" formatCode="0.0%">
                  <c:v>0.24223835114646902</c:v>
                </c:pt>
                <c:pt idx="1649" formatCode="0.0%">
                  <c:v>0.2504057875268289</c:v>
                </c:pt>
                <c:pt idx="1650" formatCode="0.0%">
                  <c:v>0.24732509662480709</c:v>
                </c:pt>
                <c:pt idx="1651" formatCode="0.0%">
                  <c:v>0.25370141284774178</c:v>
                </c:pt>
                <c:pt idx="1652" formatCode="0.0%">
                  <c:v>0.25219687191550433</c:v>
                </c:pt>
                <c:pt idx="1653" formatCode="0.0%">
                  <c:v>0.25019085310793771</c:v>
                </c:pt>
                <c:pt idx="1654" formatCode="0.0%">
                  <c:v>0.25019085310793771</c:v>
                </c:pt>
                <c:pt idx="1655" formatCode="0.0%">
                  <c:v>0.25019085310793771</c:v>
                </c:pt>
                <c:pt idx="1656" formatCode="0.0%">
                  <c:v>0.24839973295051251</c:v>
                </c:pt>
                <c:pt idx="1657" formatCode="0.0%">
                  <c:v>0.25842993429459454</c:v>
                </c:pt>
                <c:pt idx="1658" formatCode="0.0%">
                  <c:v>0.2548477297484939</c:v>
                </c:pt>
                <c:pt idx="1659" formatCode="0.0%">
                  <c:v>0.26874667909511518</c:v>
                </c:pt>
                <c:pt idx="1660" formatCode="0.0%">
                  <c:v>0.25885980313237683</c:v>
                </c:pt>
                <c:pt idx="1661" formatCode="0.0%">
                  <c:v>0.25885980313237683</c:v>
                </c:pt>
                <c:pt idx="1662" formatCode="0.0%">
                  <c:v>0.25885980313237683</c:v>
                </c:pt>
                <c:pt idx="1663" formatCode="0.0%">
                  <c:v>0.26115240116513122</c:v>
                </c:pt>
                <c:pt idx="1664" formatCode="0.0%">
                  <c:v>0.25205358230291025</c:v>
                </c:pt>
                <c:pt idx="1665" formatCode="0.0%">
                  <c:v>0.2665973706749547</c:v>
                </c:pt>
                <c:pt idx="1666" formatCode="0.0%">
                  <c:v>0.27361849015456213</c:v>
                </c:pt>
                <c:pt idx="1667" formatCode="0.0%">
                  <c:v>0.27447822783012654</c:v>
                </c:pt>
                <c:pt idx="1668" formatCode="0.0%">
                  <c:v>0.27447822783012654</c:v>
                </c:pt>
                <c:pt idx="1669" formatCode="0.0%">
                  <c:v>0.27447822783012654</c:v>
                </c:pt>
                <c:pt idx="1670" formatCode="0.0%">
                  <c:v>0.28443674859916174</c:v>
                </c:pt>
                <c:pt idx="1671" formatCode="0.0%">
                  <c:v>0.29482517397472918</c:v>
                </c:pt>
                <c:pt idx="1672" formatCode="0.0%">
                  <c:v>0.29926711619639434</c:v>
                </c:pt>
                <c:pt idx="1673" formatCode="0.0%">
                  <c:v>0.29744541375769873</c:v>
                </c:pt>
                <c:pt idx="1674" formatCode="0.0%">
                  <c:v>0.28157099211603109</c:v>
                </c:pt>
                <c:pt idx="1675" formatCode="0.0%">
                  <c:v>0.28157099211603109</c:v>
                </c:pt>
                <c:pt idx="1676" formatCode="0.0%">
                  <c:v>0.28157099211603109</c:v>
                </c:pt>
                <c:pt idx="1677" formatCode="0.0%">
                  <c:v>0.27526632069939366</c:v>
                </c:pt>
                <c:pt idx="1678" formatCode="0.0%">
                  <c:v>0.27275875247899806</c:v>
                </c:pt>
                <c:pt idx="1679" formatCode="0.0%">
                  <c:v>0.25362976804144455</c:v>
                </c:pt>
                <c:pt idx="1680" formatCode="0.0%">
                  <c:v>0.27017957522105546</c:v>
                </c:pt>
                <c:pt idx="1681" formatCode="0.0%">
                  <c:v>0.25413128168552362</c:v>
                </c:pt>
                <c:pt idx="1682" formatCode="0.0%">
                  <c:v>0.25413128168552362</c:v>
                </c:pt>
                <c:pt idx="1683" formatCode="0.0%">
                  <c:v>0.25413128168552362</c:v>
                </c:pt>
                <c:pt idx="1684" formatCode="0.0%">
                  <c:v>0.25721197258754541</c:v>
                </c:pt>
                <c:pt idx="1685" formatCode="0.0%">
                  <c:v>0.25019085310793771</c:v>
                </c:pt>
                <c:pt idx="1686" formatCode="0.0%">
                  <c:v>0.26108075635883438</c:v>
                </c:pt>
                <c:pt idx="1687" formatCode="0.0%">
                  <c:v>0.26272858690366574</c:v>
                </c:pt>
                <c:pt idx="1688" formatCode="0.0%">
                  <c:v>0.26186884922810139</c:v>
                </c:pt>
                <c:pt idx="1689" formatCode="0.0%">
                  <c:v>0.26186884922810139</c:v>
                </c:pt>
                <c:pt idx="1690" formatCode="0.0%">
                  <c:v>0.26186884922810139</c:v>
                </c:pt>
                <c:pt idx="1691" formatCode="0.0%">
                  <c:v>0.26194049403439862</c:v>
                </c:pt>
                <c:pt idx="1692" formatCode="0.0%">
                  <c:v>0.2645913160986379</c:v>
                </c:pt>
                <c:pt idx="1693" formatCode="0.0%">
                  <c:v>0.25083565636461103</c:v>
                </c:pt>
                <c:pt idx="1694" formatCode="0.0%">
                  <c:v>0.2529849647847715</c:v>
                </c:pt>
                <c:pt idx="1695" formatCode="0.0%">
                  <c:v>0.26430473687345013</c:v>
                </c:pt>
                <c:pt idx="1696" formatCode="0.0%">
                  <c:v>0.26430473687345013</c:v>
                </c:pt>
                <c:pt idx="1697" formatCode="0.0%">
                  <c:v>0.26430473687345013</c:v>
                </c:pt>
                <c:pt idx="1698" formatCode="0.0%">
                  <c:v>0.26344503496663579</c:v>
                </c:pt>
                <c:pt idx="1699" formatCode="0.0%">
                  <c:v>0.26115240116513122</c:v>
                </c:pt>
                <c:pt idx="1700" formatCode="0.0%">
                  <c:v>0.26595256741828138</c:v>
                </c:pt>
                <c:pt idx="1701" formatCode="0.0%">
                  <c:v>0.26280023170996275</c:v>
                </c:pt>
                <c:pt idx="1702" formatCode="0.0%">
                  <c:v>0.25893144793867395</c:v>
                </c:pt>
                <c:pt idx="1703" formatCode="0.0%">
                  <c:v>0.25893144793867395</c:v>
                </c:pt>
                <c:pt idx="1704" formatCode="0.0%">
                  <c:v>0.25389835558537088</c:v>
                </c:pt>
                <c:pt idx="1705" formatCode="0.0%">
                  <c:v>0.25341483362255346</c:v>
                </c:pt>
                <c:pt idx="1706" formatCode="0.0%">
                  <c:v>0.24668029336813405</c:v>
                </c:pt>
                <c:pt idx="1707" formatCode="0.0%">
                  <c:v>0.25463279532960287</c:v>
                </c:pt>
                <c:pt idx="1708" formatCode="0.0%">
                  <c:v>0.26136733558402225</c:v>
                </c:pt>
                <c:pt idx="1709" formatCode="0.0%">
                  <c:v>0.26888996870770909</c:v>
                </c:pt>
                <c:pt idx="1710" formatCode="0.0%">
                  <c:v>0.26888996870770909</c:v>
                </c:pt>
                <c:pt idx="1711" formatCode="0.0%">
                  <c:v>0.26888996870770909</c:v>
                </c:pt>
                <c:pt idx="1712" formatCode="0.0%">
                  <c:v>0.26903325832030306</c:v>
                </c:pt>
                <c:pt idx="1713" formatCode="0.0%">
                  <c:v>0.27225723883491892</c:v>
                </c:pt>
                <c:pt idx="1714" formatCode="0.0%">
                  <c:v>0.27397671418604719</c:v>
                </c:pt>
                <c:pt idx="1715" formatCode="0.0%">
                  <c:v>0.27354684534826518</c:v>
                </c:pt>
                <c:pt idx="1716" formatCode="0.0%">
                  <c:v>0.27562454473087866</c:v>
                </c:pt>
                <c:pt idx="1717" formatCode="0.0%">
                  <c:v>0.27562454473087866</c:v>
                </c:pt>
                <c:pt idx="1718" formatCode="0.0%">
                  <c:v>0.27562454473087866</c:v>
                </c:pt>
                <c:pt idx="1719" formatCode="0.0%">
                  <c:v>0.27326026612307702</c:v>
                </c:pt>
                <c:pt idx="1720" formatCode="0.0%">
                  <c:v>0.2665973706749547</c:v>
                </c:pt>
                <c:pt idx="1721" formatCode="0.0%">
                  <c:v>0.26666901548125166</c:v>
                </c:pt>
                <c:pt idx="1722" formatCode="0.0%">
                  <c:v>0.27849030121400942</c:v>
                </c:pt>
                <c:pt idx="1723" formatCode="0.0%">
                  <c:v>0.27985155253365263</c:v>
                </c:pt>
                <c:pt idx="1724" formatCode="0.0%">
                  <c:v>0.27985155253365263</c:v>
                </c:pt>
                <c:pt idx="1725" formatCode="0.0%">
                  <c:v>0.27985155253365263</c:v>
                </c:pt>
                <c:pt idx="1726" formatCode="0.0%">
                  <c:v>0.27519467589309654</c:v>
                </c:pt>
                <c:pt idx="1727" formatCode="0.0%">
                  <c:v>0.27526632069939366</c:v>
                </c:pt>
                <c:pt idx="1728" formatCode="0.0%">
                  <c:v>0.27060944405883758</c:v>
                </c:pt>
                <c:pt idx="1729" formatCode="0.0%">
                  <c:v>0.26580927780568731</c:v>
                </c:pt>
                <c:pt idx="1730" formatCode="0.0%">
                  <c:v>0.27311697651048306</c:v>
                </c:pt>
                <c:pt idx="1731" formatCode="0.0%">
                  <c:v>0.27311697651048306</c:v>
                </c:pt>
                <c:pt idx="1732" formatCode="0.0%">
                  <c:v>0.27311697651048306</c:v>
                </c:pt>
                <c:pt idx="1733" formatCode="0.0%">
                  <c:v>0.27617656384999095</c:v>
                </c:pt>
                <c:pt idx="1734" formatCode="0.0%">
                  <c:v>0.27649708761895142</c:v>
                </c:pt>
                <c:pt idx="1735" formatCode="0.0%">
                  <c:v>0.26910490312660018</c:v>
                </c:pt>
                <c:pt idx="1736" formatCode="0.0%">
                  <c:v>0.27634095702509881</c:v>
                </c:pt>
                <c:pt idx="1737" formatCode="0.0%">
                  <c:v>0.27533796550569051</c:v>
                </c:pt>
                <c:pt idx="1738" formatCode="0.0%">
                  <c:v>0.27533796550569051</c:v>
                </c:pt>
                <c:pt idx="1739" formatCode="0.0%">
                  <c:v>0.27533796550569051</c:v>
                </c:pt>
                <c:pt idx="1740" formatCode="0.0%">
                  <c:v>0.2807828992467637</c:v>
                </c:pt>
                <c:pt idx="1741" formatCode="0.0%">
                  <c:v>0.29410872591175891</c:v>
                </c:pt>
                <c:pt idx="1742" formatCode="0.0%">
                  <c:v>0.30034175252209933</c:v>
                </c:pt>
                <c:pt idx="1743" formatCode="0.0%">
                  <c:v>0.31058688828507258</c:v>
                </c:pt>
                <c:pt idx="1744" formatCode="0.0%">
                  <c:v>0.31631843702008411</c:v>
                </c:pt>
                <c:pt idx="1745" formatCode="0.0%">
                  <c:v>0.31631843702008411</c:v>
                </c:pt>
                <c:pt idx="1746" formatCode="0.0%">
                  <c:v>0.31631843702008411</c:v>
                </c:pt>
                <c:pt idx="1747" formatCode="0.0%">
                  <c:v>0.29919547139009695</c:v>
                </c:pt>
                <c:pt idx="1748" formatCode="0.0%">
                  <c:v>0.27684247066917805</c:v>
                </c:pt>
                <c:pt idx="1749" formatCode="0.0%">
                  <c:v>0.30557178761303161</c:v>
                </c:pt>
                <c:pt idx="1750" formatCode="0.0%">
                  <c:v>0.30091491097247541</c:v>
                </c:pt>
                <c:pt idx="1751" formatCode="0.0%">
                  <c:v>0.28286059862937718</c:v>
                </c:pt>
                <c:pt idx="1752" formatCode="0.0%">
                  <c:v>0.28286059862937718</c:v>
                </c:pt>
                <c:pt idx="1753" formatCode="0.0%">
                  <c:v>0.28286059862937718</c:v>
                </c:pt>
                <c:pt idx="1754" formatCode="0.0%">
                  <c:v>0.29797750968304798</c:v>
                </c:pt>
                <c:pt idx="1755" formatCode="0.0%">
                  <c:v>0.29518339800621418</c:v>
                </c:pt>
                <c:pt idx="1756" formatCode="0.0%">
                  <c:v>0.29403708110546178</c:v>
                </c:pt>
                <c:pt idx="1757" formatCode="0.0%">
                  <c:v>0.29833573371453298</c:v>
                </c:pt>
                <c:pt idx="1758" formatCode="0.0%">
                  <c:v>0.31316606554301529</c:v>
                </c:pt>
                <c:pt idx="1759" formatCode="0.0%">
                  <c:v>0.31316606554301529</c:v>
                </c:pt>
                <c:pt idx="1760" formatCode="0.0%">
                  <c:v>0.31316606554301529</c:v>
                </c:pt>
                <c:pt idx="1761" formatCode="0.0%">
                  <c:v>0.3268501162394955</c:v>
                </c:pt>
                <c:pt idx="1762" formatCode="0.0%">
                  <c:v>0.3300024519478143</c:v>
                </c:pt>
                <c:pt idx="1763" formatCode="0.0%">
                  <c:v>0.34311334419391815</c:v>
                </c:pt>
                <c:pt idx="1764" formatCode="0.0%">
                  <c:v>0.33508919742615234</c:v>
                </c:pt>
                <c:pt idx="1765" formatCode="0.0%">
                  <c:v>0.33758585617779063</c:v>
                </c:pt>
                <c:pt idx="1766" formatCode="0.0%">
                  <c:v>0.33758585617779063</c:v>
                </c:pt>
                <c:pt idx="1767" formatCode="0.0%">
                  <c:v>0.33758585617779063</c:v>
                </c:pt>
                <c:pt idx="1768" formatCode="0.0%">
                  <c:v>0.34669554874001901</c:v>
                </c:pt>
                <c:pt idx="1769" formatCode="0.0%">
                  <c:v>0.33688028181482765</c:v>
                </c:pt>
                <c:pt idx="1770" formatCode="0.0%">
                  <c:v>0.31818116621505654</c:v>
                </c:pt>
                <c:pt idx="1771" formatCode="0.0%">
                  <c:v>0.30714797335156591</c:v>
                </c:pt>
                <c:pt idx="1772" formatCode="0.0%">
                  <c:v>0.27454987263642322</c:v>
                </c:pt>
                <c:pt idx="1773" formatCode="0.0%">
                  <c:v>0.27454987263642322</c:v>
                </c:pt>
                <c:pt idx="1774" formatCode="0.0%">
                  <c:v>0.27454987263642322</c:v>
                </c:pt>
                <c:pt idx="1775" formatCode="0.0%">
                  <c:v>0.31345264476820345</c:v>
                </c:pt>
                <c:pt idx="1776" formatCode="0.0%">
                  <c:v>0.30184629345433678</c:v>
                </c:pt>
                <c:pt idx="1777" formatCode="0.0%">
                  <c:v>0.30772113180194227</c:v>
                </c:pt>
                <c:pt idx="1778" formatCode="0.0%">
                  <c:v>0.28508155185583489</c:v>
                </c:pt>
                <c:pt idx="1779" formatCode="0.0%">
                  <c:v>0.2648062505175291</c:v>
                </c:pt>
                <c:pt idx="1780" formatCode="0.0%">
                  <c:v>0.2648062505175291</c:v>
                </c:pt>
                <c:pt idx="1781" formatCode="0.0%">
                  <c:v>0.2648062505175291</c:v>
                </c:pt>
                <c:pt idx="1782" formatCode="0.0%">
                  <c:v>0.27741562911955414</c:v>
                </c:pt>
                <c:pt idx="1783" formatCode="0.0%">
                  <c:v>0.23349775631573294</c:v>
                </c:pt>
                <c:pt idx="1784" formatCode="0.0%">
                  <c:v>0.25312825439736542</c:v>
                </c:pt>
                <c:pt idx="1785" formatCode="0.0%">
                  <c:v>0.28586964472510201</c:v>
                </c:pt>
                <c:pt idx="1786" formatCode="0.0%">
                  <c:v>0.21522847378499363</c:v>
                </c:pt>
                <c:pt idx="1787" formatCode="0.0%">
                  <c:v>0.21522847378499363</c:v>
                </c:pt>
                <c:pt idx="1788" formatCode="0.0%">
                  <c:v>0.21522847378499363</c:v>
                </c:pt>
                <c:pt idx="1789" formatCode="0.0%">
                  <c:v>0.22977226215703822</c:v>
                </c:pt>
                <c:pt idx="1790" formatCode="0.0%">
                  <c:v>0.22418400303462094</c:v>
                </c:pt>
                <c:pt idx="1791" formatCode="0.0%">
                  <c:v>0.24890124659459148</c:v>
                </c:pt>
                <c:pt idx="1792" formatCode="0.0%">
                  <c:v>0.25291331997847438</c:v>
                </c:pt>
                <c:pt idx="1793" formatCode="0.0%">
                  <c:v>0.26072253232734921</c:v>
                </c:pt>
                <c:pt idx="1794" formatCode="0.0%">
                  <c:v>0.26072253232734921</c:v>
                </c:pt>
                <c:pt idx="1795" formatCode="0.0%">
                  <c:v>0.26154557126538935</c:v>
                </c:pt>
                <c:pt idx="1796" formatCode="0.0%">
                  <c:v>0.24761164008124509</c:v>
                </c:pt>
                <c:pt idx="1797" formatCode="0.0%">
                  <c:v>0.26308681093515074</c:v>
                </c:pt>
                <c:pt idx="1798" formatCode="0.0%">
                  <c:v>0.24560562127367874</c:v>
                </c:pt>
                <c:pt idx="1799" formatCode="0.0%">
                  <c:v>0.259576251195347</c:v>
                </c:pt>
                <c:pt idx="1800" formatCode="0.0%">
                  <c:v>0.27705740508806898</c:v>
                </c:pt>
                <c:pt idx="1801" formatCode="0.0%">
                  <c:v>0.27705740508806898</c:v>
                </c:pt>
                <c:pt idx="1802" formatCode="0.0%">
                  <c:v>0.27705740508806898</c:v>
                </c:pt>
                <c:pt idx="1803" formatCode="0.0%">
                  <c:v>0.28665773759436919</c:v>
                </c:pt>
                <c:pt idx="1804" formatCode="0.0%">
                  <c:v>0.28687267201326022</c:v>
                </c:pt>
                <c:pt idx="1805" formatCode="0.0%">
                  <c:v>0.28973842849639087</c:v>
                </c:pt>
                <c:pt idx="1806" formatCode="0.0%">
                  <c:v>0.26165391480921046</c:v>
                </c:pt>
                <c:pt idx="1807" formatCode="0.0%">
                  <c:v>0.2710393128966197</c:v>
                </c:pt>
                <c:pt idx="1808" formatCode="0.0%">
                  <c:v>0.2710393128966197</c:v>
                </c:pt>
                <c:pt idx="1809" formatCode="0.0%">
                  <c:v>0.2710393128966197</c:v>
                </c:pt>
                <c:pt idx="1810" formatCode="0.0%">
                  <c:v>0.24897289140088857</c:v>
                </c:pt>
                <c:pt idx="1811" formatCode="0.0%">
                  <c:v>0.24302644401573617</c:v>
                </c:pt>
                <c:pt idx="1812" formatCode="0.0%">
                  <c:v>0.24245328556536008</c:v>
                </c:pt>
                <c:pt idx="1813" formatCode="0.0%">
                  <c:v>0.23980242773237023</c:v>
                </c:pt>
                <c:pt idx="1814" formatCode="0.0%">
                  <c:v>0.25499101936108787</c:v>
                </c:pt>
                <c:pt idx="1815" formatCode="0.0%">
                  <c:v>0.25499101936108787</c:v>
                </c:pt>
                <c:pt idx="1816" formatCode="0.0%">
                  <c:v>0.25499101936108787</c:v>
                </c:pt>
                <c:pt idx="1817" formatCode="0.0%">
                  <c:v>0.25971950503919089</c:v>
                </c:pt>
                <c:pt idx="1818" formatCode="0.0%">
                  <c:v>0.26846009986992697</c:v>
                </c:pt>
                <c:pt idx="1819" formatCode="0.0%">
                  <c:v>0.26846009986992697</c:v>
                </c:pt>
                <c:pt idx="1820" formatCode="0.0%">
                  <c:v>0.26846009986992697</c:v>
                </c:pt>
                <c:pt idx="1821" formatCode="0.0%">
                  <c:v>0.26846009986992697</c:v>
                </c:pt>
                <c:pt idx="1822" formatCode="0.0%">
                  <c:v>0.26846009986992697</c:v>
                </c:pt>
                <c:pt idx="1823" formatCode="0.0%">
                  <c:v>0.26846009986992697</c:v>
                </c:pt>
                <c:pt idx="1824" formatCode="0.0%">
                  <c:v>0.26666901548125166</c:v>
                </c:pt>
                <c:pt idx="1825" formatCode="0.0%">
                  <c:v>0.27211394922232474</c:v>
                </c:pt>
                <c:pt idx="1826" formatCode="0.0%">
                  <c:v>0.26772998814444793</c:v>
                </c:pt>
              </c:numCache>
            </c:numRef>
          </c:val>
          <c:smooth val="0"/>
          <c:extLst>
            <c:ext xmlns:c16="http://schemas.microsoft.com/office/drawing/2014/chart" uri="{C3380CC4-5D6E-409C-BE32-E72D297353CC}">
              <c16:uniqueId val="{00000004-C592-43EE-8D08-8400729D0F8F}"/>
            </c:ext>
          </c:extLst>
        </c:ser>
        <c:ser>
          <c:idx val="8"/>
          <c:order val="4"/>
          <c:tx>
            <c:strRef>
              <c:f>Sheet1!$J$1</c:f>
              <c:strCache>
                <c:ptCount val="1"/>
                <c:pt idx="0">
                  <c:v>Peer #5</c:v>
                </c:pt>
              </c:strCache>
            </c:strRef>
          </c:tx>
          <c:spPr>
            <a:ln w="12700" cap="rnd">
              <a:solidFill>
                <a:srgbClr val="91A0B2"/>
              </a:solidFill>
              <a:round/>
            </a:ln>
            <a:effectLst/>
          </c:spPr>
          <c:marker>
            <c:symbol val="none"/>
          </c:marker>
          <c:cat>
            <c:numRef>
              <c:f>Sheet1!$A$2:$A$2069</c:f>
              <c:numCache>
                <c:formatCode>d\-mmm\-yy</c:formatCode>
                <c:ptCount val="2068"/>
                <c:pt idx="0">
                  <c:v>44196</c:v>
                </c:pt>
                <c:pt idx="1">
                  <c:v>44197</c:v>
                </c:pt>
                <c:pt idx="2">
                  <c:v>44198</c:v>
                </c:pt>
                <c:pt idx="3">
                  <c:v>44199</c:v>
                </c:pt>
                <c:pt idx="4">
                  <c:v>44200</c:v>
                </c:pt>
                <c:pt idx="5">
                  <c:v>44201</c:v>
                </c:pt>
                <c:pt idx="6">
                  <c:v>44202</c:v>
                </c:pt>
                <c:pt idx="7">
                  <c:v>44203</c:v>
                </c:pt>
                <c:pt idx="8">
                  <c:v>44204</c:v>
                </c:pt>
                <c:pt idx="9">
                  <c:v>44205</c:v>
                </c:pt>
                <c:pt idx="10">
                  <c:v>44206</c:v>
                </c:pt>
                <c:pt idx="11">
                  <c:v>44207</c:v>
                </c:pt>
                <c:pt idx="12">
                  <c:v>44208</c:v>
                </c:pt>
                <c:pt idx="13">
                  <c:v>44209</c:v>
                </c:pt>
                <c:pt idx="14">
                  <c:v>44210</c:v>
                </c:pt>
                <c:pt idx="15">
                  <c:v>44211</c:v>
                </c:pt>
                <c:pt idx="16">
                  <c:v>44212</c:v>
                </c:pt>
                <c:pt idx="17">
                  <c:v>44213</c:v>
                </c:pt>
                <c:pt idx="18">
                  <c:v>44214</c:v>
                </c:pt>
                <c:pt idx="19">
                  <c:v>44215</c:v>
                </c:pt>
                <c:pt idx="20">
                  <c:v>44216</c:v>
                </c:pt>
                <c:pt idx="21">
                  <c:v>44217</c:v>
                </c:pt>
                <c:pt idx="22">
                  <c:v>44218</c:v>
                </c:pt>
                <c:pt idx="23">
                  <c:v>44219</c:v>
                </c:pt>
                <c:pt idx="24">
                  <c:v>44220</c:v>
                </c:pt>
                <c:pt idx="25">
                  <c:v>44221</c:v>
                </c:pt>
                <c:pt idx="26">
                  <c:v>44222</c:v>
                </c:pt>
                <c:pt idx="27">
                  <c:v>44223</c:v>
                </c:pt>
                <c:pt idx="28">
                  <c:v>44224</c:v>
                </c:pt>
                <c:pt idx="29">
                  <c:v>44225</c:v>
                </c:pt>
                <c:pt idx="30">
                  <c:v>44226</c:v>
                </c:pt>
                <c:pt idx="31">
                  <c:v>44227</c:v>
                </c:pt>
                <c:pt idx="32">
                  <c:v>44228</c:v>
                </c:pt>
                <c:pt idx="33">
                  <c:v>44229</c:v>
                </c:pt>
                <c:pt idx="34">
                  <c:v>44230</c:v>
                </c:pt>
                <c:pt idx="35">
                  <c:v>44231</c:v>
                </c:pt>
                <c:pt idx="36">
                  <c:v>44232</c:v>
                </c:pt>
                <c:pt idx="37">
                  <c:v>44233</c:v>
                </c:pt>
                <c:pt idx="38">
                  <c:v>44234</c:v>
                </c:pt>
                <c:pt idx="39">
                  <c:v>44235</c:v>
                </c:pt>
                <c:pt idx="40">
                  <c:v>44236</c:v>
                </c:pt>
                <c:pt idx="41">
                  <c:v>44237</c:v>
                </c:pt>
                <c:pt idx="42">
                  <c:v>44238</c:v>
                </c:pt>
                <c:pt idx="43">
                  <c:v>44239</c:v>
                </c:pt>
                <c:pt idx="44">
                  <c:v>44240</c:v>
                </c:pt>
                <c:pt idx="45">
                  <c:v>44241</c:v>
                </c:pt>
                <c:pt idx="46">
                  <c:v>44242</c:v>
                </c:pt>
                <c:pt idx="47">
                  <c:v>44243</c:v>
                </c:pt>
                <c:pt idx="48">
                  <c:v>44244</c:v>
                </c:pt>
                <c:pt idx="49">
                  <c:v>44245</c:v>
                </c:pt>
                <c:pt idx="50">
                  <c:v>44246</c:v>
                </c:pt>
                <c:pt idx="51">
                  <c:v>44247</c:v>
                </c:pt>
                <c:pt idx="52">
                  <c:v>44248</c:v>
                </c:pt>
                <c:pt idx="53">
                  <c:v>44249</c:v>
                </c:pt>
                <c:pt idx="54">
                  <c:v>44250</c:v>
                </c:pt>
                <c:pt idx="55">
                  <c:v>44251</c:v>
                </c:pt>
                <c:pt idx="56">
                  <c:v>44252</c:v>
                </c:pt>
                <c:pt idx="57">
                  <c:v>44253</c:v>
                </c:pt>
                <c:pt idx="58">
                  <c:v>44254</c:v>
                </c:pt>
                <c:pt idx="59">
                  <c:v>44255</c:v>
                </c:pt>
                <c:pt idx="60">
                  <c:v>44256</c:v>
                </c:pt>
                <c:pt idx="61">
                  <c:v>44257</c:v>
                </c:pt>
                <c:pt idx="62">
                  <c:v>44258</c:v>
                </c:pt>
                <c:pt idx="63">
                  <c:v>44259</c:v>
                </c:pt>
                <c:pt idx="64">
                  <c:v>44260</c:v>
                </c:pt>
                <c:pt idx="65">
                  <c:v>44261</c:v>
                </c:pt>
                <c:pt idx="66">
                  <c:v>44262</c:v>
                </c:pt>
                <c:pt idx="67">
                  <c:v>44263</c:v>
                </c:pt>
                <c:pt idx="68">
                  <c:v>44264</c:v>
                </c:pt>
                <c:pt idx="69">
                  <c:v>44265</c:v>
                </c:pt>
                <c:pt idx="70">
                  <c:v>44266</c:v>
                </c:pt>
                <c:pt idx="71">
                  <c:v>44267</c:v>
                </c:pt>
                <c:pt idx="72">
                  <c:v>44268</c:v>
                </c:pt>
                <c:pt idx="73">
                  <c:v>44269</c:v>
                </c:pt>
                <c:pt idx="74">
                  <c:v>44270</c:v>
                </c:pt>
                <c:pt idx="75">
                  <c:v>44271</c:v>
                </c:pt>
                <c:pt idx="76">
                  <c:v>44272</c:v>
                </c:pt>
                <c:pt idx="77">
                  <c:v>44273</c:v>
                </c:pt>
                <c:pt idx="78">
                  <c:v>44274</c:v>
                </c:pt>
                <c:pt idx="79">
                  <c:v>44275</c:v>
                </c:pt>
                <c:pt idx="80">
                  <c:v>44276</c:v>
                </c:pt>
                <c:pt idx="81">
                  <c:v>44277</c:v>
                </c:pt>
                <c:pt idx="82">
                  <c:v>44278</c:v>
                </c:pt>
                <c:pt idx="83">
                  <c:v>44279</c:v>
                </c:pt>
                <c:pt idx="84">
                  <c:v>44280</c:v>
                </c:pt>
                <c:pt idx="85">
                  <c:v>44281</c:v>
                </c:pt>
                <c:pt idx="86">
                  <c:v>44282</c:v>
                </c:pt>
                <c:pt idx="87">
                  <c:v>44283</c:v>
                </c:pt>
                <c:pt idx="88">
                  <c:v>44284</c:v>
                </c:pt>
                <c:pt idx="89">
                  <c:v>44285</c:v>
                </c:pt>
                <c:pt idx="90">
                  <c:v>44286</c:v>
                </c:pt>
                <c:pt idx="91">
                  <c:v>44287</c:v>
                </c:pt>
                <c:pt idx="92">
                  <c:v>44288</c:v>
                </c:pt>
                <c:pt idx="93">
                  <c:v>44289</c:v>
                </c:pt>
                <c:pt idx="94">
                  <c:v>44290</c:v>
                </c:pt>
                <c:pt idx="95">
                  <c:v>44291</c:v>
                </c:pt>
                <c:pt idx="96">
                  <c:v>44292</c:v>
                </c:pt>
                <c:pt idx="97">
                  <c:v>44293</c:v>
                </c:pt>
                <c:pt idx="98">
                  <c:v>44294</c:v>
                </c:pt>
                <c:pt idx="99">
                  <c:v>44295</c:v>
                </c:pt>
                <c:pt idx="100">
                  <c:v>44296</c:v>
                </c:pt>
                <c:pt idx="101">
                  <c:v>44297</c:v>
                </c:pt>
                <c:pt idx="102">
                  <c:v>44298</c:v>
                </c:pt>
                <c:pt idx="103">
                  <c:v>44299</c:v>
                </c:pt>
                <c:pt idx="104">
                  <c:v>44300</c:v>
                </c:pt>
                <c:pt idx="105">
                  <c:v>44301</c:v>
                </c:pt>
                <c:pt idx="106">
                  <c:v>44302</c:v>
                </c:pt>
                <c:pt idx="107">
                  <c:v>44303</c:v>
                </c:pt>
                <c:pt idx="108">
                  <c:v>44304</c:v>
                </c:pt>
                <c:pt idx="109">
                  <c:v>44305</c:v>
                </c:pt>
                <c:pt idx="110">
                  <c:v>44306</c:v>
                </c:pt>
                <c:pt idx="111">
                  <c:v>44307</c:v>
                </c:pt>
                <c:pt idx="112">
                  <c:v>44308</c:v>
                </c:pt>
                <c:pt idx="113">
                  <c:v>44309</c:v>
                </c:pt>
                <c:pt idx="114">
                  <c:v>44310</c:v>
                </c:pt>
                <c:pt idx="115">
                  <c:v>44311</c:v>
                </c:pt>
                <c:pt idx="116">
                  <c:v>44312</c:v>
                </c:pt>
                <c:pt idx="117">
                  <c:v>44313</c:v>
                </c:pt>
                <c:pt idx="118">
                  <c:v>44314</c:v>
                </c:pt>
                <c:pt idx="119">
                  <c:v>44315</c:v>
                </c:pt>
                <c:pt idx="120">
                  <c:v>44316</c:v>
                </c:pt>
                <c:pt idx="121">
                  <c:v>44317</c:v>
                </c:pt>
                <c:pt idx="122">
                  <c:v>44318</c:v>
                </c:pt>
                <c:pt idx="123">
                  <c:v>44319</c:v>
                </c:pt>
                <c:pt idx="124">
                  <c:v>44320</c:v>
                </c:pt>
                <c:pt idx="125">
                  <c:v>44321</c:v>
                </c:pt>
                <c:pt idx="126">
                  <c:v>44322</c:v>
                </c:pt>
                <c:pt idx="127">
                  <c:v>44323</c:v>
                </c:pt>
                <c:pt idx="128">
                  <c:v>44324</c:v>
                </c:pt>
                <c:pt idx="129">
                  <c:v>44325</c:v>
                </c:pt>
                <c:pt idx="130">
                  <c:v>44326</c:v>
                </c:pt>
                <c:pt idx="131">
                  <c:v>44327</c:v>
                </c:pt>
                <c:pt idx="132">
                  <c:v>44328</c:v>
                </c:pt>
                <c:pt idx="133">
                  <c:v>44329</c:v>
                </c:pt>
                <c:pt idx="134">
                  <c:v>44330</c:v>
                </c:pt>
                <c:pt idx="135">
                  <c:v>44331</c:v>
                </c:pt>
                <c:pt idx="136">
                  <c:v>44332</c:v>
                </c:pt>
                <c:pt idx="137">
                  <c:v>44333</c:v>
                </c:pt>
                <c:pt idx="138">
                  <c:v>44334</c:v>
                </c:pt>
                <c:pt idx="139">
                  <c:v>44335</c:v>
                </c:pt>
                <c:pt idx="140">
                  <c:v>44336</c:v>
                </c:pt>
                <c:pt idx="141">
                  <c:v>44337</c:v>
                </c:pt>
                <c:pt idx="142">
                  <c:v>44338</c:v>
                </c:pt>
                <c:pt idx="143">
                  <c:v>44339</c:v>
                </c:pt>
                <c:pt idx="144">
                  <c:v>44340</c:v>
                </c:pt>
                <c:pt idx="145">
                  <c:v>44341</c:v>
                </c:pt>
                <c:pt idx="146">
                  <c:v>44342</c:v>
                </c:pt>
                <c:pt idx="147">
                  <c:v>44343</c:v>
                </c:pt>
                <c:pt idx="148">
                  <c:v>44344</c:v>
                </c:pt>
                <c:pt idx="149">
                  <c:v>44345</c:v>
                </c:pt>
                <c:pt idx="150">
                  <c:v>44346</c:v>
                </c:pt>
                <c:pt idx="151">
                  <c:v>44347</c:v>
                </c:pt>
                <c:pt idx="152">
                  <c:v>44348</c:v>
                </c:pt>
                <c:pt idx="153">
                  <c:v>44349</c:v>
                </c:pt>
                <c:pt idx="154">
                  <c:v>44350</c:v>
                </c:pt>
                <c:pt idx="155">
                  <c:v>44351</c:v>
                </c:pt>
                <c:pt idx="156">
                  <c:v>44352</c:v>
                </c:pt>
                <c:pt idx="157">
                  <c:v>44353</c:v>
                </c:pt>
                <c:pt idx="158">
                  <c:v>44354</c:v>
                </c:pt>
                <c:pt idx="159">
                  <c:v>44355</c:v>
                </c:pt>
                <c:pt idx="160">
                  <c:v>44356</c:v>
                </c:pt>
                <c:pt idx="161">
                  <c:v>44357</c:v>
                </c:pt>
                <c:pt idx="162">
                  <c:v>44358</c:v>
                </c:pt>
                <c:pt idx="163">
                  <c:v>44359</c:v>
                </c:pt>
                <c:pt idx="164">
                  <c:v>44360</c:v>
                </c:pt>
                <c:pt idx="165">
                  <c:v>44361</c:v>
                </c:pt>
                <c:pt idx="166">
                  <c:v>44362</c:v>
                </c:pt>
                <c:pt idx="167">
                  <c:v>44363</c:v>
                </c:pt>
                <c:pt idx="168">
                  <c:v>44364</c:v>
                </c:pt>
                <c:pt idx="169">
                  <c:v>44365</c:v>
                </c:pt>
                <c:pt idx="170">
                  <c:v>44366</c:v>
                </c:pt>
                <c:pt idx="171">
                  <c:v>44367</c:v>
                </c:pt>
                <c:pt idx="172">
                  <c:v>44368</c:v>
                </c:pt>
                <c:pt idx="173">
                  <c:v>44369</c:v>
                </c:pt>
                <c:pt idx="174">
                  <c:v>44370</c:v>
                </c:pt>
                <c:pt idx="175">
                  <c:v>44371</c:v>
                </c:pt>
                <c:pt idx="176">
                  <c:v>44372</c:v>
                </c:pt>
                <c:pt idx="177">
                  <c:v>44373</c:v>
                </c:pt>
                <c:pt idx="178">
                  <c:v>44374</c:v>
                </c:pt>
                <c:pt idx="179">
                  <c:v>44375</c:v>
                </c:pt>
                <c:pt idx="180">
                  <c:v>44376</c:v>
                </c:pt>
                <c:pt idx="181">
                  <c:v>44377</c:v>
                </c:pt>
                <c:pt idx="182">
                  <c:v>44378</c:v>
                </c:pt>
                <c:pt idx="183">
                  <c:v>44379</c:v>
                </c:pt>
                <c:pt idx="184">
                  <c:v>44380</c:v>
                </c:pt>
                <c:pt idx="185">
                  <c:v>44381</c:v>
                </c:pt>
                <c:pt idx="186">
                  <c:v>44382</c:v>
                </c:pt>
                <c:pt idx="187">
                  <c:v>44383</c:v>
                </c:pt>
                <c:pt idx="188">
                  <c:v>44384</c:v>
                </c:pt>
                <c:pt idx="189">
                  <c:v>44385</c:v>
                </c:pt>
                <c:pt idx="190">
                  <c:v>44386</c:v>
                </c:pt>
                <c:pt idx="191">
                  <c:v>44387</c:v>
                </c:pt>
                <c:pt idx="192">
                  <c:v>44388</c:v>
                </c:pt>
                <c:pt idx="193">
                  <c:v>44389</c:v>
                </c:pt>
                <c:pt idx="194">
                  <c:v>44390</c:v>
                </c:pt>
                <c:pt idx="195">
                  <c:v>44391</c:v>
                </c:pt>
                <c:pt idx="196">
                  <c:v>44392</c:v>
                </c:pt>
                <c:pt idx="197">
                  <c:v>44393</c:v>
                </c:pt>
                <c:pt idx="198">
                  <c:v>44394</c:v>
                </c:pt>
                <c:pt idx="199">
                  <c:v>44395</c:v>
                </c:pt>
                <c:pt idx="200">
                  <c:v>44396</c:v>
                </c:pt>
                <c:pt idx="201">
                  <c:v>44397</c:v>
                </c:pt>
                <c:pt idx="202">
                  <c:v>44398</c:v>
                </c:pt>
                <c:pt idx="203">
                  <c:v>44399</c:v>
                </c:pt>
                <c:pt idx="204">
                  <c:v>44400</c:v>
                </c:pt>
                <c:pt idx="205">
                  <c:v>44401</c:v>
                </c:pt>
                <c:pt idx="206">
                  <c:v>44402</c:v>
                </c:pt>
                <c:pt idx="207">
                  <c:v>44403</c:v>
                </c:pt>
                <c:pt idx="208">
                  <c:v>44404</c:v>
                </c:pt>
                <c:pt idx="209">
                  <c:v>44405</c:v>
                </c:pt>
                <c:pt idx="210">
                  <c:v>44406</c:v>
                </c:pt>
                <c:pt idx="211">
                  <c:v>44407</c:v>
                </c:pt>
                <c:pt idx="212">
                  <c:v>44408</c:v>
                </c:pt>
                <c:pt idx="213">
                  <c:v>44409</c:v>
                </c:pt>
                <c:pt idx="214">
                  <c:v>44410</c:v>
                </c:pt>
                <c:pt idx="215">
                  <c:v>44411</c:v>
                </c:pt>
                <c:pt idx="216">
                  <c:v>44412</c:v>
                </c:pt>
                <c:pt idx="217">
                  <c:v>44413</c:v>
                </c:pt>
                <c:pt idx="218">
                  <c:v>44414</c:v>
                </c:pt>
                <c:pt idx="219">
                  <c:v>44415</c:v>
                </c:pt>
                <c:pt idx="220">
                  <c:v>44416</c:v>
                </c:pt>
                <c:pt idx="221">
                  <c:v>44417</c:v>
                </c:pt>
                <c:pt idx="222">
                  <c:v>44418</c:v>
                </c:pt>
                <c:pt idx="223">
                  <c:v>44419</c:v>
                </c:pt>
                <c:pt idx="224">
                  <c:v>44420</c:v>
                </c:pt>
                <c:pt idx="225">
                  <c:v>44421</c:v>
                </c:pt>
                <c:pt idx="226">
                  <c:v>44422</c:v>
                </c:pt>
                <c:pt idx="227">
                  <c:v>44423</c:v>
                </c:pt>
                <c:pt idx="228">
                  <c:v>44424</c:v>
                </c:pt>
                <c:pt idx="229">
                  <c:v>44425</c:v>
                </c:pt>
                <c:pt idx="230">
                  <c:v>44426</c:v>
                </c:pt>
                <c:pt idx="231">
                  <c:v>44427</c:v>
                </c:pt>
                <c:pt idx="232">
                  <c:v>44428</c:v>
                </c:pt>
                <c:pt idx="233">
                  <c:v>44429</c:v>
                </c:pt>
                <c:pt idx="234">
                  <c:v>44430</c:v>
                </c:pt>
                <c:pt idx="235">
                  <c:v>44431</c:v>
                </c:pt>
                <c:pt idx="236">
                  <c:v>44432</c:v>
                </c:pt>
                <c:pt idx="237">
                  <c:v>44433</c:v>
                </c:pt>
                <c:pt idx="238">
                  <c:v>44434</c:v>
                </c:pt>
                <c:pt idx="239">
                  <c:v>44435</c:v>
                </c:pt>
                <c:pt idx="240">
                  <c:v>44436</c:v>
                </c:pt>
                <c:pt idx="241">
                  <c:v>44437</c:v>
                </c:pt>
                <c:pt idx="242">
                  <c:v>44438</c:v>
                </c:pt>
                <c:pt idx="243">
                  <c:v>44439</c:v>
                </c:pt>
                <c:pt idx="244">
                  <c:v>44440</c:v>
                </c:pt>
                <c:pt idx="245">
                  <c:v>44441</c:v>
                </c:pt>
                <c:pt idx="246">
                  <c:v>44442</c:v>
                </c:pt>
                <c:pt idx="247">
                  <c:v>44443</c:v>
                </c:pt>
                <c:pt idx="248">
                  <c:v>44444</c:v>
                </c:pt>
                <c:pt idx="249">
                  <c:v>44445</c:v>
                </c:pt>
                <c:pt idx="250">
                  <c:v>44446</c:v>
                </c:pt>
                <c:pt idx="251">
                  <c:v>44447</c:v>
                </c:pt>
                <c:pt idx="252">
                  <c:v>44448</c:v>
                </c:pt>
                <c:pt idx="253">
                  <c:v>44449</c:v>
                </c:pt>
                <c:pt idx="254">
                  <c:v>44450</c:v>
                </c:pt>
                <c:pt idx="255">
                  <c:v>44451</c:v>
                </c:pt>
                <c:pt idx="256">
                  <c:v>44452</c:v>
                </c:pt>
                <c:pt idx="257">
                  <c:v>44453</c:v>
                </c:pt>
                <c:pt idx="258">
                  <c:v>44454</c:v>
                </c:pt>
                <c:pt idx="259">
                  <c:v>44455</c:v>
                </c:pt>
                <c:pt idx="260">
                  <c:v>44456</c:v>
                </c:pt>
                <c:pt idx="261">
                  <c:v>44457</c:v>
                </c:pt>
                <c:pt idx="262">
                  <c:v>44458</c:v>
                </c:pt>
                <c:pt idx="263">
                  <c:v>44459</c:v>
                </c:pt>
                <c:pt idx="264">
                  <c:v>44460</c:v>
                </c:pt>
                <c:pt idx="265">
                  <c:v>44461</c:v>
                </c:pt>
                <c:pt idx="266">
                  <c:v>44462</c:v>
                </c:pt>
                <c:pt idx="267">
                  <c:v>44463</c:v>
                </c:pt>
                <c:pt idx="268">
                  <c:v>44464</c:v>
                </c:pt>
                <c:pt idx="269">
                  <c:v>44465</c:v>
                </c:pt>
                <c:pt idx="270">
                  <c:v>44466</c:v>
                </c:pt>
                <c:pt idx="271">
                  <c:v>44467</c:v>
                </c:pt>
                <c:pt idx="272">
                  <c:v>44468</c:v>
                </c:pt>
                <c:pt idx="273">
                  <c:v>44469</c:v>
                </c:pt>
                <c:pt idx="274">
                  <c:v>44470</c:v>
                </c:pt>
                <c:pt idx="275">
                  <c:v>44471</c:v>
                </c:pt>
                <c:pt idx="276">
                  <c:v>44472</c:v>
                </c:pt>
                <c:pt idx="277">
                  <c:v>44473</c:v>
                </c:pt>
                <c:pt idx="278">
                  <c:v>44474</c:v>
                </c:pt>
                <c:pt idx="279">
                  <c:v>44475</c:v>
                </c:pt>
                <c:pt idx="280">
                  <c:v>44476</c:v>
                </c:pt>
                <c:pt idx="281">
                  <c:v>44477</c:v>
                </c:pt>
                <c:pt idx="282">
                  <c:v>44478</c:v>
                </c:pt>
                <c:pt idx="283">
                  <c:v>44479</c:v>
                </c:pt>
                <c:pt idx="284">
                  <c:v>44480</c:v>
                </c:pt>
                <c:pt idx="285">
                  <c:v>44481</c:v>
                </c:pt>
                <c:pt idx="286">
                  <c:v>44482</c:v>
                </c:pt>
                <c:pt idx="287">
                  <c:v>44483</c:v>
                </c:pt>
                <c:pt idx="288">
                  <c:v>44484</c:v>
                </c:pt>
                <c:pt idx="289">
                  <c:v>44485</c:v>
                </c:pt>
                <c:pt idx="290">
                  <c:v>44486</c:v>
                </c:pt>
                <c:pt idx="291">
                  <c:v>44487</c:v>
                </c:pt>
                <c:pt idx="292">
                  <c:v>44488</c:v>
                </c:pt>
                <c:pt idx="293">
                  <c:v>44489</c:v>
                </c:pt>
                <c:pt idx="294">
                  <c:v>44490</c:v>
                </c:pt>
                <c:pt idx="295">
                  <c:v>44491</c:v>
                </c:pt>
                <c:pt idx="296">
                  <c:v>44492</c:v>
                </c:pt>
                <c:pt idx="297">
                  <c:v>44493</c:v>
                </c:pt>
                <c:pt idx="298">
                  <c:v>44494</c:v>
                </c:pt>
                <c:pt idx="299">
                  <c:v>44495</c:v>
                </c:pt>
                <c:pt idx="300">
                  <c:v>44496</c:v>
                </c:pt>
                <c:pt idx="301">
                  <c:v>44497</c:v>
                </c:pt>
                <c:pt idx="302">
                  <c:v>44498</c:v>
                </c:pt>
                <c:pt idx="303">
                  <c:v>44499</c:v>
                </c:pt>
                <c:pt idx="304">
                  <c:v>44500</c:v>
                </c:pt>
                <c:pt idx="305">
                  <c:v>44501</c:v>
                </c:pt>
                <c:pt idx="306">
                  <c:v>44502</c:v>
                </c:pt>
                <c:pt idx="307">
                  <c:v>44503</c:v>
                </c:pt>
                <c:pt idx="308">
                  <c:v>44504</c:v>
                </c:pt>
                <c:pt idx="309">
                  <c:v>44505</c:v>
                </c:pt>
                <c:pt idx="310">
                  <c:v>44506</c:v>
                </c:pt>
                <c:pt idx="311">
                  <c:v>44507</c:v>
                </c:pt>
                <c:pt idx="312">
                  <c:v>44508</c:v>
                </c:pt>
                <c:pt idx="313">
                  <c:v>44509</c:v>
                </c:pt>
                <c:pt idx="314">
                  <c:v>44510</c:v>
                </c:pt>
                <c:pt idx="315">
                  <c:v>44511</c:v>
                </c:pt>
                <c:pt idx="316">
                  <c:v>44512</c:v>
                </c:pt>
                <c:pt idx="317">
                  <c:v>44513</c:v>
                </c:pt>
                <c:pt idx="318">
                  <c:v>44514</c:v>
                </c:pt>
                <c:pt idx="319">
                  <c:v>44515</c:v>
                </c:pt>
                <c:pt idx="320">
                  <c:v>44516</c:v>
                </c:pt>
                <c:pt idx="321">
                  <c:v>44517</c:v>
                </c:pt>
                <c:pt idx="322">
                  <c:v>44518</c:v>
                </c:pt>
                <c:pt idx="323">
                  <c:v>44519</c:v>
                </c:pt>
                <c:pt idx="324">
                  <c:v>44520</c:v>
                </c:pt>
                <c:pt idx="325">
                  <c:v>44521</c:v>
                </c:pt>
                <c:pt idx="326">
                  <c:v>44522</c:v>
                </c:pt>
                <c:pt idx="327">
                  <c:v>44523</c:v>
                </c:pt>
                <c:pt idx="328">
                  <c:v>44524</c:v>
                </c:pt>
                <c:pt idx="329">
                  <c:v>44525</c:v>
                </c:pt>
                <c:pt idx="330">
                  <c:v>44526</c:v>
                </c:pt>
                <c:pt idx="331">
                  <c:v>44527</c:v>
                </c:pt>
                <c:pt idx="332">
                  <c:v>44528</c:v>
                </c:pt>
                <c:pt idx="333">
                  <c:v>44529</c:v>
                </c:pt>
                <c:pt idx="334">
                  <c:v>44530</c:v>
                </c:pt>
                <c:pt idx="335">
                  <c:v>44531</c:v>
                </c:pt>
                <c:pt idx="336">
                  <c:v>44532</c:v>
                </c:pt>
                <c:pt idx="337">
                  <c:v>44533</c:v>
                </c:pt>
                <c:pt idx="338">
                  <c:v>44534</c:v>
                </c:pt>
                <c:pt idx="339">
                  <c:v>44535</c:v>
                </c:pt>
                <c:pt idx="340">
                  <c:v>44536</c:v>
                </c:pt>
                <c:pt idx="341">
                  <c:v>44537</c:v>
                </c:pt>
                <c:pt idx="342">
                  <c:v>44538</c:v>
                </c:pt>
                <c:pt idx="343">
                  <c:v>44539</c:v>
                </c:pt>
                <c:pt idx="344">
                  <c:v>44540</c:v>
                </c:pt>
                <c:pt idx="345">
                  <c:v>44541</c:v>
                </c:pt>
                <c:pt idx="346">
                  <c:v>44542</c:v>
                </c:pt>
                <c:pt idx="347">
                  <c:v>44543</c:v>
                </c:pt>
                <c:pt idx="348">
                  <c:v>44544</c:v>
                </c:pt>
                <c:pt idx="349">
                  <c:v>44545</c:v>
                </c:pt>
                <c:pt idx="350">
                  <c:v>44546</c:v>
                </c:pt>
                <c:pt idx="351">
                  <c:v>44547</c:v>
                </c:pt>
                <c:pt idx="352">
                  <c:v>44548</c:v>
                </c:pt>
                <c:pt idx="353">
                  <c:v>44549</c:v>
                </c:pt>
                <c:pt idx="354">
                  <c:v>44550</c:v>
                </c:pt>
                <c:pt idx="355">
                  <c:v>44551</c:v>
                </c:pt>
                <c:pt idx="356">
                  <c:v>44552</c:v>
                </c:pt>
                <c:pt idx="357">
                  <c:v>44553</c:v>
                </c:pt>
                <c:pt idx="358">
                  <c:v>44554</c:v>
                </c:pt>
                <c:pt idx="359">
                  <c:v>44555</c:v>
                </c:pt>
                <c:pt idx="360">
                  <c:v>44556</c:v>
                </c:pt>
                <c:pt idx="361">
                  <c:v>44557</c:v>
                </c:pt>
                <c:pt idx="362">
                  <c:v>44558</c:v>
                </c:pt>
                <c:pt idx="363">
                  <c:v>44559</c:v>
                </c:pt>
                <c:pt idx="364">
                  <c:v>44560</c:v>
                </c:pt>
                <c:pt idx="365">
                  <c:v>44561</c:v>
                </c:pt>
                <c:pt idx="366">
                  <c:v>44562</c:v>
                </c:pt>
                <c:pt idx="367">
                  <c:v>44563</c:v>
                </c:pt>
                <c:pt idx="368">
                  <c:v>44564</c:v>
                </c:pt>
                <c:pt idx="369">
                  <c:v>44565</c:v>
                </c:pt>
                <c:pt idx="370">
                  <c:v>44566</c:v>
                </c:pt>
                <c:pt idx="371">
                  <c:v>44567</c:v>
                </c:pt>
                <c:pt idx="372">
                  <c:v>44568</c:v>
                </c:pt>
                <c:pt idx="373">
                  <c:v>44569</c:v>
                </c:pt>
                <c:pt idx="374">
                  <c:v>44570</c:v>
                </c:pt>
                <c:pt idx="375">
                  <c:v>44571</c:v>
                </c:pt>
                <c:pt idx="376">
                  <c:v>44572</c:v>
                </c:pt>
                <c:pt idx="377">
                  <c:v>44573</c:v>
                </c:pt>
                <c:pt idx="378">
                  <c:v>44574</c:v>
                </c:pt>
                <c:pt idx="379">
                  <c:v>44575</c:v>
                </c:pt>
                <c:pt idx="380">
                  <c:v>44576</c:v>
                </c:pt>
                <c:pt idx="381">
                  <c:v>44577</c:v>
                </c:pt>
                <c:pt idx="382">
                  <c:v>44578</c:v>
                </c:pt>
                <c:pt idx="383">
                  <c:v>44579</c:v>
                </c:pt>
                <c:pt idx="384">
                  <c:v>44580</c:v>
                </c:pt>
                <c:pt idx="385">
                  <c:v>44581</c:v>
                </c:pt>
                <c:pt idx="386">
                  <c:v>44582</c:v>
                </c:pt>
                <c:pt idx="387">
                  <c:v>44583</c:v>
                </c:pt>
                <c:pt idx="388">
                  <c:v>44584</c:v>
                </c:pt>
                <c:pt idx="389">
                  <c:v>44585</c:v>
                </c:pt>
                <c:pt idx="390">
                  <c:v>44586</c:v>
                </c:pt>
                <c:pt idx="391">
                  <c:v>44587</c:v>
                </c:pt>
                <c:pt idx="392">
                  <c:v>44588</c:v>
                </c:pt>
                <c:pt idx="393">
                  <c:v>44589</c:v>
                </c:pt>
                <c:pt idx="394">
                  <c:v>44590</c:v>
                </c:pt>
                <c:pt idx="395">
                  <c:v>44591</c:v>
                </c:pt>
                <c:pt idx="396">
                  <c:v>44592</c:v>
                </c:pt>
                <c:pt idx="397">
                  <c:v>44593</c:v>
                </c:pt>
                <c:pt idx="398">
                  <c:v>44594</c:v>
                </c:pt>
                <c:pt idx="399">
                  <c:v>44595</c:v>
                </c:pt>
                <c:pt idx="400">
                  <c:v>44596</c:v>
                </c:pt>
                <c:pt idx="401">
                  <c:v>44597</c:v>
                </c:pt>
                <c:pt idx="402">
                  <c:v>44598</c:v>
                </c:pt>
                <c:pt idx="403">
                  <c:v>44599</c:v>
                </c:pt>
                <c:pt idx="404">
                  <c:v>44600</c:v>
                </c:pt>
                <c:pt idx="405">
                  <c:v>44601</c:v>
                </c:pt>
                <c:pt idx="406">
                  <c:v>44602</c:v>
                </c:pt>
                <c:pt idx="407">
                  <c:v>44603</c:v>
                </c:pt>
                <c:pt idx="408">
                  <c:v>44604</c:v>
                </c:pt>
                <c:pt idx="409">
                  <c:v>44605</c:v>
                </c:pt>
                <c:pt idx="410">
                  <c:v>44606</c:v>
                </c:pt>
                <c:pt idx="411">
                  <c:v>44607</c:v>
                </c:pt>
                <c:pt idx="412">
                  <c:v>44608</c:v>
                </c:pt>
                <c:pt idx="413">
                  <c:v>44609</c:v>
                </c:pt>
                <c:pt idx="414">
                  <c:v>44610</c:v>
                </c:pt>
                <c:pt idx="415">
                  <c:v>44611</c:v>
                </c:pt>
                <c:pt idx="416">
                  <c:v>44612</c:v>
                </c:pt>
                <c:pt idx="417">
                  <c:v>44613</c:v>
                </c:pt>
                <c:pt idx="418">
                  <c:v>44614</c:v>
                </c:pt>
                <c:pt idx="419">
                  <c:v>44615</c:v>
                </c:pt>
                <c:pt idx="420">
                  <c:v>44616</c:v>
                </c:pt>
                <c:pt idx="421">
                  <c:v>44617</c:v>
                </c:pt>
                <c:pt idx="422">
                  <c:v>44618</c:v>
                </c:pt>
                <c:pt idx="423">
                  <c:v>44619</c:v>
                </c:pt>
                <c:pt idx="424">
                  <c:v>44620</c:v>
                </c:pt>
                <c:pt idx="425">
                  <c:v>44621</c:v>
                </c:pt>
                <c:pt idx="426">
                  <c:v>44622</c:v>
                </c:pt>
                <c:pt idx="427">
                  <c:v>44623</c:v>
                </c:pt>
                <c:pt idx="428">
                  <c:v>44624</c:v>
                </c:pt>
                <c:pt idx="429">
                  <c:v>44625</c:v>
                </c:pt>
                <c:pt idx="430">
                  <c:v>44626</c:v>
                </c:pt>
                <c:pt idx="431">
                  <c:v>44627</c:v>
                </c:pt>
                <c:pt idx="432">
                  <c:v>44628</c:v>
                </c:pt>
                <c:pt idx="433">
                  <c:v>44629</c:v>
                </c:pt>
                <c:pt idx="434">
                  <c:v>44630</c:v>
                </c:pt>
                <c:pt idx="435">
                  <c:v>44631</c:v>
                </c:pt>
                <c:pt idx="436">
                  <c:v>44632</c:v>
                </c:pt>
                <c:pt idx="437">
                  <c:v>44633</c:v>
                </c:pt>
                <c:pt idx="438">
                  <c:v>44634</c:v>
                </c:pt>
                <c:pt idx="439">
                  <c:v>44635</c:v>
                </c:pt>
                <c:pt idx="440">
                  <c:v>44636</c:v>
                </c:pt>
                <c:pt idx="441">
                  <c:v>44637</c:v>
                </c:pt>
                <c:pt idx="442">
                  <c:v>44638</c:v>
                </c:pt>
                <c:pt idx="443">
                  <c:v>44639</c:v>
                </c:pt>
                <c:pt idx="444">
                  <c:v>44640</c:v>
                </c:pt>
                <c:pt idx="445">
                  <c:v>44641</c:v>
                </c:pt>
                <c:pt idx="446">
                  <c:v>44642</c:v>
                </c:pt>
                <c:pt idx="447">
                  <c:v>44643</c:v>
                </c:pt>
                <c:pt idx="448">
                  <c:v>44644</c:v>
                </c:pt>
                <c:pt idx="449">
                  <c:v>44645</c:v>
                </c:pt>
                <c:pt idx="450">
                  <c:v>44646</c:v>
                </c:pt>
                <c:pt idx="451">
                  <c:v>44647</c:v>
                </c:pt>
                <c:pt idx="452">
                  <c:v>44648</c:v>
                </c:pt>
                <c:pt idx="453">
                  <c:v>44649</c:v>
                </c:pt>
                <c:pt idx="454">
                  <c:v>44650</c:v>
                </c:pt>
                <c:pt idx="455">
                  <c:v>44651</c:v>
                </c:pt>
                <c:pt idx="456">
                  <c:v>44652</c:v>
                </c:pt>
                <c:pt idx="457">
                  <c:v>44653</c:v>
                </c:pt>
                <c:pt idx="458">
                  <c:v>44654</c:v>
                </c:pt>
                <c:pt idx="459">
                  <c:v>44655</c:v>
                </c:pt>
                <c:pt idx="460">
                  <c:v>44656</c:v>
                </c:pt>
                <c:pt idx="461">
                  <c:v>44657</c:v>
                </c:pt>
                <c:pt idx="462">
                  <c:v>44658</c:v>
                </c:pt>
                <c:pt idx="463">
                  <c:v>44659</c:v>
                </c:pt>
                <c:pt idx="464">
                  <c:v>44660</c:v>
                </c:pt>
                <c:pt idx="465">
                  <c:v>44661</c:v>
                </c:pt>
                <c:pt idx="466">
                  <c:v>44662</c:v>
                </c:pt>
                <c:pt idx="467">
                  <c:v>44663</c:v>
                </c:pt>
                <c:pt idx="468">
                  <c:v>44664</c:v>
                </c:pt>
                <c:pt idx="469">
                  <c:v>44665</c:v>
                </c:pt>
                <c:pt idx="470">
                  <c:v>44666</c:v>
                </c:pt>
                <c:pt idx="471">
                  <c:v>44667</c:v>
                </c:pt>
                <c:pt idx="472">
                  <c:v>44668</c:v>
                </c:pt>
                <c:pt idx="473">
                  <c:v>44669</c:v>
                </c:pt>
                <c:pt idx="474">
                  <c:v>44670</c:v>
                </c:pt>
                <c:pt idx="475">
                  <c:v>44671</c:v>
                </c:pt>
                <c:pt idx="476">
                  <c:v>44672</c:v>
                </c:pt>
                <c:pt idx="477">
                  <c:v>44673</c:v>
                </c:pt>
                <c:pt idx="478">
                  <c:v>44674</c:v>
                </c:pt>
                <c:pt idx="479">
                  <c:v>44675</c:v>
                </c:pt>
                <c:pt idx="480">
                  <c:v>44676</c:v>
                </c:pt>
                <c:pt idx="481">
                  <c:v>44677</c:v>
                </c:pt>
                <c:pt idx="482">
                  <c:v>44678</c:v>
                </c:pt>
                <c:pt idx="483">
                  <c:v>44679</c:v>
                </c:pt>
                <c:pt idx="484">
                  <c:v>44680</c:v>
                </c:pt>
                <c:pt idx="485">
                  <c:v>44681</c:v>
                </c:pt>
                <c:pt idx="486">
                  <c:v>44682</c:v>
                </c:pt>
                <c:pt idx="487">
                  <c:v>44683</c:v>
                </c:pt>
                <c:pt idx="488">
                  <c:v>44684</c:v>
                </c:pt>
                <c:pt idx="489">
                  <c:v>44685</c:v>
                </c:pt>
                <c:pt idx="490">
                  <c:v>44686</c:v>
                </c:pt>
                <c:pt idx="491">
                  <c:v>44687</c:v>
                </c:pt>
                <c:pt idx="492">
                  <c:v>44688</c:v>
                </c:pt>
                <c:pt idx="493">
                  <c:v>44689</c:v>
                </c:pt>
                <c:pt idx="494">
                  <c:v>44690</c:v>
                </c:pt>
                <c:pt idx="495">
                  <c:v>44691</c:v>
                </c:pt>
                <c:pt idx="496">
                  <c:v>44692</c:v>
                </c:pt>
                <c:pt idx="497">
                  <c:v>44693</c:v>
                </c:pt>
                <c:pt idx="498">
                  <c:v>44694</c:v>
                </c:pt>
                <c:pt idx="499">
                  <c:v>44695</c:v>
                </c:pt>
                <c:pt idx="500">
                  <c:v>44696</c:v>
                </c:pt>
                <c:pt idx="501">
                  <c:v>44697</c:v>
                </c:pt>
                <c:pt idx="502">
                  <c:v>44698</c:v>
                </c:pt>
                <c:pt idx="503">
                  <c:v>44699</c:v>
                </c:pt>
                <c:pt idx="504">
                  <c:v>44700</c:v>
                </c:pt>
                <c:pt idx="505">
                  <c:v>44701</c:v>
                </c:pt>
                <c:pt idx="506">
                  <c:v>44702</c:v>
                </c:pt>
                <c:pt idx="507">
                  <c:v>44703</c:v>
                </c:pt>
                <c:pt idx="508">
                  <c:v>44704</c:v>
                </c:pt>
                <c:pt idx="509">
                  <c:v>44705</c:v>
                </c:pt>
                <c:pt idx="510">
                  <c:v>44706</c:v>
                </c:pt>
                <c:pt idx="511">
                  <c:v>44707</c:v>
                </c:pt>
                <c:pt idx="512">
                  <c:v>44708</c:v>
                </c:pt>
                <c:pt idx="513">
                  <c:v>44709</c:v>
                </c:pt>
                <c:pt idx="514">
                  <c:v>44710</c:v>
                </c:pt>
                <c:pt idx="515">
                  <c:v>44711</c:v>
                </c:pt>
                <c:pt idx="516">
                  <c:v>44712</c:v>
                </c:pt>
                <c:pt idx="517">
                  <c:v>44713</c:v>
                </c:pt>
                <c:pt idx="518">
                  <c:v>44714</c:v>
                </c:pt>
                <c:pt idx="519">
                  <c:v>44715</c:v>
                </c:pt>
                <c:pt idx="520">
                  <c:v>44716</c:v>
                </c:pt>
                <c:pt idx="521">
                  <c:v>44717</c:v>
                </c:pt>
                <c:pt idx="522">
                  <c:v>44718</c:v>
                </c:pt>
                <c:pt idx="523">
                  <c:v>44719</c:v>
                </c:pt>
                <c:pt idx="524">
                  <c:v>44720</c:v>
                </c:pt>
                <c:pt idx="525">
                  <c:v>44721</c:v>
                </c:pt>
                <c:pt idx="526">
                  <c:v>44722</c:v>
                </c:pt>
                <c:pt idx="527">
                  <c:v>44723</c:v>
                </c:pt>
                <c:pt idx="528">
                  <c:v>44724</c:v>
                </c:pt>
                <c:pt idx="529">
                  <c:v>44725</c:v>
                </c:pt>
                <c:pt idx="530">
                  <c:v>44726</c:v>
                </c:pt>
                <c:pt idx="531">
                  <c:v>44727</c:v>
                </c:pt>
                <c:pt idx="532">
                  <c:v>44728</c:v>
                </c:pt>
                <c:pt idx="533">
                  <c:v>44729</c:v>
                </c:pt>
                <c:pt idx="534">
                  <c:v>44730</c:v>
                </c:pt>
                <c:pt idx="535">
                  <c:v>44731</c:v>
                </c:pt>
                <c:pt idx="536">
                  <c:v>44732</c:v>
                </c:pt>
                <c:pt idx="537">
                  <c:v>44733</c:v>
                </c:pt>
                <c:pt idx="538">
                  <c:v>44734</c:v>
                </c:pt>
                <c:pt idx="539">
                  <c:v>44735</c:v>
                </c:pt>
                <c:pt idx="540">
                  <c:v>44736</c:v>
                </c:pt>
                <c:pt idx="541">
                  <c:v>44737</c:v>
                </c:pt>
                <c:pt idx="542">
                  <c:v>44738</c:v>
                </c:pt>
                <c:pt idx="543">
                  <c:v>44739</c:v>
                </c:pt>
                <c:pt idx="544">
                  <c:v>44740</c:v>
                </c:pt>
                <c:pt idx="545">
                  <c:v>44741</c:v>
                </c:pt>
                <c:pt idx="546">
                  <c:v>44742</c:v>
                </c:pt>
                <c:pt idx="547">
                  <c:v>44743</c:v>
                </c:pt>
                <c:pt idx="548">
                  <c:v>44744</c:v>
                </c:pt>
                <c:pt idx="549">
                  <c:v>44745</c:v>
                </c:pt>
                <c:pt idx="550">
                  <c:v>44746</c:v>
                </c:pt>
                <c:pt idx="551">
                  <c:v>44747</c:v>
                </c:pt>
                <c:pt idx="552">
                  <c:v>44748</c:v>
                </c:pt>
                <c:pt idx="553">
                  <c:v>44749</c:v>
                </c:pt>
                <c:pt idx="554">
                  <c:v>44750</c:v>
                </c:pt>
                <c:pt idx="555">
                  <c:v>44751</c:v>
                </c:pt>
                <c:pt idx="556">
                  <c:v>44752</c:v>
                </c:pt>
                <c:pt idx="557">
                  <c:v>44753</c:v>
                </c:pt>
                <c:pt idx="558">
                  <c:v>44754</c:v>
                </c:pt>
                <c:pt idx="559">
                  <c:v>44755</c:v>
                </c:pt>
                <c:pt idx="560">
                  <c:v>44756</c:v>
                </c:pt>
                <c:pt idx="561">
                  <c:v>44757</c:v>
                </c:pt>
                <c:pt idx="562">
                  <c:v>44758</c:v>
                </c:pt>
                <c:pt idx="563">
                  <c:v>44759</c:v>
                </c:pt>
                <c:pt idx="564">
                  <c:v>44760</c:v>
                </c:pt>
                <c:pt idx="565">
                  <c:v>44761</c:v>
                </c:pt>
                <c:pt idx="566">
                  <c:v>44762</c:v>
                </c:pt>
                <c:pt idx="567">
                  <c:v>44763</c:v>
                </c:pt>
                <c:pt idx="568">
                  <c:v>44764</c:v>
                </c:pt>
                <c:pt idx="569">
                  <c:v>44765</c:v>
                </c:pt>
                <c:pt idx="570">
                  <c:v>44766</c:v>
                </c:pt>
                <c:pt idx="571">
                  <c:v>44767</c:v>
                </c:pt>
                <c:pt idx="572">
                  <c:v>44768</c:v>
                </c:pt>
                <c:pt idx="573">
                  <c:v>44769</c:v>
                </c:pt>
                <c:pt idx="574">
                  <c:v>44770</c:v>
                </c:pt>
                <c:pt idx="575">
                  <c:v>44771</c:v>
                </c:pt>
                <c:pt idx="576">
                  <c:v>44772</c:v>
                </c:pt>
                <c:pt idx="577">
                  <c:v>44773</c:v>
                </c:pt>
                <c:pt idx="578">
                  <c:v>44774</c:v>
                </c:pt>
                <c:pt idx="579">
                  <c:v>44775</c:v>
                </c:pt>
                <c:pt idx="580">
                  <c:v>44776</c:v>
                </c:pt>
                <c:pt idx="581">
                  <c:v>44777</c:v>
                </c:pt>
                <c:pt idx="582">
                  <c:v>44778</c:v>
                </c:pt>
                <c:pt idx="583">
                  <c:v>44779</c:v>
                </c:pt>
                <c:pt idx="584">
                  <c:v>44780</c:v>
                </c:pt>
                <c:pt idx="585">
                  <c:v>44781</c:v>
                </c:pt>
                <c:pt idx="586">
                  <c:v>44782</c:v>
                </c:pt>
                <c:pt idx="587">
                  <c:v>44783</c:v>
                </c:pt>
                <c:pt idx="588">
                  <c:v>44784</c:v>
                </c:pt>
                <c:pt idx="589">
                  <c:v>44785</c:v>
                </c:pt>
                <c:pt idx="590">
                  <c:v>44786</c:v>
                </c:pt>
                <c:pt idx="591">
                  <c:v>44787</c:v>
                </c:pt>
                <c:pt idx="592">
                  <c:v>44788</c:v>
                </c:pt>
                <c:pt idx="593">
                  <c:v>44789</c:v>
                </c:pt>
                <c:pt idx="594">
                  <c:v>44790</c:v>
                </c:pt>
                <c:pt idx="595">
                  <c:v>44791</c:v>
                </c:pt>
                <c:pt idx="596">
                  <c:v>44792</c:v>
                </c:pt>
                <c:pt idx="597">
                  <c:v>44793</c:v>
                </c:pt>
                <c:pt idx="598">
                  <c:v>44794</c:v>
                </c:pt>
                <c:pt idx="599">
                  <c:v>44795</c:v>
                </c:pt>
                <c:pt idx="600">
                  <c:v>44796</c:v>
                </c:pt>
                <c:pt idx="601">
                  <c:v>44797</c:v>
                </c:pt>
                <c:pt idx="602">
                  <c:v>44798</c:v>
                </c:pt>
                <c:pt idx="603">
                  <c:v>44799</c:v>
                </c:pt>
                <c:pt idx="604">
                  <c:v>44800</c:v>
                </c:pt>
                <c:pt idx="605">
                  <c:v>44801</c:v>
                </c:pt>
                <c:pt idx="606">
                  <c:v>44802</c:v>
                </c:pt>
                <c:pt idx="607">
                  <c:v>44803</c:v>
                </c:pt>
                <c:pt idx="608">
                  <c:v>44804</c:v>
                </c:pt>
                <c:pt idx="609">
                  <c:v>44805</c:v>
                </c:pt>
                <c:pt idx="610">
                  <c:v>44806</c:v>
                </c:pt>
                <c:pt idx="611">
                  <c:v>44807</c:v>
                </c:pt>
                <c:pt idx="612">
                  <c:v>44808</c:v>
                </c:pt>
                <c:pt idx="613">
                  <c:v>44809</c:v>
                </c:pt>
                <c:pt idx="614">
                  <c:v>44810</c:v>
                </c:pt>
                <c:pt idx="615">
                  <c:v>44811</c:v>
                </c:pt>
                <c:pt idx="616">
                  <c:v>44812</c:v>
                </c:pt>
                <c:pt idx="617">
                  <c:v>44813</c:v>
                </c:pt>
                <c:pt idx="618">
                  <c:v>44814</c:v>
                </c:pt>
                <c:pt idx="619">
                  <c:v>44815</c:v>
                </c:pt>
                <c:pt idx="620">
                  <c:v>44816</c:v>
                </c:pt>
                <c:pt idx="621">
                  <c:v>44817</c:v>
                </c:pt>
                <c:pt idx="622">
                  <c:v>44818</c:v>
                </c:pt>
                <c:pt idx="623">
                  <c:v>44819</c:v>
                </c:pt>
                <c:pt idx="624">
                  <c:v>44820</c:v>
                </c:pt>
                <c:pt idx="625">
                  <c:v>44821</c:v>
                </c:pt>
                <c:pt idx="626">
                  <c:v>44822</c:v>
                </c:pt>
                <c:pt idx="627">
                  <c:v>44823</c:v>
                </c:pt>
                <c:pt idx="628">
                  <c:v>44824</c:v>
                </c:pt>
                <c:pt idx="629">
                  <c:v>44825</c:v>
                </c:pt>
                <c:pt idx="630">
                  <c:v>44826</c:v>
                </c:pt>
                <c:pt idx="631">
                  <c:v>44827</c:v>
                </c:pt>
                <c:pt idx="632">
                  <c:v>44828</c:v>
                </c:pt>
                <c:pt idx="633">
                  <c:v>44829</c:v>
                </c:pt>
                <c:pt idx="634">
                  <c:v>44830</c:v>
                </c:pt>
                <c:pt idx="635">
                  <c:v>44831</c:v>
                </c:pt>
                <c:pt idx="636">
                  <c:v>44832</c:v>
                </c:pt>
                <c:pt idx="637">
                  <c:v>44833</c:v>
                </c:pt>
                <c:pt idx="638">
                  <c:v>44834</c:v>
                </c:pt>
                <c:pt idx="639">
                  <c:v>44835</c:v>
                </c:pt>
                <c:pt idx="640">
                  <c:v>44836</c:v>
                </c:pt>
                <c:pt idx="641">
                  <c:v>44837</c:v>
                </c:pt>
                <c:pt idx="642">
                  <c:v>44838</c:v>
                </c:pt>
                <c:pt idx="643">
                  <c:v>44839</c:v>
                </c:pt>
                <c:pt idx="644">
                  <c:v>44840</c:v>
                </c:pt>
                <c:pt idx="645">
                  <c:v>44841</c:v>
                </c:pt>
                <c:pt idx="646">
                  <c:v>44842</c:v>
                </c:pt>
                <c:pt idx="647">
                  <c:v>44843</c:v>
                </c:pt>
                <c:pt idx="648">
                  <c:v>44844</c:v>
                </c:pt>
                <c:pt idx="649">
                  <c:v>44845</c:v>
                </c:pt>
                <c:pt idx="650">
                  <c:v>44846</c:v>
                </c:pt>
                <c:pt idx="651">
                  <c:v>44847</c:v>
                </c:pt>
                <c:pt idx="652">
                  <c:v>44848</c:v>
                </c:pt>
                <c:pt idx="653">
                  <c:v>44849</c:v>
                </c:pt>
                <c:pt idx="654">
                  <c:v>44850</c:v>
                </c:pt>
                <c:pt idx="655">
                  <c:v>44851</c:v>
                </c:pt>
                <c:pt idx="656">
                  <c:v>44852</c:v>
                </c:pt>
                <c:pt idx="657">
                  <c:v>44853</c:v>
                </c:pt>
                <c:pt idx="658">
                  <c:v>44854</c:v>
                </c:pt>
                <c:pt idx="659">
                  <c:v>44855</c:v>
                </c:pt>
                <c:pt idx="660">
                  <c:v>44856</c:v>
                </c:pt>
                <c:pt idx="661">
                  <c:v>44857</c:v>
                </c:pt>
                <c:pt idx="662">
                  <c:v>44858</c:v>
                </c:pt>
                <c:pt idx="663">
                  <c:v>44859</c:v>
                </c:pt>
                <c:pt idx="664">
                  <c:v>44860</c:v>
                </c:pt>
                <c:pt idx="665">
                  <c:v>44861</c:v>
                </c:pt>
                <c:pt idx="666">
                  <c:v>44862</c:v>
                </c:pt>
                <c:pt idx="667">
                  <c:v>44863</c:v>
                </c:pt>
                <c:pt idx="668">
                  <c:v>44864</c:v>
                </c:pt>
                <c:pt idx="669">
                  <c:v>44865</c:v>
                </c:pt>
                <c:pt idx="670">
                  <c:v>44866</c:v>
                </c:pt>
                <c:pt idx="671">
                  <c:v>44867</c:v>
                </c:pt>
                <c:pt idx="672">
                  <c:v>44868</c:v>
                </c:pt>
                <c:pt idx="673">
                  <c:v>44869</c:v>
                </c:pt>
                <c:pt idx="674">
                  <c:v>44870</c:v>
                </c:pt>
                <c:pt idx="675">
                  <c:v>44871</c:v>
                </c:pt>
                <c:pt idx="676">
                  <c:v>44872</c:v>
                </c:pt>
                <c:pt idx="677">
                  <c:v>44873</c:v>
                </c:pt>
                <c:pt idx="678">
                  <c:v>44874</c:v>
                </c:pt>
                <c:pt idx="679">
                  <c:v>44875</c:v>
                </c:pt>
                <c:pt idx="680">
                  <c:v>44876</c:v>
                </c:pt>
                <c:pt idx="681">
                  <c:v>44877</c:v>
                </c:pt>
                <c:pt idx="682">
                  <c:v>44878</c:v>
                </c:pt>
                <c:pt idx="683">
                  <c:v>44879</c:v>
                </c:pt>
                <c:pt idx="684">
                  <c:v>44880</c:v>
                </c:pt>
                <c:pt idx="685">
                  <c:v>44881</c:v>
                </c:pt>
                <c:pt idx="686">
                  <c:v>44882</c:v>
                </c:pt>
                <c:pt idx="687">
                  <c:v>44883</c:v>
                </c:pt>
                <c:pt idx="688">
                  <c:v>44884</c:v>
                </c:pt>
                <c:pt idx="689">
                  <c:v>44885</c:v>
                </c:pt>
                <c:pt idx="690">
                  <c:v>44886</c:v>
                </c:pt>
                <c:pt idx="691">
                  <c:v>44887</c:v>
                </c:pt>
                <c:pt idx="692">
                  <c:v>44888</c:v>
                </c:pt>
                <c:pt idx="693">
                  <c:v>44889</c:v>
                </c:pt>
                <c:pt idx="694">
                  <c:v>44890</c:v>
                </c:pt>
                <c:pt idx="695">
                  <c:v>44891</c:v>
                </c:pt>
                <c:pt idx="696">
                  <c:v>44892</c:v>
                </c:pt>
                <c:pt idx="697">
                  <c:v>44893</c:v>
                </c:pt>
                <c:pt idx="698">
                  <c:v>44894</c:v>
                </c:pt>
                <c:pt idx="699">
                  <c:v>44895</c:v>
                </c:pt>
                <c:pt idx="700">
                  <c:v>44896</c:v>
                </c:pt>
                <c:pt idx="701">
                  <c:v>44897</c:v>
                </c:pt>
                <c:pt idx="702">
                  <c:v>44898</c:v>
                </c:pt>
                <c:pt idx="703">
                  <c:v>44899</c:v>
                </c:pt>
                <c:pt idx="704">
                  <c:v>44900</c:v>
                </c:pt>
                <c:pt idx="705">
                  <c:v>44901</c:v>
                </c:pt>
                <c:pt idx="706">
                  <c:v>44902</c:v>
                </c:pt>
                <c:pt idx="707">
                  <c:v>44903</c:v>
                </c:pt>
                <c:pt idx="708">
                  <c:v>44904</c:v>
                </c:pt>
                <c:pt idx="709">
                  <c:v>44905</c:v>
                </c:pt>
                <c:pt idx="710">
                  <c:v>44906</c:v>
                </c:pt>
                <c:pt idx="711">
                  <c:v>44907</c:v>
                </c:pt>
                <c:pt idx="712">
                  <c:v>44908</c:v>
                </c:pt>
                <c:pt idx="713">
                  <c:v>44909</c:v>
                </c:pt>
                <c:pt idx="714">
                  <c:v>44910</c:v>
                </c:pt>
                <c:pt idx="715">
                  <c:v>44911</c:v>
                </c:pt>
                <c:pt idx="716">
                  <c:v>44912</c:v>
                </c:pt>
                <c:pt idx="717">
                  <c:v>44913</c:v>
                </c:pt>
                <c:pt idx="718">
                  <c:v>44914</c:v>
                </c:pt>
                <c:pt idx="719">
                  <c:v>44915</c:v>
                </c:pt>
                <c:pt idx="720">
                  <c:v>44916</c:v>
                </c:pt>
                <c:pt idx="721">
                  <c:v>44917</c:v>
                </c:pt>
                <c:pt idx="722">
                  <c:v>44918</c:v>
                </c:pt>
                <c:pt idx="723">
                  <c:v>44919</c:v>
                </c:pt>
                <c:pt idx="724">
                  <c:v>44920</c:v>
                </c:pt>
                <c:pt idx="725">
                  <c:v>44921</c:v>
                </c:pt>
                <c:pt idx="726">
                  <c:v>44922</c:v>
                </c:pt>
                <c:pt idx="727">
                  <c:v>44923</c:v>
                </c:pt>
                <c:pt idx="728">
                  <c:v>44924</c:v>
                </c:pt>
                <c:pt idx="729">
                  <c:v>44925</c:v>
                </c:pt>
                <c:pt idx="730">
                  <c:v>44926</c:v>
                </c:pt>
                <c:pt idx="731">
                  <c:v>44927</c:v>
                </c:pt>
                <c:pt idx="732">
                  <c:v>44928</c:v>
                </c:pt>
                <c:pt idx="733">
                  <c:v>44929</c:v>
                </c:pt>
                <c:pt idx="734">
                  <c:v>44930</c:v>
                </c:pt>
                <c:pt idx="735">
                  <c:v>44931</c:v>
                </c:pt>
                <c:pt idx="736">
                  <c:v>44932</c:v>
                </c:pt>
                <c:pt idx="737">
                  <c:v>44933</c:v>
                </c:pt>
                <c:pt idx="738">
                  <c:v>44934</c:v>
                </c:pt>
                <c:pt idx="739">
                  <c:v>44935</c:v>
                </c:pt>
                <c:pt idx="740">
                  <c:v>44936</c:v>
                </c:pt>
                <c:pt idx="741">
                  <c:v>44937</c:v>
                </c:pt>
                <c:pt idx="742">
                  <c:v>44938</c:v>
                </c:pt>
                <c:pt idx="743">
                  <c:v>44939</c:v>
                </c:pt>
                <c:pt idx="744">
                  <c:v>44940</c:v>
                </c:pt>
                <c:pt idx="745">
                  <c:v>44941</c:v>
                </c:pt>
                <c:pt idx="746">
                  <c:v>44942</c:v>
                </c:pt>
                <c:pt idx="747">
                  <c:v>44943</c:v>
                </c:pt>
                <c:pt idx="748">
                  <c:v>44944</c:v>
                </c:pt>
                <c:pt idx="749">
                  <c:v>44945</c:v>
                </c:pt>
                <c:pt idx="750">
                  <c:v>44946</c:v>
                </c:pt>
                <c:pt idx="751">
                  <c:v>44947</c:v>
                </c:pt>
                <c:pt idx="752">
                  <c:v>44948</c:v>
                </c:pt>
                <c:pt idx="753">
                  <c:v>44949</c:v>
                </c:pt>
                <c:pt idx="754">
                  <c:v>44950</c:v>
                </c:pt>
                <c:pt idx="755">
                  <c:v>44951</c:v>
                </c:pt>
                <c:pt idx="756">
                  <c:v>44952</c:v>
                </c:pt>
                <c:pt idx="757">
                  <c:v>44953</c:v>
                </c:pt>
                <c:pt idx="758">
                  <c:v>44954</c:v>
                </c:pt>
                <c:pt idx="759">
                  <c:v>44955</c:v>
                </c:pt>
                <c:pt idx="760">
                  <c:v>44956</c:v>
                </c:pt>
                <c:pt idx="761">
                  <c:v>44957</c:v>
                </c:pt>
                <c:pt idx="762">
                  <c:v>44958</c:v>
                </c:pt>
                <c:pt idx="763">
                  <c:v>44959</c:v>
                </c:pt>
                <c:pt idx="764">
                  <c:v>44960</c:v>
                </c:pt>
                <c:pt idx="765">
                  <c:v>44961</c:v>
                </c:pt>
                <c:pt idx="766">
                  <c:v>44962</c:v>
                </c:pt>
                <c:pt idx="767">
                  <c:v>44963</c:v>
                </c:pt>
                <c:pt idx="768">
                  <c:v>44964</c:v>
                </c:pt>
                <c:pt idx="769">
                  <c:v>44965</c:v>
                </c:pt>
                <c:pt idx="770">
                  <c:v>44966</c:v>
                </c:pt>
                <c:pt idx="771">
                  <c:v>44967</c:v>
                </c:pt>
                <c:pt idx="772">
                  <c:v>44968</c:v>
                </c:pt>
                <c:pt idx="773">
                  <c:v>44969</c:v>
                </c:pt>
                <c:pt idx="774">
                  <c:v>44970</c:v>
                </c:pt>
                <c:pt idx="775">
                  <c:v>44971</c:v>
                </c:pt>
                <c:pt idx="776">
                  <c:v>44972</c:v>
                </c:pt>
                <c:pt idx="777">
                  <c:v>44973</c:v>
                </c:pt>
                <c:pt idx="778">
                  <c:v>44974</c:v>
                </c:pt>
                <c:pt idx="779">
                  <c:v>44975</c:v>
                </c:pt>
                <c:pt idx="780">
                  <c:v>44976</c:v>
                </c:pt>
                <c:pt idx="781">
                  <c:v>44977</c:v>
                </c:pt>
                <c:pt idx="782">
                  <c:v>44978</c:v>
                </c:pt>
                <c:pt idx="783">
                  <c:v>44979</c:v>
                </c:pt>
                <c:pt idx="784">
                  <c:v>44980</c:v>
                </c:pt>
                <c:pt idx="785">
                  <c:v>44981</c:v>
                </c:pt>
                <c:pt idx="786">
                  <c:v>44982</c:v>
                </c:pt>
                <c:pt idx="787">
                  <c:v>44983</c:v>
                </c:pt>
                <c:pt idx="788">
                  <c:v>44984</c:v>
                </c:pt>
                <c:pt idx="789">
                  <c:v>44985</c:v>
                </c:pt>
                <c:pt idx="790">
                  <c:v>44986</c:v>
                </c:pt>
                <c:pt idx="791">
                  <c:v>44987</c:v>
                </c:pt>
                <c:pt idx="792">
                  <c:v>44988</c:v>
                </c:pt>
                <c:pt idx="793">
                  <c:v>44989</c:v>
                </c:pt>
                <c:pt idx="794">
                  <c:v>44990</c:v>
                </c:pt>
                <c:pt idx="795">
                  <c:v>44991</c:v>
                </c:pt>
                <c:pt idx="796">
                  <c:v>44992</c:v>
                </c:pt>
                <c:pt idx="797">
                  <c:v>44993</c:v>
                </c:pt>
                <c:pt idx="798">
                  <c:v>44994</c:v>
                </c:pt>
                <c:pt idx="799">
                  <c:v>44995</c:v>
                </c:pt>
                <c:pt idx="800">
                  <c:v>44996</c:v>
                </c:pt>
                <c:pt idx="801">
                  <c:v>44997</c:v>
                </c:pt>
                <c:pt idx="802">
                  <c:v>44998</c:v>
                </c:pt>
                <c:pt idx="803">
                  <c:v>44999</c:v>
                </c:pt>
                <c:pt idx="804">
                  <c:v>45000</c:v>
                </c:pt>
                <c:pt idx="805">
                  <c:v>45001</c:v>
                </c:pt>
                <c:pt idx="806">
                  <c:v>45002</c:v>
                </c:pt>
                <c:pt idx="807">
                  <c:v>45003</c:v>
                </c:pt>
                <c:pt idx="808">
                  <c:v>45004</c:v>
                </c:pt>
                <c:pt idx="809">
                  <c:v>45005</c:v>
                </c:pt>
                <c:pt idx="810">
                  <c:v>45006</c:v>
                </c:pt>
                <c:pt idx="811">
                  <c:v>45007</c:v>
                </c:pt>
                <c:pt idx="812">
                  <c:v>45008</c:v>
                </c:pt>
                <c:pt idx="813">
                  <c:v>45009</c:v>
                </c:pt>
                <c:pt idx="814">
                  <c:v>45010</c:v>
                </c:pt>
                <c:pt idx="815">
                  <c:v>45011</c:v>
                </c:pt>
                <c:pt idx="816">
                  <c:v>45012</c:v>
                </c:pt>
                <c:pt idx="817">
                  <c:v>45013</c:v>
                </c:pt>
                <c:pt idx="818">
                  <c:v>45014</c:v>
                </c:pt>
                <c:pt idx="819">
                  <c:v>45015</c:v>
                </c:pt>
                <c:pt idx="820">
                  <c:v>45016</c:v>
                </c:pt>
                <c:pt idx="821">
                  <c:v>45017</c:v>
                </c:pt>
                <c:pt idx="822">
                  <c:v>45018</c:v>
                </c:pt>
                <c:pt idx="823">
                  <c:v>45019</c:v>
                </c:pt>
                <c:pt idx="824">
                  <c:v>45020</c:v>
                </c:pt>
                <c:pt idx="825">
                  <c:v>45021</c:v>
                </c:pt>
                <c:pt idx="826">
                  <c:v>45022</c:v>
                </c:pt>
                <c:pt idx="827">
                  <c:v>45023</c:v>
                </c:pt>
                <c:pt idx="828">
                  <c:v>45024</c:v>
                </c:pt>
                <c:pt idx="829">
                  <c:v>45025</c:v>
                </c:pt>
                <c:pt idx="830">
                  <c:v>45026</c:v>
                </c:pt>
                <c:pt idx="831">
                  <c:v>45027</c:v>
                </c:pt>
                <c:pt idx="832">
                  <c:v>45028</c:v>
                </c:pt>
                <c:pt idx="833">
                  <c:v>45029</c:v>
                </c:pt>
                <c:pt idx="834">
                  <c:v>45030</c:v>
                </c:pt>
                <c:pt idx="835">
                  <c:v>45031</c:v>
                </c:pt>
                <c:pt idx="836">
                  <c:v>45032</c:v>
                </c:pt>
                <c:pt idx="837">
                  <c:v>45033</c:v>
                </c:pt>
                <c:pt idx="838">
                  <c:v>45034</c:v>
                </c:pt>
                <c:pt idx="839">
                  <c:v>45035</c:v>
                </c:pt>
                <c:pt idx="840">
                  <c:v>45036</c:v>
                </c:pt>
                <c:pt idx="841">
                  <c:v>45037</c:v>
                </c:pt>
                <c:pt idx="842">
                  <c:v>45038</c:v>
                </c:pt>
                <c:pt idx="843">
                  <c:v>45039</c:v>
                </c:pt>
                <c:pt idx="844">
                  <c:v>45040</c:v>
                </c:pt>
                <c:pt idx="845">
                  <c:v>45041</c:v>
                </c:pt>
                <c:pt idx="846">
                  <c:v>45042</c:v>
                </c:pt>
                <c:pt idx="847">
                  <c:v>45043</c:v>
                </c:pt>
                <c:pt idx="848">
                  <c:v>45044</c:v>
                </c:pt>
                <c:pt idx="849">
                  <c:v>45045</c:v>
                </c:pt>
                <c:pt idx="850">
                  <c:v>45046</c:v>
                </c:pt>
                <c:pt idx="851">
                  <c:v>45047</c:v>
                </c:pt>
                <c:pt idx="852">
                  <c:v>45048</c:v>
                </c:pt>
                <c:pt idx="853">
                  <c:v>45049</c:v>
                </c:pt>
                <c:pt idx="854">
                  <c:v>45050</c:v>
                </c:pt>
                <c:pt idx="855">
                  <c:v>45051</c:v>
                </c:pt>
                <c:pt idx="856">
                  <c:v>45052</c:v>
                </c:pt>
                <c:pt idx="857">
                  <c:v>45053</c:v>
                </c:pt>
                <c:pt idx="858">
                  <c:v>45054</c:v>
                </c:pt>
                <c:pt idx="859">
                  <c:v>45055</c:v>
                </c:pt>
                <c:pt idx="860">
                  <c:v>45056</c:v>
                </c:pt>
                <c:pt idx="861">
                  <c:v>45057</c:v>
                </c:pt>
                <c:pt idx="862">
                  <c:v>45058</c:v>
                </c:pt>
                <c:pt idx="863">
                  <c:v>45059</c:v>
                </c:pt>
                <c:pt idx="864">
                  <c:v>45060</c:v>
                </c:pt>
                <c:pt idx="865">
                  <c:v>45061</c:v>
                </c:pt>
                <c:pt idx="866">
                  <c:v>45062</c:v>
                </c:pt>
                <c:pt idx="867">
                  <c:v>45063</c:v>
                </c:pt>
                <c:pt idx="868">
                  <c:v>45064</c:v>
                </c:pt>
                <c:pt idx="869">
                  <c:v>45065</c:v>
                </c:pt>
                <c:pt idx="870">
                  <c:v>45066</c:v>
                </c:pt>
                <c:pt idx="871">
                  <c:v>45067</c:v>
                </c:pt>
                <c:pt idx="872">
                  <c:v>45068</c:v>
                </c:pt>
                <c:pt idx="873">
                  <c:v>45069</c:v>
                </c:pt>
                <c:pt idx="874">
                  <c:v>45070</c:v>
                </c:pt>
                <c:pt idx="875">
                  <c:v>45071</c:v>
                </c:pt>
                <c:pt idx="876">
                  <c:v>45072</c:v>
                </c:pt>
                <c:pt idx="877">
                  <c:v>45073</c:v>
                </c:pt>
                <c:pt idx="878">
                  <c:v>45074</c:v>
                </c:pt>
                <c:pt idx="879">
                  <c:v>45075</c:v>
                </c:pt>
                <c:pt idx="880">
                  <c:v>45076</c:v>
                </c:pt>
                <c:pt idx="881">
                  <c:v>45077</c:v>
                </c:pt>
                <c:pt idx="882">
                  <c:v>45078</c:v>
                </c:pt>
                <c:pt idx="883">
                  <c:v>45079</c:v>
                </c:pt>
                <c:pt idx="884">
                  <c:v>45080</c:v>
                </c:pt>
                <c:pt idx="885">
                  <c:v>45081</c:v>
                </c:pt>
                <c:pt idx="886">
                  <c:v>45082</c:v>
                </c:pt>
                <c:pt idx="887">
                  <c:v>45083</c:v>
                </c:pt>
                <c:pt idx="888">
                  <c:v>45084</c:v>
                </c:pt>
                <c:pt idx="889">
                  <c:v>45085</c:v>
                </c:pt>
                <c:pt idx="890">
                  <c:v>45086</c:v>
                </c:pt>
                <c:pt idx="891">
                  <c:v>45087</c:v>
                </c:pt>
                <c:pt idx="892">
                  <c:v>45088</c:v>
                </c:pt>
                <c:pt idx="893">
                  <c:v>45089</c:v>
                </c:pt>
                <c:pt idx="894">
                  <c:v>45090</c:v>
                </c:pt>
                <c:pt idx="895">
                  <c:v>45091</c:v>
                </c:pt>
                <c:pt idx="896">
                  <c:v>45092</c:v>
                </c:pt>
                <c:pt idx="897">
                  <c:v>45093</c:v>
                </c:pt>
                <c:pt idx="898">
                  <c:v>45094</c:v>
                </c:pt>
                <c:pt idx="899">
                  <c:v>45095</c:v>
                </c:pt>
                <c:pt idx="900">
                  <c:v>45096</c:v>
                </c:pt>
                <c:pt idx="901">
                  <c:v>45097</c:v>
                </c:pt>
                <c:pt idx="902">
                  <c:v>45098</c:v>
                </c:pt>
                <c:pt idx="903">
                  <c:v>45099</c:v>
                </c:pt>
                <c:pt idx="904">
                  <c:v>45100</c:v>
                </c:pt>
                <c:pt idx="905">
                  <c:v>45101</c:v>
                </c:pt>
                <c:pt idx="906">
                  <c:v>45102</c:v>
                </c:pt>
                <c:pt idx="907">
                  <c:v>45103</c:v>
                </c:pt>
                <c:pt idx="908">
                  <c:v>45104</c:v>
                </c:pt>
                <c:pt idx="909">
                  <c:v>45105</c:v>
                </c:pt>
                <c:pt idx="910">
                  <c:v>45106</c:v>
                </c:pt>
                <c:pt idx="911">
                  <c:v>45107</c:v>
                </c:pt>
                <c:pt idx="912">
                  <c:v>45108</c:v>
                </c:pt>
                <c:pt idx="913">
                  <c:v>45109</c:v>
                </c:pt>
                <c:pt idx="914">
                  <c:v>45110</c:v>
                </c:pt>
                <c:pt idx="915">
                  <c:v>45111</c:v>
                </c:pt>
                <c:pt idx="916">
                  <c:v>45112</c:v>
                </c:pt>
                <c:pt idx="917">
                  <c:v>45113</c:v>
                </c:pt>
                <c:pt idx="918">
                  <c:v>45114</c:v>
                </c:pt>
                <c:pt idx="919">
                  <c:v>45115</c:v>
                </c:pt>
                <c:pt idx="920">
                  <c:v>45116</c:v>
                </c:pt>
                <c:pt idx="921">
                  <c:v>45117</c:v>
                </c:pt>
                <c:pt idx="922">
                  <c:v>45118</c:v>
                </c:pt>
                <c:pt idx="923">
                  <c:v>45119</c:v>
                </c:pt>
                <c:pt idx="924">
                  <c:v>45120</c:v>
                </c:pt>
                <c:pt idx="925">
                  <c:v>45121</c:v>
                </c:pt>
                <c:pt idx="926">
                  <c:v>45122</c:v>
                </c:pt>
                <c:pt idx="927">
                  <c:v>45123</c:v>
                </c:pt>
                <c:pt idx="928">
                  <c:v>45124</c:v>
                </c:pt>
                <c:pt idx="929">
                  <c:v>45125</c:v>
                </c:pt>
                <c:pt idx="930">
                  <c:v>45126</c:v>
                </c:pt>
                <c:pt idx="931">
                  <c:v>45127</c:v>
                </c:pt>
                <c:pt idx="932">
                  <c:v>45128</c:v>
                </c:pt>
                <c:pt idx="933">
                  <c:v>45129</c:v>
                </c:pt>
                <c:pt idx="934">
                  <c:v>45130</c:v>
                </c:pt>
                <c:pt idx="935">
                  <c:v>45131</c:v>
                </c:pt>
                <c:pt idx="936">
                  <c:v>45132</c:v>
                </c:pt>
                <c:pt idx="937">
                  <c:v>45133</c:v>
                </c:pt>
                <c:pt idx="938">
                  <c:v>45134</c:v>
                </c:pt>
                <c:pt idx="939">
                  <c:v>45135</c:v>
                </c:pt>
                <c:pt idx="940">
                  <c:v>45136</c:v>
                </c:pt>
                <c:pt idx="941">
                  <c:v>45137</c:v>
                </c:pt>
                <c:pt idx="942">
                  <c:v>45138</c:v>
                </c:pt>
                <c:pt idx="943">
                  <c:v>45139</c:v>
                </c:pt>
                <c:pt idx="944">
                  <c:v>45140</c:v>
                </c:pt>
                <c:pt idx="945">
                  <c:v>45141</c:v>
                </c:pt>
                <c:pt idx="946">
                  <c:v>45142</c:v>
                </c:pt>
                <c:pt idx="947">
                  <c:v>45143</c:v>
                </c:pt>
                <c:pt idx="948">
                  <c:v>45144</c:v>
                </c:pt>
                <c:pt idx="949">
                  <c:v>45145</c:v>
                </c:pt>
                <c:pt idx="950">
                  <c:v>45146</c:v>
                </c:pt>
                <c:pt idx="951">
                  <c:v>45147</c:v>
                </c:pt>
                <c:pt idx="952">
                  <c:v>45148</c:v>
                </c:pt>
                <c:pt idx="953">
                  <c:v>45149</c:v>
                </c:pt>
                <c:pt idx="954">
                  <c:v>45150</c:v>
                </c:pt>
                <c:pt idx="955">
                  <c:v>45151</c:v>
                </c:pt>
                <c:pt idx="956">
                  <c:v>45152</c:v>
                </c:pt>
                <c:pt idx="957">
                  <c:v>45153</c:v>
                </c:pt>
                <c:pt idx="958">
                  <c:v>45154</c:v>
                </c:pt>
                <c:pt idx="959">
                  <c:v>45155</c:v>
                </c:pt>
                <c:pt idx="960">
                  <c:v>45156</c:v>
                </c:pt>
                <c:pt idx="961">
                  <c:v>45157</c:v>
                </c:pt>
                <c:pt idx="962">
                  <c:v>45158</c:v>
                </c:pt>
                <c:pt idx="963">
                  <c:v>45159</c:v>
                </c:pt>
                <c:pt idx="964">
                  <c:v>45160</c:v>
                </c:pt>
                <c:pt idx="965">
                  <c:v>45161</c:v>
                </c:pt>
                <c:pt idx="966">
                  <c:v>45162</c:v>
                </c:pt>
                <c:pt idx="967">
                  <c:v>45163</c:v>
                </c:pt>
                <c:pt idx="968">
                  <c:v>45164</c:v>
                </c:pt>
                <c:pt idx="969">
                  <c:v>45165</c:v>
                </c:pt>
                <c:pt idx="970">
                  <c:v>45166</c:v>
                </c:pt>
                <c:pt idx="971">
                  <c:v>45167</c:v>
                </c:pt>
                <c:pt idx="972">
                  <c:v>45168</c:v>
                </c:pt>
                <c:pt idx="973">
                  <c:v>45169</c:v>
                </c:pt>
                <c:pt idx="974">
                  <c:v>45170</c:v>
                </c:pt>
                <c:pt idx="975">
                  <c:v>45171</c:v>
                </c:pt>
                <c:pt idx="976">
                  <c:v>45172</c:v>
                </c:pt>
                <c:pt idx="977">
                  <c:v>45173</c:v>
                </c:pt>
                <c:pt idx="978">
                  <c:v>45174</c:v>
                </c:pt>
                <c:pt idx="979">
                  <c:v>45175</c:v>
                </c:pt>
                <c:pt idx="980">
                  <c:v>45176</c:v>
                </c:pt>
                <c:pt idx="981">
                  <c:v>45177</c:v>
                </c:pt>
                <c:pt idx="982">
                  <c:v>45178</c:v>
                </c:pt>
                <c:pt idx="983">
                  <c:v>45179</c:v>
                </c:pt>
                <c:pt idx="984">
                  <c:v>45180</c:v>
                </c:pt>
                <c:pt idx="985">
                  <c:v>45181</c:v>
                </c:pt>
                <c:pt idx="986">
                  <c:v>45182</c:v>
                </c:pt>
                <c:pt idx="987">
                  <c:v>45183</c:v>
                </c:pt>
                <c:pt idx="988">
                  <c:v>45184</c:v>
                </c:pt>
                <c:pt idx="989">
                  <c:v>45185</c:v>
                </c:pt>
                <c:pt idx="990">
                  <c:v>45186</c:v>
                </c:pt>
                <c:pt idx="991">
                  <c:v>45187</c:v>
                </c:pt>
                <c:pt idx="992">
                  <c:v>45188</c:v>
                </c:pt>
                <c:pt idx="993">
                  <c:v>45189</c:v>
                </c:pt>
                <c:pt idx="994">
                  <c:v>45190</c:v>
                </c:pt>
                <c:pt idx="995">
                  <c:v>45191</c:v>
                </c:pt>
                <c:pt idx="996">
                  <c:v>45192</c:v>
                </c:pt>
                <c:pt idx="997">
                  <c:v>45193</c:v>
                </c:pt>
                <c:pt idx="998">
                  <c:v>45194</c:v>
                </c:pt>
                <c:pt idx="999">
                  <c:v>45195</c:v>
                </c:pt>
                <c:pt idx="1000">
                  <c:v>45196</c:v>
                </c:pt>
                <c:pt idx="1001">
                  <c:v>45197</c:v>
                </c:pt>
                <c:pt idx="1002">
                  <c:v>45198</c:v>
                </c:pt>
                <c:pt idx="1003">
                  <c:v>45199</c:v>
                </c:pt>
                <c:pt idx="1004">
                  <c:v>45200</c:v>
                </c:pt>
                <c:pt idx="1005">
                  <c:v>45201</c:v>
                </c:pt>
                <c:pt idx="1006">
                  <c:v>45202</c:v>
                </c:pt>
                <c:pt idx="1007">
                  <c:v>45203</c:v>
                </c:pt>
                <c:pt idx="1008">
                  <c:v>45204</c:v>
                </c:pt>
                <c:pt idx="1009">
                  <c:v>45205</c:v>
                </c:pt>
                <c:pt idx="1010">
                  <c:v>45206</c:v>
                </c:pt>
                <c:pt idx="1011">
                  <c:v>45207</c:v>
                </c:pt>
                <c:pt idx="1012">
                  <c:v>45208</c:v>
                </c:pt>
                <c:pt idx="1013">
                  <c:v>45209</c:v>
                </c:pt>
                <c:pt idx="1014">
                  <c:v>45210</c:v>
                </c:pt>
                <c:pt idx="1015">
                  <c:v>45211</c:v>
                </c:pt>
                <c:pt idx="1016">
                  <c:v>45212</c:v>
                </c:pt>
                <c:pt idx="1017">
                  <c:v>45213</c:v>
                </c:pt>
                <c:pt idx="1018">
                  <c:v>45214</c:v>
                </c:pt>
                <c:pt idx="1019">
                  <c:v>45215</c:v>
                </c:pt>
                <c:pt idx="1020">
                  <c:v>45216</c:v>
                </c:pt>
                <c:pt idx="1021">
                  <c:v>45217</c:v>
                </c:pt>
                <c:pt idx="1022">
                  <c:v>45218</c:v>
                </c:pt>
                <c:pt idx="1023">
                  <c:v>45219</c:v>
                </c:pt>
                <c:pt idx="1024">
                  <c:v>45220</c:v>
                </c:pt>
                <c:pt idx="1025">
                  <c:v>45221</c:v>
                </c:pt>
                <c:pt idx="1026">
                  <c:v>45222</c:v>
                </c:pt>
                <c:pt idx="1027">
                  <c:v>45223</c:v>
                </c:pt>
                <c:pt idx="1028">
                  <c:v>45224</c:v>
                </c:pt>
                <c:pt idx="1029">
                  <c:v>45225</c:v>
                </c:pt>
                <c:pt idx="1030">
                  <c:v>45226</c:v>
                </c:pt>
                <c:pt idx="1031">
                  <c:v>45227</c:v>
                </c:pt>
                <c:pt idx="1032">
                  <c:v>45228</c:v>
                </c:pt>
                <c:pt idx="1033">
                  <c:v>45229</c:v>
                </c:pt>
                <c:pt idx="1034">
                  <c:v>45230</c:v>
                </c:pt>
                <c:pt idx="1035">
                  <c:v>45231</c:v>
                </c:pt>
                <c:pt idx="1036">
                  <c:v>45232</c:v>
                </c:pt>
                <c:pt idx="1037">
                  <c:v>45233</c:v>
                </c:pt>
                <c:pt idx="1038">
                  <c:v>45234</c:v>
                </c:pt>
                <c:pt idx="1039">
                  <c:v>45235</c:v>
                </c:pt>
                <c:pt idx="1040">
                  <c:v>45236</c:v>
                </c:pt>
                <c:pt idx="1041">
                  <c:v>45237</c:v>
                </c:pt>
                <c:pt idx="1042">
                  <c:v>45238</c:v>
                </c:pt>
                <c:pt idx="1043">
                  <c:v>45239</c:v>
                </c:pt>
                <c:pt idx="1044">
                  <c:v>45240</c:v>
                </c:pt>
                <c:pt idx="1045">
                  <c:v>45241</c:v>
                </c:pt>
                <c:pt idx="1046">
                  <c:v>45242</c:v>
                </c:pt>
                <c:pt idx="1047">
                  <c:v>45243</c:v>
                </c:pt>
                <c:pt idx="1048">
                  <c:v>45244</c:v>
                </c:pt>
                <c:pt idx="1049">
                  <c:v>45245</c:v>
                </c:pt>
                <c:pt idx="1050">
                  <c:v>45246</c:v>
                </c:pt>
                <c:pt idx="1051">
                  <c:v>45247</c:v>
                </c:pt>
                <c:pt idx="1052">
                  <c:v>45248</c:v>
                </c:pt>
                <c:pt idx="1053">
                  <c:v>45249</c:v>
                </c:pt>
                <c:pt idx="1054">
                  <c:v>45250</c:v>
                </c:pt>
                <c:pt idx="1055">
                  <c:v>45251</c:v>
                </c:pt>
                <c:pt idx="1056">
                  <c:v>45252</c:v>
                </c:pt>
                <c:pt idx="1057">
                  <c:v>45253</c:v>
                </c:pt>
                <c:pt idx="1058">
                  <c:v>45254</c:v>
                </c:pt>
                <c:pt idx="1059">
                  <c:v>45255</c:v>
                </c:pt>
                <c:pt idx="1060">
                  <c:v>45256</c:v>
                </c:pt>
                <c:pt idx="1061">
                  <c:v>45257</c:v>
                </c:pt>
                <c:pt idx="1062">
                  <c:v>45258</c:v>
                </c:pt>
                <c:pt idx="1063">
                  <c:v>45259</c:v>
                </c:pt>
                <c:pt idx="1064">
                  <c:v>45260</c:v>
                </c:pt>
                <c:pt idx="1065">
                  <c:v>45261</c:v>
                </c:pt>
                <c:pt idx="1066">
                  <c:v>45262</c:v>
                </c:pt>
                <c:pt idx="1067">
                  <c:v>45263</c:v>
                </c:pt>
                <c:pt idx="1068">
                  <c:v>45264</c:v>
                </c:pt>
                <c:pt idx="1069">
                  <c:v>45265</c:v>
                </c:pt>
                <c:pt idx="1070">
                  <c:v>45266</c:v>
                </c:pt>
                <c:pt idx="1071">
                  <c:v>45267</c:v>
                </c:pt>
                <c:pt idx="1072">
                  <c:v>45268</c:v>
                </c:pt>
                <c:pt idx="1073">
                  <c:v>45269</c:v>
                </c:pt>
                <c:pt idx="1074">
                  <c:v>45270</c:v>
                </c:pt>
                <c:pt idx="1075">
                  <c:v>45271</c:v>
                </c:pt>
                <c:pt idx="1076">
                  <c:v>45272</c:v>
                </c:pt>
                <c:pt idx="1077">
                  <c:v>45273</c:v>
                </c:pt>
                <c:pt idx="1078">
                  <c:v>45274</c:v>
                </c:pt>
                <c:pt idx="1079">
                  <c:v>45275</c:v>
                </c:pt>
                <c:pt idx="1080">
                  <c:v>45276</c:v>
                </c:pt>
                <c:pt idx="1081">
                  <c:v>45277</c:v>
                </c:pt>
                <c:pt idx="1082">
                  <c:v>45278</c:v>
                </c:pt>
                <c:pt idx="1083">
                  <c:v>45279</c:v>
                </c:pt>
                <c:pt idx="1084">
                  <c:v>45280</c:v>
                </c:pt>
                <c:pt idx="1085">
                  <c:v>45281</c:v>
                </c:pt>
                <c:pt idx="1086">
                  <c:v>45282</c:v>
                </c:pt>
                <c:pt idx="1087">
                  <c:v>45283</c:v>
                </c:pt>
                <c:pt idx="1088">
                  <c:v>45284</c:v>
                </c:pt>
                <c:pt idx="1089">
                  <c:v>45285</c:v>
                </c:pt>
                <c:pt idx="1090">
                  <c:v>45286</c:v>
                </c:pt>
                <c:pt idx="1091">
                  <c:v>45287</c:v>
                </c:pt>
                <c:pt idx="1092">
                  <c:v>45288</c:v>
                </c:pt>
                <c:pt idx="1093">
                  <c:v>45289</c:v>
                </c:pt>
                <c:pt idx="1094">
                  <c:v>45290</c:v>
                </c:pt>
                <c:pt idx="1095">
                  <c:v>45291</c:v>
                </c:pt>
                <c:pt idx="1096">
                  <c:v>45292</c:v>
                </c:pt>
                <c:pt idx="1097">
                  <c:v>45293</c:v>
                </c:pt>
                <c:pt idx="1098">
                  <c:v>45294</c:v>
                </c:pt>
                <c:pt idx="1099">
                  <c:v>45295</c:v>
                </c:pt>
                <c:pt idx="1100">
                  <c:v>45296</c:v>
                </c:pt>
                <c:pt idx="1101">
                  <c:v>45297</c:v>
                </c:pt>
                <c:pt idx="1102">
                  <c:v>45298</c:v>
                </c:pt>
                <c:pt idx="1103">
                  <c:v>45299</c:v>
                </c:pt>
                <c:pt idx="1104">
                  <c:v>45300</c:v>
                </c:pt>
                <c:pt idx="1105">
                  <c:v>45301</c:v>
                </c:pt>
                <c:pt idx="1106">
                  <c:v>45302</c:v>
                </c:pt>
                <c:pt idx="1107">
                  <c:v>45303</c:v>
                </c:pt>
                <c:pt idx="1108">
                  <c:v>45304</c:v>
                </c:pt>
                <c:pt idx="1109">
                  <c:v>45305</c:v>
                </c:pt>
                <c:pt idx="1110">
                  <c:v>45306</c:v>
                </c:pt>
                <c:pt idx="1111">
                  <c:v>45307</c:v>
                </c:pt>
                <c:pt idx="1112">
                  <c:v>45308</c:v>
                </c:pt>
                <c:pt idx="1113">
                  <c:v>45309</c:v>
                </c:pt>
                <c:pt idx="1114">
                  <c:v>45310</c:v>
                </c:pt>
                <c:pt idx="1115">
                  <c:v>45311</c:v>
                </c:pt>
                <c:pt idx="1116">
                  <c:v>45312</c:v>
                </c:pt>
                <c:pt idx="1117">
                  <c:v>45313</c:v>
                </c:pt>
                <c:pt idx="1118">
                  <c:v>45314</c:v>
                </c:pt>
                <c:pt idx="1119">
                  <c:v>45315</c:v>
                </c:pt>
                <c:pt idx="1120">
                  <c:v>45316</c:v>
                </c:pt>
                <c:pt idx="1121">
                  <c:v>45317</c:v>
                </c:pt>
                <c:pt idx="1122">
                  <c:v>45318</c:v>
                </c:pt>
                <c:pt idx="1123">
                  <c:v>45319</c:v>
                </c:pt>
                <c:pt idx="1124">
                  <c:v>45320</c:v>
                </c:pt>
                <c:pt idx="1125">
                  <c:v>45321</c:v>
                </c:pt>
                <c:pt idx="1126">
                  <c:v>45322</c:v>
                </c:pt>
                <c:pt idx="1127">
                  <c:v>45323</c:v>
                </c:pt>
                <c:pt idx="1128">
                  <c:v>45324</c:v>
                </c:pt>
                <c:pt idx="1129">
                  <c:v>45325</c:v>
                </c:pt>
                <c:pt idx="1130">
                  <c:v>45326</c:v>
                </c:pt>
                <c:pt idx="1131">
                  <c:v>45327</c:v>
                </c:pt>
                <c:pt idx="1132">
                  <c:v>45328</c:v>
                </c:pt>
                <c:pt idx="1133">
                  <c:v>45329</c:v>
                </c:pt>
                <c:pt idx="1134">
                  <c:v>45330</c:v>
                </c:pt>
                <c:pt idx="1135">
                  <c:v>45331</c:v>
                </c:pt>
                <c:pt idx="1136">
                  <c:v>45332</c:v>
                </c:pt>
                <c:pt idx="1137">
                  <c:v>45333</c:v>
                </c:pt>
                <c:pt idx="1138">
                  <c:v>45334</c:v>
                </c:pt>
                <c:pt idx="1139">
                  <c:v>45335</c:v>
                </c:pt>
                <c:pt idx="1140">
                  <c:v>45336</c:v>
                </c:pt>
                <c:pt idx="1141">
                  <c:v>45337</c:v>
                </c:pt>
                <c:pt idx="1142">
                  <c:v>45338</c:v>
                </c:pt>
                <c:pt idx="1143">
                  <c:v>45339</c:v>
                </c:pt>
                <c:pt idx="1144">
                  <c:v>45340</c:v>
                </c:pt>
                <c:pt idx="1145">
                  <c:v>45341</c:v>
                </c:pt>
                <c:pt idx="1146">
                  <c:v>45342</c:v>
                </c:pt>
                <c:pt idx="1147">
                  <c:v>45343</c:v>
                </c:pt>
                <c:pt idx="1148">
                  <c:v>45344</c:v>
                </c:pt>
                <c:pt idx="1149">
                  <c:v>45345</c:v>
                </c:pt>
                <c:pt idx="1150">
                  <c:v>45346</c:v>
                </c:pt>
                <c:pt idx="1151">
                  <c:v>45347</c:v>
                </c:pt>
                <c:pt idx="1152">
                  <c:v>45348</c:v>
                </c:pt>
                <c:pt idx="1153">
                  <c:v>45349</c:v>
                </c:pt>
                <c:pt idx="1154">
                  <c:v>45350</c:v>
                </c:pt>
                <c:pt idx="1155">
                  <c:v>45351</c:v>
                </c:pt>
                <c:pt idx="1156">
                  <c:v>45352</c:v>
                </c:pt>
                <c:pt idx="1157">
                  <c:v>45353</c:v>
                </c:pt>
                <c:pt idx="1158">
                  <c:v>45354</c:v>
                </c:pt>
                <c:pt idx="1159">
                  <c:v>45355</c:v>
                </c:pt>
                <c:pt idx="1160">
                  <c:v>45356</c:v>
                </c:pt>
                <c:pt idx="1161">
                  <c:v>45357</c:v>
                </c:pt>
                <c:pt idx="1162">
                  <c:v>45358</c:v>
                </c:pt>
                <c:pt idx="1163">
                  <c:v>45359</c:v>
                </c:pt>
                <c:pt idx="1164">
                  <c:v>45360</c:v>
                </c:pt>
                <c:pt idx="1165">
                  <c:v>45361</c:v>
                </c:pt>
                <c:pt idx="1166">
                  <c:v>45362</c:v>
                </c:pt>
                <c:pt idx="1167">
                  <c:v>45363</c:v>
                </c:pt>
                <c:pt idx="1168">
                  <c:v>45364</c:v>
                </c:pt>
                <c:pt idx="1169">
                  <c:v>45365</c:v>
                </c:pt>
                <c:pt idx="1170">
                  <c:v>45366</c:v>
                </c:pt>
                <c:pt idx="1171">
                  <c:v>45367</c:v>
                </c:pt>
                <c:pt idx="1172">
                  <c:v>45368</c:v>
                </c:pt>
                <c:pt idx="1173">
                  <c:v>45369</c:v>
                </c:pt>
                <c:pt idx="1174">
                  <c:v>45370</c:v>
                </c:pt>
                <c:pt idx="1175">
                  <c:v>45371</c:v>
                </c:pt>
                <c:pt idx="1176">
                  <c:v>45372</c:v>
                </c:pt>
                <c:pt idx="1177">
                  <c:v>45373</c:v>
                </c:pt>
                <c:pt idx="1178">
                  <c:v>45374</c:v>
                </c:pt>
                <c:pt idx="1179">
                  <c:v>45375</c:v>
                </c:pt>
                <c:pt idx="1180">
                  <c:v>45376</c:v>
                </c:pt>
                <c:pt idx="1181">
                  <c:v>45377</c:v>
                </c:pt>
                <c:pt idx="1182">
                  <c:v>45378</c:v>
                </c:pt>
                <c:pt idx="1183">
                  <c:v>45379</c:v>
                </c:pt>
                <c:pt idx="1184">
                  <c:v>45380</c:v>
                </c:pt>
                <c:pt idx="1185">
                  <c:v>45381</c:v>
                </c:pt>
                <c:pt idx="1186">
                  <c:v>45382</c:v>
                </c:pt>
                <c:pt idx="1187">
                  <c:v>45383</c:v>
                </c:pt>
                <c:pt idx="1188">
                  <c:v>45384</c:v>
                </c:pt>
                <c:pt idx="1189">
                  <c:v>45385</c:v>
                </c:pt>
                <c:pt idx="1190">
                  <c:v>45386</c:v>
                </c:pt>
                <c:pt idx="1191">
                  <c:v>45387</c:v>
                </c:pt>
                <c:pt idx="1192">
                  <c:v>45388</c:v>
                </c:pt>
                <c:pt idx="1193">
                  <c:v>45389</c:v>
                </c:pt>
                <c:pt idx="1194">
                  <c:v>45390</c:v>
                </c:pt>
                <c:pt idx="1195">
                  <c:v>45391</c:v>
                </c:pt>
                <c:pt idx="1196">
                  <c:v>45392</c:v>
                </c:pt>
                <c:pt idx="1197">
                  <c:v>45393</c:v>
                </c:pt>
                <c:pt idx="1198">
                  <c:v>45394</c:v>
                </c:pt>
                <c:pt idx="1199">
                  <c:v>45395</c:v>
                </c:pt>
                <c:pt idx="1200">
                  <c:v>45396</c:v>
                </c:pt>
                <c:pt idx="1201">
                  <c:v>45397</c:v>
                </c:pt>
                <c:pt idx="1202">
                  <c:v>45398</c:v>
                </c:pt>
                <c:pt idx="1203">
                  <c:v>45399</c:v>
                </c:pt>
                <c:pt idx="1204">
                  <c:v>45400</c:v>
                </c:pt>
                <c:pt idx="1205">
                  <c:v>45401</c:v>
                </c:pt>
                <c:pt idx="1206">
                  <c:v>45402</c:v>
                </c:pt>
                <c:pt idx="1207">
                  <c:v>45403</c:v>
                </c:pt>
                <c:pt idx="1208">
                  <c:v>45404</c:v>
                </c:pt>
                <c:pt idx="1209">
                  <c:v>45405</c:v>
                </c:pt>
                <c:pt idx="1210">
                  <c:v>45406</c:v>
                </c:pt>
                <c:pt idx="1211">
                  <c:v>45407</c:v>
                </c:pt>
                <c:pt idx="1212">
                  <c:v>45408</c:v>
                </c:pt>
                <c:pt idx="1213">
                  <c:v>45409</c:v>
                </c:pt>
                <c:pt idx="1214">
                  <c:v>45410</c:v>
                </c:pt>
                <c:pt idx="1215">
                  <c:v>45411</c:v>
                </c:pt>
                <c:pt idx="1216">
                  <c:v>45412</c:v>
                </c:pt>
                <c:pt idx="1217">
                  <c:v>45413</c:v>
                </c:pt>
                <c:pt idx="1218">
                  <c:v>45414</c:v>
                </c:pt>
                <c:pt idx="1219">
                  <c:v>45415</c:v>
                </c:pt>
                <c:pt idx="1220">
                  <c:v>45416</c:v>
                </c:pt>
                <c:pt idx="1221">
                  <c:v>45417</c:v>
                </c:pt>
                <c:pt idx="1222">
                  <c:v>45418</c:v>
                </c:pt>
                <c:pt idx="1223">
                  <c:v>45419</c:v>
                </c:pt>
                <c:pt idx="1224">
                  <c:v>45420</c:v>
                </c:pt>
                <c:pt idx="1225">
                  <c:v>45421</c:v>
                </c:pt>
                <c:pt idx="1226">
                  <c:v>45422</c:v>
                </c:pt>
                <c:pt idx="1227">
                  <c:v>45423</c:v>
                </c:pt>
                <c:pt idx="1228">
                  <c:v>45424</c:v>
                </c:pt>
                <c:pt idx="1229">
                  <c:v>45425</c:v>
                </c:pt>
                <c:pt idx="1230">
                  <c:v>45426</c:v>
                </c:pt>
                <c:pt idx="1231">
                  <c:v>45427</c:v>
                </c:pt>
                <c:pt idx="1232">
                  <c:v>45428</c:v>
                </c:pt>
                <c:pt idx="1233">
                  <c:v>45429</c:v>
                </c:pt>
                <c:pt idx="1234">
                  <c:v>45430</c:v>
                </c:pt>
                <c:pt idx="1235">
                  <c:v>45431</c:v>
                </c:pt>
                <c:pt idx="1236">
                  <c:v>45432</c:v>
                </c:pt>
                <c:pt idx="1237">
                  <c:v>45433</c:v>
                </c:pt>
                <c:pt idx="1238">
                  <c:v>45434</c:v>
                </c:pt>
                <c:pt idx="1239">
                  <c:v>45435</c:v>
                </c:pt>
                <c:pt idx="1240">
                  <c:v>45436</c:v>
                </c:pt>
                <c:pt idx="1241">
                  <c:v>45437</c:v>
                </c:pt>
                <c:pt idx="1242">
                  <c:v>45438</c:v>
                </c:pt>
                <c:pt idx="1243">
                  <c:v>45439</c:v>
                </c:pt>
                <c:pt idx="1244">
                  <c:v>45440</c:v>
                </c:pt>
                <c:pt idx="1245">
                  <c:v>45441</c:v>
                </c:pt>
                <c:pt idx="1246">
                  <c:v>45442</c:v>
                </c:pt>
                <c:pt idx="1247">
                  <c:v>45443</c:v>
                </c:pt>
                <c:pt idx="1248">
                  <c:v>45444</c:v>
                </c:pt>
                <c:pt idx="1249">
                  <c:v>45445</c:v>
                </c:pt>
                <c:pt idx="1250">
                  <c:v>45446</c:v>
                </c:pt>
                <c:pt idx="1251">
                  <c:v>45447</c:v>
                </c:pt>
                <c:pt idx="1252">
                  <c:v>45448</c:v>
                </c:pt>
                <c:pt idx="1253">
                  <c:v>45449</c:v>
                </c:pt>
                <c:pt idx="1254">
                  <c:v>45450</c:v>
                </c:pt>
                <c:pt idx="1255">
                  <c:v>45451</c:v>
                </c:pt>
                <c:pt idx="1256">
                  <c:v>45452</c:v>
                </c:pt>
                <c:pt idx="1257">
                  <c:v>45453</c:v>
                </c:pt>
                <c:pt idx="1258">
                  <c:v>45454</c:v>
                </c:pt>
                <c:pt idx="1259">
                  <c:v>45455</c:v>
                </c:pt>
                <c:pt idx="1260">
                  <c:v>45456</c:v>
                </c:pt>
                <c:pt idx="1261">
                  <c:v>45457</c:v>
                </c:pt>
                <c:pt idx="1262">
                  <c:v>45458</c:v>
                </c:pt>
                <c:pt idx="1263">
                  <c:v>45459</c:v>
                </c:pt>
                <c:pt idx="1264">
                  <c:v>45460</c:v>
                </c:pt>
                <c:pt idx="1265">
                  <c:v>45461</c:v>
                </c:pt>
                <c:pt idx="1266">
                  <c:v>45462</c:v>
                </c:pt>
                <c:pt idx="1267">
                  <c:v>45463</c:v>
                </c:pt>
                <c:pt idx="1268">
                  <c:v>45464</c:v>
                </c:pt>
                <c:pt idx="1269">
                  <c:v>45465</c:v>
                </c:pt>
                <c:pt idx="1270">
                  <c:v>45466</c:v>
                </c:pt>
                <c:pt idx="1271">
                  <c:v>45467</c:v>
                </c:pt>
                <c:pt idx="1272">
                  <c:v>45468</c:v>
                </c:pt>
                <c:pt idx="1273">
                  <c:v>45469</c:v>
                </c:pt>
                <c:pt idx="1274">
                  <c:v>45470</c:v>
                </c:pt>
                <c:pt idx="1275">
                  <c:v>45471</c:v>
                </c:pt>
                <c:pt idx="1276">
                  <c:v>45472</c:v>
                </c:pt>
                <c:pt idx="1277">
                  <c:v>45473</c:v>
                </c:pt>
                <c:pt idx="1278">
                  <c:v>45474</c:v>
                </c:pt>
                <c:pt idx="1279">
                  <c:v>45475</c:v>
                </c:pt>
                <c:pt idx="1280">
                  <c:v>45476</c:v>
                </c:pt>
                <c:pt idx="1281">
                  <c:v>45477</c:v>
                </c:pt>
                <c:pt idx="1282">
                  <c:v>45478</c:v>
                </c:pt>
                <c:pt idx="1283">
                  <c:v>45479</c:v>
                </c:pt>
                <c:pt idx="1284">
                  <c:v>45480</c:v>
                </c:pt>
                <c:pt idx="1285">
                  <c:v>45481</c:v>
                </c:pt>
                <c:pt idx="1286">
                  <c:v>45482</c:v>
                </c:pt>
                <c:pt idx="1287">
                  <c:v>45483</c:v>
                </c:pt>
                <c:pt idx="1288">
                  <c:v>45484</c:v>
                </c:pt>
                <c:pt idx="1289">
                  <c:v>45485</c:v>
                </c:pt>
                <c:pt idx="1290">
                  <c:v>45486</c:v>
                </c:pt>
                <c:pt idx="1291">
                  <c:v>45487</c:v>
                </c:pt>
                <c:pt idx="1292">
                  <c:v>45488</c:v>
                </c:pt>
                <c:pt idx="1293">
                  <c:v>45489</c:v>
                </c:pt>
                <c:pt idx="1294">
                  <c:v>45490</c:v>
                </c:pt>
                <c:pt idx="1295">
                  <c:v>45491</c:v>
                </c:pt>
                <c:pt idx="1296">
                  <c:v>45492</c:v>
                </c:pt>
                <c:pt idx="1297">
                  <c:v>45493</c:v>
                </c:pt>
                <c:pt idx="1298">
                  <c:v>45494</c:v>
                </c:pt>
                <c:pt idx="1299">
                  <c:v>45495</c:v>
                </c:pt>
                <c:pt idx="1300">
                  <c:v>45496</c:v>
                </c:pt>
                <c:pt idx="1301">
                  <c:v>45497</c:v>
                </c:pt>
                <c:pt idx="1302">
                  <c:v>45498</c:v>
                </c:pt>
                <c:pt idx="1303">
                  <c:v>45499</c:v>
                </c:pt>
                <c:pt idx="1304">
                  <c:v>45500</c:v>
                </c:pt>
                <c:pt idx="1305">
                  <c:v>45501</c:v>
                </c:pt>
                <c:pt idx="1306">
                  <c:v>45502</c:v>
                </c:pt>
                <c:pt idx="1307">
                  <c:v>45503</c:v>
                </c:pt>
                <c:pt idx="1308">
                  <c:v>45504</c:v>
                </c:pt>
                <c:pt idx="1309">
                  <c:v>45505</c:v>
                </c:pt>
                <c:pt idx="1310">
                  <c:v>45506</c:v>
                </c:pt>
                <c:pt idx="1311">
                  <c:v>45507</c:v>
                </c:pt>
                <c:pt idx="1312">
                  <c:v>45508</c:v>
                </c:pt>
                <c:pt idx="1313">
                  <c:v>45509</c:v>
                </c:pt>
                <c:pt idx="1314">
                  <c:v>45510</c:v>
                </c:pt>
                <c:pt idx="1315">
                  <c:v>45511</c:v>
                </c:pt>
                <c:pt idx="1316">
                  <c:v>45512</c:v>
                </c:pt>
                <c:pt idx="1317">
                  <c:v>45513</c:v>
                </c:pt>
                <c:pt idx="1318">
                  <c:v>45514</c:v>
                </c:pt>
                <c:pt idx="1319">
                  <c:v>45515</c:v>
                </c:pt>
                <c:pt idx="1320">
                  <c:v>45516</c:v>
                </c:pt>
                <c:pt idx="1321">
                  <c:v>45517</c:v>
                </c:pt>
                <c:pt idx="1322">
                  <c:v>45518</c:v>
                </c:pt>
                <c:pt idx="1323">
                  <c:v>45519</c:v>
                </c:pt>
                <c:pt idx="1324">
                  <c:v>45520</c:v>
                </c:pt>
                <c:pt idx="1325">
                  <c:v>45521</c:v>
                </c:pt>
                <c:pt idx="1326">
                  <c:v>45522</c:v>
                </c:pt>
                <c:pt idx="1327">
                  <c:v>45523</c:v>
                </c:pt>
                <c:pt idx="1328">
                  <c:v>45524</c:v>
                </c:pt>
                <c:pt idx="1329">
                  <c:v>45525</c:v>
                </c:pt>
                <c:pt idx="1330">
                  <c:v>45526</c:v>
                </c:pt>
                <c:pt idx="1331">
                  <c:v>45527</c:v>
                </c:pt>
                <c:pt idx="1332">
                  <c:v>45528</c:v>
                </c:pt>
                <c:pt idx="1333">
                  <c:v>45529</c:v>
                </c:pt>
                <c:pt idx="1334">
                  <c:v>45530</c:v>
                </c:pt>
                <c:pt idx="1335">
                  <c:v>45531</c:v>
                </c:pt>
                <c:pt idx="1336">
                  <c:v>45532</c:v>
                </c:pt>
                <c:pt idx="1337">
                  <c:v>45533</c:v>
                </c:pt>
                <c:pt idx="1338">
                  <c:v>45534</c:v>
                </c:pt>
                <c:pt idx="1339">
                  <c:v>45535</c:v>
                </c:pt>
                <c:pt idx="1340">
                  <c:v>45536</c:v>
                </c:pt>
                <c:pt idx="1341">
                  <c:v>45537</c:v>
                </c:pt>
                <c:pt idx="1342">
                  <c:v>45538</c:v>
                </c:pt>
                <c:pt idx="1343">
                  <c:v>45539</c:v>
                </c:pt>
                <c:pt idx="1344">
                  <c:v>45540</c:v>
                </c:pt>
                <c:pt idx="1345">
                  <c:v>45541</c:v>
                </c:pt>
                <c:pt idx="1346">
                  <c:v>45542</c:v>
                </c:pt>
                <c:pt idx="1347">
                  <c:v>45543</c:v>
                </c:pt>
                <c:pt idx="1348">
                  <c:v>45544</c:v>
                </c:pt>
                <c:pt idx="1349">
                  <c:v>45545</c:v>
                </c:pt>
                <c:pt idx="1350">
                  <c:v>45546</c:v>
                </c:pt>
                <c:pt idx="1351">
                  <c:v>45547</c:v>
                </c:pt>
                <c:pt idx="1352">
                  <c:v>45548</c:v>
                </c:pt>
                <c:pt idx="1353">
                  <c:v>45549</c:v>
                </c:pt>
                <c:pt idx="1354">
                  <c:v>45550</c:v>
                </c:pt>
                <c:pt idx="1355">
                  <c:v>45551</c:v>
                </c:pt>
                <c:pt idx="1356">
                  <c:v>45552</c:v>
                </c:pt>
                <c:pt idx="1357">
                  <c:v>45553</c:v>
                </c:pt>
                <c:pt idx="1358">
                  <c:v>45554</c:v>
                </c:pt>
                <c:pt idx="1359">
                  <c:v>45555</c:v>
                </c:pt>
                <c:pt idx="1360">
                  <c:v>45556</c:v>
                </c:pt>
                <c:pt idx="1361">
                  <c:v>45557</c:v>
                </c:pt>
                <c:pt idx="1362">
                  <c:v>45558</c:v>
                </c:pt>
                <c:pt idx="1363">
                  <c:v>45559</c:v>
                </c:pt>
                <c:pt idx="1364">
                  <c:v>45560</c:v>
                </c:pt>
                <c:pt idx="1365">
                  <c:v>45561</c:v>
                </c:pt>
                <c:pt idx="1366">
                  <c:v>45562</c:v>
                </c:pt>
                <c:pt idx="1367">
                  <c:v>45563</c:v>
                </c:pt>
                <c:pt idx="1368">
                  <c:v>45564</c:v>
                </c:pt>
                <c:pt idx="1369">
                  <c:v>45565</c:v>
                </c:pt>
                <c:pt idx="1370">
                  <c:v>45566</c:v>
                </c:pt>
                <c:pt idx="1371">
                  <c:v>45567</c:v>
                </c:pt>
                <c:pt idx="1372">
                  <c:v>45568</c:v>
                </c:pt>
                <c:pt idx="1373">
                  <c:v>45569</c:v>
                </c:pt>
                <c:pt idx="1374">
                  <c:v>45570</c:v>
                </c:pt>
                <c:pt idx="1375">
                  <c:v>45571</c:v>
                </c:pt>
                <c:pt idx="1376">
                  <c:v>45572</c:v>
                </c:pt>
                <c:pt idx="1377">
                  <c:v>45573</c:v>
                </c:pt>
                <c:pt idx="1378">
                  <c:v>45574</c:v>
                </c:pt>
                <c:pt idx="1379">
                  <c:v>45575</c:v>
                </c:pt>
                <c:pt idx="1380">
                  <c:v>45576</c:v>
                </c:pt>
                <c:pt idx="1381">
                  <c:v>45577</c:v>
                </c:pt>
                <c:pt idx="1382">
                  <c:v>45578</c:v>
                </c:pt>
                <c:pt idx="1383">
                  <c:v>45579</c:v>
                </c:pt>
                <c:pt idx="1384">
                  <c:v>45580</c:v>
                </c:pt>
                <c:pt idx="1385">
                  <c:v>45581</c:v>
                </c:pt>
                <c:pt idx="1386">
                  <c:v>45582</c:v>
                </c:pt>
                <c:pt idx="1387">
                  <c:v>45583</c:v>
                </c:pt>
                <c:pt idx="1388">
                  <c:v>45584</c:v>
                </c:pt>
                <c:pt idx="1389">
                  <c:v>45585</c:v>
                </c:pt>
                <c:pt idx="1390">
                  <c:v>45586</c:v>
                </c:pt>
                <c:pt idx="1391">
                  <c:v>45587</c:v>
                </c:pt>
                <c:pt idx="1392">
                  <c:v>45588</c:v>
                </c:pt>
                <c:pt idx="1393">
                  <c:v>45589</c:v>
                </c:pt>
                <c:pt idx="1394">
                  <c:v>45590</c:v>
                </c:pt>
                <c:pt idx="1395">
                  <c:v>45591</c:v>
                </c:pt>
                <c:pt idx="1396">
                  <c:v>45592</c:v>
                </c:pt>
                <c:pt idx="1397">
                  <c:v>45593</c:v>
                </c:pt>
                <c:pt idx="1398">
                  <c:v>45594</c:v>
                </c:pt>
                <c:pt idx="1399">
                  <c:v>45595</c:v>
                </c:pt>
                <c:pt idx="1400">
                  <c:v>45596</c:v>
                </c:pt>
                <c:pt idx="1401">
                  <c:v>45597</c:v>
                </c:pt>
                <c:pt idx="1402">
                  <c:v>45598</c:v>
                </c:pt>
                <c:pt idx="1403">
                  <c:v>45599</c:v>
                </c:pt>
                <c:pt idx="1404">
                  <c:v>45600</c:v>
                </c:pt>
                <c:pt idx="1405">
                  <c:v>45601</c:v>
                </c:pt>
                <c:pt idx="1406">
                  <c:v>45602</c:v>
                </c:pt>
                <c:pt idx="1407">
                  <c:v>45603</c:v>
                </c:pt>
                <c:pt idx="1408">
                  <c:v>45604</c:v>
                </c:pt>
                <c:pt idx="1409">
                  <c:v>45605</c:v>
                </c:pt>
                <c:pt idx="1410">
                  <c:v>45606</c:v>
                </c:pt>
                <c:pt idx="1411">
                  <c:v>45607</c:v>
                </c:pt>
                <c:pt idx="1412">
                  <c:v>45608</c:v>
                </c:pt>
                <c:pt idx="1413">
                  <c:v>45609</c:v>
                </c:pt>
                <c:pt idx="1414">
                  <c:v>45610</c:v>
                </c:pt>
                <c:pt idx="1415">
                  <c:v>45611</c:v>
                </c:pt>
                <c:pt idx="1416">
                  <c:v>45612</c:v>
                </c:pt>
                <c:pt idx="1417">
                  <c:v>45613</c:v>
                </c:pt>
                <c:pt idx="1418">
                  <c:v>45614</c:v>
                </c:pt>
                <c:pt idx="1419">
                  <c:v>45615</c:v>
                </c:pt>
                <c:pt idx="1420">
                  <c:v>45616</c:v>
                </c:pt>
                <c:pt idx="1421">
                  <c:v>45617</c:v>
                </c:pt>
                <c:pt idx="1422">
                  <c:v>45618</c:v>
                </c:pt>
                <c:pt idx="1423">
                  <c:v>45619</c:v>
                </c:pt>
                <c:pt idx="1424">
                  <c:v>45620</c:v>
                </c:pt>
                <c:pt idx="1425">
                  <c:v>45621</c:v>
                </c:pt>
                <c:pt idx="1426">
                  <c:v>45622</c:v>
                </c:pt>
                <c:pt idx="1427">
                  <c:v>45623</c:v>
                </c:pt>
                <c:pt idx="1428">
                  <c:v>45624</c:v>
                </c:pt>
                <c:pt idx="1429">
                  <c:v>45625</c:v>
                </c:pt>
                <c:pt idx="1430">
                  <c:v>45626</c:v>
                </c:pt>
                <c:pt idx="1431">
                  <c:v>45627</c:v>
                </c:pt>
                <c:pt idx="1432">
                  <c:v>45628</c:v>
                </c:pt>
                <c:pt idx="1433">
                  <c:v>45629</c:v>
                </c:pt>
                <c:pt idx="1434">
                  <c:v>45630</c:v>
                </c:pt>
                <c:pt idx="1435">
                  <c:v>45631</c:v>
                </c:pt>
                <c:pt idx="1436">
                  <c:v>45632</c:v>
                </c:pt>
                <c:pt idx="1437">
                  <c:v>45633</c:v>
                </c:pt>
                <c:pt idx="1438">
                  <c:v>45634</c:v>
                </c:pt>
                <c:pt idx="1439">
                  <c:v>45635</c:v>
                </c:pt>
                <c:pt idx="1440">
                  <c:v>45636</c:v>
                </c:pt>
                <c:pt idx="1441">
                  <c:v>45637</c:v>
                </c:pt>
                <c:pt idx="1442">
                  <c:v>45638</c:v>
                </c:pt>
                <c:pt idx="1443">
                  <c:v>45639</c:v>
                </c:pt>
                <c:pt idx="1444">
                  <c:v>45640</c:v>
                </c:pt>
                <c:pt idx="1445">
                  <c:v>45641</c:v>
                </c:pt>
                <c:pt idx="1446">
                  <c:v>45642</c:v>
                </c:pt>
                <c:pt idx="1447">
                  <c:v>45643</c:v>
                </c:pt>
                <c:pt idx="1448">
                  <c:v>45644</c:v>
                </c:pt>
                <c:pt idx="1449">
                  <c:v>45645</c:v>
                </c:pt>
                <c:pt idx="1450">
                  <c:v>45646</c:v>
                </c:pt>
                <c:pt idx="1451">
                  <c:v>45647</c:v>
                </c:pt>
                <c:pt idx="1452">
                  <c:v>45648</c:v>
                </c:pt>
                <c:pt idx="1453">
                  <c:v>45649</c:v>
                </c:pt>
                <c:pt idx="1454">
                  <c:v>45650</c:v>
                </c:pt>
                <c:pt idx="1455">
                  <c:v>45651</c:v>
                </c:pt>
                <c:pt idx="1456">
                  <c:v>45652</c:v>
                </c:pt>
                <c:pt idx="1457">
                  <c:v>45653</c:v>
                </c:pt>
                <c:pt idx="1458">
                  <c:v>45654</c:v>
                </c:pt>
                <c:pt idx="1459">
                  <c:v>45655</c:v>
                </c:pt>
                <c:pt idx="1460">
                  <c:v>45656</c:v>
                </c:pt>
                <c:pt idx="1461">
                  <c:v>45657</c:v>
                </c:pt>
                <c:pt idx="1462">
                  <c:v>45658</c:v>
                </c:pt>
                <c:pt idx="1463">
                  <c:v>45659</c:v>
                </c:pt>
                <c:pt idx="1464">
                  <c:v>45660</c:v>
                </c:pt>
                <c:pt idx="1465">
                  <c:v>45661</c:v>
                </c:pt>
                <c:pt idx="1466">
                  <c:v>45662</c:v>
                </c:pt>
                <c:pt idx="1467">
                  <c:v>45663</c:v>
                </c:pt>
                <c:pt idx="1468">
                  <c:v>45664</c:v>
                </c:pt>
                <c:pt idx="1469">
                  <c:v>45665</c:v>
                </c:pt>
                <c:pt idx="1470">
                  <c:v>45666</c:v>
                </c:pt>
                <c:pt idx="1471">
                  <c:v>45667</c:v>
                </c:pt>
                <c:pt idx="1472">
                  <c:v>45668</c:v>
                </c:pt>
                <c:pt idx="1473">
                  <c:v>45669</c:v>
                </c:pt>
                <c:pt idx="1474">
                  <c:v>45670</c:v>
                </c:pt>
                <c:pt idx="1475">
                  <c:v>45671</c:v>
                </c:pt>
                <c:pt idx="1476">
                  <c:v>45672</c:v>
                </c:pt>
                <c:pt idx="1477">
                  <c:v>45673</c:v>
                </c:pt>
                <c:pt idx="1478">
                  <c:v>45674</c:v>
                </c:pt>
                <c:pt idx="1479">
                  <c:v>45675</c:v>
                </c:pt>
                <c:pt idx="1480">
                  <c:v>45676</c:v>
                </c:pt>
                <c:pt idx="1481">
                  <c:v>45677</c:v>
                </c:pt>
                <c:pt idx="1482">
                  <c:v>45678</c:v>
                </c:pt>
                <c:pt idx="1483">
                  <c:v>45679</c:v>
                </c:pt>
                <c:pt idx="1484">
                  <c:v>45680</c:v>
                </c:pt>
                <c:pt idx="1485">
                  <c:v>45681</c:v>
                </c:pt>
                <c:pt idx="1486">
                  <c:v>45682</c:v>
                </c:pt>
                <c:pt idx="1487">
                  <c:v>45683</c:v>
                </c:pt>
                <c:pt idx="1488">
                  <c:v>45684</c:v>
                </c:pt>
                <c:pt idx="1489">
                  <c:v>45685</c:v>
                </c:pt>
                <c:pt idx="1490">
                  <c:v>45686</c:v>
                </c:pt>
                <c:pt idx="1491">
                  <c:v>45687</c:v>
                </c:pt>
                <c:pt idx="1492">
                  <c:v>45688</c:v>
                </c:pt>
                <c:pt idx="1493">
                  <c:v>45689</c:v>
                </c:pt>
                <c:pt idx="1494">
                  <c:v>45690</c:v>
                </c:pt>
                <c:pt idx="1495">
                  <c:v>45691</c:v>
                </c:pt>
                <c:pt idx="1496">
                  <c:v>45692</c:v>
                </c:pt>
                <c:pt idx="1497">
                  <c:v>45693</c:v>
                </c:pt>
                <c:pt idx="1498">
                  <c:v>45694</c:v>
                </c:pt>
                <c:pt idx="1499">
                  <c:v>45695</c:v>
                </c:pt>
                <c:pt idx="1500">
                  <c:v>45696</c:v>
                </c:pt>
                <c:pt idx="1501">
                  <c:v>45697</c:v>
                </c:pt>
                <c:pt idx="1502">
                  <c:v>45698</c:v>
                </c:pt>
                <c:pt idx="1503">
                  <c:v>45699</c:v>
                </c:pt>
                <c:pt idx="1504">
                  <c:v>45700</c:v>
                </c:pt>
                <c:pt idx="1505">
                  <c:v>45701</c:v>
                </c:pt>
                <c:pt idx="1506">
                  <c:v>45702</c:v>
                </c:pt>
                <c:pt idx="1507">
                  <c:v>45703</c:v>
                </c:pt>
                <c:pt idx="1508">
                  <c:v>45704</c:v>
                </c:pt>
                <c:pt idx="1509">
                  <c:v>45705</c:v>
                </c:pt>
                <c:pt idx="1510">
                  <c:v>45706</c:v>
                </c:pt>
                <c:pt idx="1511">
                  <c:v>45707</c:v>
                </c:pt>
                <c:pt idx="1512">
                  <c:v>45708</c:v>
                </c:pt>
                <c:pt idx="1513">
                  <c:v>45709</c:v>
                </c:pt>
                <c:pt idx="1514">
                  <c:v>45710</c:v>
                </c:pt>
                <c:pt idx="1515">
                  <c:v>45711</c:v>
                </c:pt>
                <c:pt idx="1516">
                  <c:v>45712</c:v>
                </c:pt>
                <c:pt idx="1517">
                  <c:v>45713</c:v>
                </c:pt>
                <c:pt idx="1518">
                  <c:v>45714</c:v>
                </c:pt>
                <c:pt idx="1519">
                  <c:v>45715</c:v>
                </c:pt>
                <c:pt idx="1520">
                  <c:v>45716</c:v>
                </c:pt>
                <c:pt idx="1521">
                  <c:v>45717</c:v>
                </c:pt>
                <c:pt idx="1522">
                  <c:v>45718</c:v>
                </c:pt>
                <c:pt idx="1523">
                  <c:v>45719</c:v>
                </c:pt>
                <c:pt idx="1524">
                  <c:v>45720</c:v>
                </c:pt>
                <c:pt idx="1525">
                  <c:v>45721</c:v>
                </c:pt>
                <c:pt idx="1526">
                  <c:v>45722</c:v>
                </c:pt>
                <c:pt idx="1527">
                  <c:v>45723</c:v>
                </c:pt>
                <c:pt idx="1528">
                  <c:v>45724</c:v>
                </c:pt>
                <c:pt idx="1529">
                  <c:v>45725</c:v>
                </c:pt>
                <c:pt idx="1530">
                  <c:v>45726</c:v>
                </c:pt>
                <c:pt idx="1531">
                  <c:v>45727</c:v>
                </c:pt>
                <c:pt idx="1532">
                  <c:v>45728</c:v>
                </c:pt>
                <c:pt idx="1533">
                  <c:v>45729</c:v>
                </c:pt>
                <c:pt idx="1534">
                  <c:v>45730</c:v>
                </c:pt>
                <c:pt idx="1535">
                  <c:v>45731</c:v>
                </c:pt>
                <c:pt idx="1536">
                  <c:v>45732</c:v>
                </c:pt>
                <c:pt idx="1537">
                  <c:v>45733</c:v>
                </c:pt>
                <c:pt idx="1538">
                  <c:v>45734</c:v>
                </c:pt>
                <c:pt idx="1539">
                  <c:v>45735</c:v>
                </c:pt>
                <c:pt idx="1540">
                  <c:v>45736</c:v>
                </c:pt>
                <c:pt idx="1541">
                  <c:v>45737</c:v>
                </c:pt>
                <c:pt idx="1542">
                  <c:v>45738</c:v>
                </c:pt>
                <c:pt idx="1543">
                  <c:v>45739</c:v>
                </c:pt>
                <c:pt idx="1544">
                  <c:v>45740</c:v>
                </c:pt>
                <c:pt idx="1545">
                  <c:v>45741</c:v>
                </c:pt>
                <c:pt idx="1546">
                  <c:v>45742</c:v>
                </c:pt>
                <c:pt idx="1547">
                  <c:v>45743</c:v>
                </c:pt>
                <c:pt idx="1548">
                  <c:v>45744</c:v>
                </c:pt>
                <c:pt idx="1549">
                  <c:v>45745</c:v>
                </c:pt>
                <c:pt idx="1550">
                  <c:v>45746</c:v>
                </c:pt>
                <c:pt idx="1551">
                  <c:v>45747</c:v>
                </c:pt>
                <c:pt idx="1552">
                  <c:v>45748</c:v>
                </c:pt>
                <c:pt idx="1553">
                  <c:v>45749</c:v>
                </c:pt>
                <c:pt idx="1554">
                  <c:v>45750</c:v>
                </c:pt>
                <c:pt idx="1555">
                  <c:v>45751</c:v>
                </c:pt>
                <c:pt idx="1556">
                  <c:v>45752</c:v>
                </c:pt>
                <c:pt idx="1557">
                  <c:v>45753</c:v>
                </c:pt>
                <c:pt idx="1558">
                  <c:v>45754</c:v>
                </c:pt>
                <c:pt idx="1559">
                  <c:v>45755</c:v>
                </c:pt>
                <c:pt idx="1560">
                  <c:v>45756</c:v>
                </c:pt>
                <c:pt idx="1561">
                  <c:v>45757</c:v>
                </c:pt>
                <c:pt idx="1562">
                  <c:v>45758</c:v>
                </c:pt>
                <c:pt idx="1563">
                  <c:v>45759</c:v>
                </c:pt>
                <c:pt idx="1564">
                  <c:v>45760</c:v>
                </c:pt>
                <c:pt idx="1565">
                  <c:v>45761</c:v>
                </c:pt>
                <c:pt idx="1566">
                  <c:v>45762</c:v>
                </c:pt>
                <c:pt idx="1567">
                  <c:v>45763</c:v>
                </c:pt>
                <c:pt idx="1568">
                  <c:v>45764</c:v>
                </c:pt>
                <c:pt idx="1569">
                  <c:v>45765</c:v>
                </c:pt>
                <c:pt idx="1570">
                  <c:v>45766</c:v>
                </c:pt>
                <c:pt idx="1571">
                  <c:v>45767</c:v>
                </c:pt>
                <c:pt idx="1572">
                  <c:v>45768</c:v>
                </c:pt>
                <c:pt idx="1573">
                  <c:v>45769</c:v>
                </c:pt>
                <c:pt idx="1574">
                  <c:v>45770</c:v>
                </c:pt>
                <c:pt idx="1575">
                  <c:v>45771</c:v>
                </c:pt>
                <c:pt idx="1576">
                  <c:v>45772</c:v>
                </c:pt>
                <c:pt idx="1577">
                  <c:v>45773</c:v>
                </c:pt>
                <c:pt idx="1578">
                  <c:v>45774</c:v>
                </c:pt>
                <c:pt idx="1579">
                  <c:v>45775</c:v>
                </c:pt>
                <c:pt idx="1580">
                  <c:v>45776</c:v>
                </c:pt>
                <c:pt idx="1581">
                  <c:v>45777</c:v>
                </c:pt>
                <c:pt idx="1582">
                  <c:v>45778</c:v>
                </c:pt>
                <c:pt idx="1583">
                  <c:v>45779</c:v>
                </c:pt>
                <c:pt idx="1584">
                  <c:v>45780</c:v>
                </c:pt>
                <c:pt idx="1585">
                  <c:v>45781</c:v>
                </c:pt>
                <c:pt idx="1586">
                  <c:v>45782</c:v>
                </c:pt>
                <c:pt idx="1587">
                  <c:v>45783</c:v>
                </c:pt>
                <c:pt idx="1588">
                  <c:v>45784</c:v>
                </c:pt>
                <c:pt idx="1589">
                  <c:v>45785</c:v>
                </c:pt>
                <c:pt idx="1590">
                  <c:v>45786</c:v>
                </c:pt>
                <c:pt idx="1591">
                  <c:v>45787</c:v>
                </c:pt>
                <c:pt idx="1592">
                  <c:v>45788</c:v>
                </c:pt>
                <c:pt idx="1593">
                  <c:v>45789</c:v>
                </c:pt>
                <c:pt idx="1594">
                  <c:v>45790</c:v>
                </c:pt>
                <c:pt idx="1595">
                  <c:v>45791</c:v>
                </c:pt>
                <c:pt idx="1596">
                  <c:v>45792</c:v>
                </c:pt>
                <c:pt idx="1597">
                  <c:v>45793</c:v>
                </c:pt>
                <c:pt idx="1598">
                  <c:v>45794</c:v>
                </c:pt>
                <c:pt idx="1599">
                  <c:v>45795</c:v>
                </c:pt>
                <c:pt idx="1600">
                  <c:v>45796</c:v>
                </c:pt>
                <c:pt idx="1601">
                  <c:v>45797</c:v>
                </c:pt>
                <c:pt idx="1602">
                  <c:v>45798</c:v>
                </c:pt>
                <c:pt idx="1603">
                  <c:v>45799</c:v>
                </c:pt>
                <c:pt idx="1604">
                  <c:v>45800</c:v>
                </c:pt>
                <c:pt idx="1605">
                  <c:v>45801</c:v>
                </c:pt>
                <c:pt idx="1606">
                  <c:v>45802</c:v>
                </c:pt>
                <c:pt idx="1607">
                  <c:v>45803</c:v>
                </c:pt>
                <c:pt idx="1608">
                  <c:v>45804</c:v>
                </c:pt>
                <c:pt idx="1609">
                  <c:v>45805</c:v>
                </c:pt>
                <c:pt idx="1610">
                  <c:v>45806</c:v>
                </c:pt>
                <c:pt idx="1611">
                  <c:v>45807</c:v>
                </c:pt>
                <c:pt idx="1612">
                  <c:v>45808</c:v>
                </c:pt>
                <c:pt idx="1613">
                  <c:v>45809</c:v>
                </c:pt>
                <c:pt idx="1614">
                  <c:v>45810</c:v>
                </c:pt>
                <c:pt idx="1615">
                  <c:v>45811</c:v>
                </c:pt>
                <c:pt idx="1616">
                  <c:v>45812</c:v>
                </c:pt>
                <c:pt idx="1617">
                  <c:v>45813</c:v>
                </c:pt>
                <c:pt idx="1618">
                  <c:v>45814</c:v>
                </c:pt>
                <c:pt idx="1619">
                  <c:v>45815</c:v>
                </c:pt>
                <c:pt idx="1620">
                  <c:v>45816</c:v>
                </c:pt>
                <c:pt idx="1621">
                  <c:v>45817</c:v>
                </c:pt>
                <c:pt idx="1622">
                  <c:v>45818</c:v>
                </c:pt>
                <c:pt idx="1623">
                  <c:v>45819</c:v>
                </c:pt>
                <c:pt idx="1624">
                  <c:v>45820</c:v>
                </c:pt>
                <c:pt idx="1625">
                  <c:v>45821</c:v>
                </c:pt>
                <c:pt idx="1626">
                  <c:v>45822</c:v>
                </c:pt>
                <c:pt idx="1627">
                  <c:v>45823</c:v>
                </c:pt>
                <c:pt idx="1628">
                  <c:v>45824</c:v>
                </c:pt>
                <c:pt idx="1629">
                  <c:v>45825</c:v>
                </c:pt>
                <c:pt idx="1630">
                  <c:v>45826</c:v>
                </c:pt>
                <c:pt idx="1631">
                  <c:v>45827</c:v>
                </c:pt>
                <c:pt idx="1632">
                  <c:v>45828</c:v>
                </c:pt>
                <c:pt idx="1633">
                  <c:v>45829</c:v>
                </c:pt>
                <c:pt idx="1634">
                  <c:v>45830</c:v>
                </c:pt>
                <c:pt idx="1635">
                  <c:v>45831</c:v>
                </c:pt>
                <c:pt idx="1636">
                  <c:v>45832</c:v>
                </c:pt>
                <c:pt idx="1637">
                  <c:v>45833</c:v>
                </c:pt>
                <c:pt idx="1638">
                  <c:v>45834</c:v>
                </c:pt>
                <c:pt idx="1639">
                  <c:v>45835</c:v>
                </c:pt>
                <c:pt idx="1640">
                  <c:v>45836</c:v>
                </c:pt>
                <c:pt idx="1641">
                  <c:v>45837</c:v>
                </c:pt>
                <c:pt idx="1642">
                  <c:v>45838</c:v>
                </c:pt>
                <c:pt idx="1643">
                  <c:v>45839</c:v>
                </c:pt>
                <c:pt idx="1644">
                  <c:v>45840</c:v>
                </c:pt>
                <c:pt idx="1645">
                  <c:v>45841</c:v>
                </c:pt>
                <c:pt idx="1646">
                  <c:v>45842</c:v>
                </c:pt>
                <c:pt idx="1647">
                  <c:v>45843</c:v>
                </c:pt>
                <c:pt idx="1648">
                  <c:v>45844</c:v>
                </c:pt>
                <c:pt idx="1649">
                  <c:v>45845</c:v>
                </c:pt>
                <c:pt idx="1650">
                  <c:v>45846</c:v>
                </c:pt>
                <c:pt idx="1651">
                  <c:v>45847</c:v>
                </c:pt>
                <c:pt idx="1652">
                  <c:v>45848</c:v>
                </c:pt>
                <c:pt idx="1653">
                  <c:v>45849</c:v>
                </c:pt>
                <c:pt idx="1654">
                  <c:v>45850</c:v>
                </c:pt>
                <c:pt idx="1655">
                  <c:v>45851</c:v>
                </c:pt>
                <c:pt idx="1656">
                  <c:v>45852</c:v>
                </c:pt>
                <c:pt idx="1657">
                  <c:v>45853</c:v>
                </c:pt>
                <c:pt idx="1658">
                  <c:v>45854</c:v>
                </c:pt>
                <c:pt idx="1659">
                  <c:v>45855</c:v>
                </c:pt>
                <c:pt idx="1660">
                  <c:v>45856</c:v>
                </c:pt>
                <c:pt idx="1661">
                  <c:v>45857</c:v>
                </c:pt>
                <c:pt idx="1662">
                  <c:v>45858</c:v>
                </c:pt>
                <c:pt idx="1663">
                  <c:v>45859</c:v>
                </c:pt>
                <c:pt idx="1664">
                  <c:v>45860</c:v>
                </c:pt>
                <c:pt idx="1665">
                  <c:v>45861</c:v>
                </c:pt>
                <c:pt idx="1666">
                  <c:v>45862</c:v>
                </c:pt>
                <c:pt idx="1667">
                  <c:v>45863</c:v>
                </c:pt>
                <c:pt idx="1668">
                  <c:v>45864</c:v>
                </c:pt>
                <c:pt idx="1669">
                  <c:v>45865</c:v>
                </c:pt>
                <c:pt idx="1670">
                  <c:v>45866</c:v>
                </c:pt>
                <c:pt idx="1671">
                  <c:v>45867</c:v>
                </c:pt>
                <c:pt idx="1672">
                  <c:v>45868</c:v>
                </c:pt>
                <c:pt idx="1673">
                  <c:v>45869</c:v>
                </c:pt>
                <c:pt idx="1674">
                  <c:v>45870</c:v>
                </c:pt>
                <c:pt idx="1675">
                  <c:v>45871</c:v>
                </c:pt>
                <c:pt idx="1676">
                  <c:v>45872</c:v>
                </c:pt>
                <c:pt idx="1677">
                  <c:v>45873</c:v>
                </c:pt>
                <c:pt idx="1678">
                  <c:v>45874</c:v>
                </c:pt>
                <c:pt idx="1679">
                  <c:v>45875</c:v>
                </c:pt>
                <c:pt idx="1680">
                  <c:v>45876</c:v>
                </c:pt>
                <c:pt idx="1681">
                  <c:v>45877</c:v>
                </c:pt>
                <c:pt idx="1682">
                  <c:v>45878</c:v>
                </c:pt>
                <c:pt idx="1683">
                  <c:v>45879</c:v>
                </c:pt>
                <c:pt idx="1684">
                  <c:v>45880</c:v>
                </c:pt>
                <c:pt idx="1685">
                  <c:v>45881</c:v>
                </c:pt>
                <c:pt idx="1686">
                  <c:v>45882</c:v>
                </c:pt>
                <c:pt idx="1687">
                  <c:v>45883</c:v>
                </c:pt>
                <c:pt idx="1688">
                  <c:v>45884</c:v>
                </c:pt>
                <c:pt idx="1689">
                  <c:v>45885</c:v>
                </c:pt>
                <c:pt idx="1690">
                  <c:v>45886</c:v>
                </c:pt>
                <c:pt idx="1691">
                  <c:v>45887</c:v>
                </c:pt>
                <c:pt idx="1692">
                  <c:v>45888</c:v>
                </c:pt>
                <c:pt idx="1693">
                  <c:v>45889</c:v>
                </c:pt>
                <c:pt idx="1694">
                  <c:v>45890</c:v>
                </c:pt>
                <c:pt idx="1695">
                  <c:v>45891</c:v>
                </c:pt>
                <c:pt idx="1696">
                  <c:v>45892</c:v>
                </c:pt>
                <c:pt idx="1697">
                  <c:v>45893</c:v>
                </c:pt>
                <c:pt idx="1698">
                  <c:v>45894</c:v>
                </c:pt>
                <c:pt idx="1699">
                  <c:v>45895</c:v>
                </c:pt>
                <c:pt idx="1700">
                  <c:v>45896</c:v>
                </c:pt>
                <c:pt idx="1701">
                  <c:v>45897</c:v>
                </c:pt>
                <c:pt idx="1702">
                  <c:v>45898</c:v>
                </c:pt>
                <c:pt idx="1703">
                  <c:v>45899</c:v>
                </c:pt>
                <c:pt idx="1704">
                  <c:v>45900</c:v>
                </c:pt>
                <c:pt idx="1705">
                  <c:v>45901</c:v>
                </c:pt>
                <c:pt idx="1706">
                  <c:v>45902</c:v>
                </c:pt>
                <c:pt idx="1707">
                  <c:v>45903</c:v>
                </c:pt>
                <c:pt idx="1708">
                  <c:v>45904</c:v>
                </c:pt>
                <c:pt idx="1709">
                  <c:v>45905</c:v>
                </c:pt>
                <c:pt idx="1710">
                  <c:v>45906</c:v>
                </c:pt>
                <c:pt idx="1711">
                  <c:v>45907</c:v>
                </c:pt>
                <c:pt idx="1712">
                  <c:v>45908</c:v>
                </c:pt>
                <c:pt idx="1713">
                  <c:v>45909</c:v>
                </c:pt>
                <c:pt idx="1714">
                  <c:v>45910</c:v>
                </c:pt>
                <c:pt idx="1715">
                  <c:v>45911</c:v>
                </c:pt>
                <c:pt idx="1716">
                  <c:v>45912</c:v>
                </c:pt>
                <c:pt idx="1717">
                  <c:v>45913</c:v>
                </c:pt>
                <c:pt idx="1718">
                  <c:v>45914</c:v>
                </c:pt>
                <c:pt idx="1719">
                  <c:v>45915</c:v>
                </c:pt>
                <c:pt idx="1720">
                  <c:v>45916</c:v>
                </c:pt>
                <c:pt idx="1721">
                  <c:v>45917</c:v>
                </c:pt>
                <c:pt idx="1722">
                  <c:v>45918</c:v>
                </c:pt>
                <c:pt idx="1723">
                  <c:v>45919</c:v>
                </c:pt>
                <c:pt idx="1724">
                  <c:v>45920</c:v>
                </c:pt>
                <c:pt idx="1725">
                  <c:v>45921</c:v>
                </c:pt>
                <c:pt idx="1726">
                  <c:v>45922</c:v>
                </c:pt>
                <c:pt idx="1727">
                  <c:v>45923</c:v>
                </c:pt>
                <c:pt idx="1728">
                  <c:v>45924</c:v>
                </c:pt>
                <c:pt idx="1729">
                  <c:v>45925</c:v>
                </c:pt>
                <c:pt idx="1730">
                  <c:v>45926</c:v>
                </c:pt>
                <c:pt idx="1731">
                  <c:v>45927</c:v>
                </c:pt>
                <c:pt idx="1732">
                  <c:v>45928</c:v>
                </c:pt>
                <c:pt idx="1733">
                  <c:v>45929</c:v>
                </c:pt>
                <c:pt idx="1734">
                  <c:v>45930</c:v>
                </c:pt>
                <c:pt idx="1735">
                  <c:v>45931</c:v>
                </c:pt>
                <c:pt idx="1736">
                  <c:v>45932</c:v>
                </c:pt>
                <c:pt idx="1737">
                  <c:v>45933</c:v>
                </c:pt>
                <c:pt idx="1738">
                  <c:v>45934</c:v>
                </c:pt>
                <c:pt idx="1739">
                  <c:v>45935</c:v>
                </c:pt>
                <c:pt idx="1740">
                  <c:v>45936</c:v>
                </c:pt>
                <c:pt idx="1741">
                  <c:v>45937</c:v>
                </c:pt>
                <c:pt idx="1742">
                  <c:v>45938</c:v>
                </c:pt>
                <c:pt idx="1743">
                  <c:v>45939</c:v>
                </c:pt>
                <c:pt idx="1744">
                  <c:v>45940</c:v>
                </c:pt>
                <c:pt idx="1745">
                  <c:v>45941</c:v>
                </c:pt>
                <c:pt idx="1746">
                  <c:v>45942</c:v>
                </c:pt>
                <c:pt idx="1747">
                  <c:v>45943</c:v>
                </c:pt>
                <c:pt idx="1748">
                  <c:v>45944</c:v>
                </c:pt>
                <c:pt idx="1749">
                  <c:v>45945</c:v>
                </c:pt>
                <c:pt idx="1750">
                  <c:v>45946</c:v>
                </c:pt>
                <c:pt idx="1751">
                  <c:v>45947</c:v>
                </c:pt>
                <c:pt idx="1752">
                  <c:v>45948</c:v>
                </c:pt>
                <c:pt idx="1753">
                  <c:v>45949</c:v>
                </c:pt>
                <c:pt idx="1754">
                  <c:v>45950</c:v>
                </c:pt>
                <c:pt idx="1755">
                  <c:v>45951</c:v>
                </c:pt>
                <c:pt idx="1756">
                  <c:v>45952</c:v>
                </c:pt>
                <c:pt idx="1757">
                  <c:v>45953</c:v>
                </c:pt>
                <c:pt idx="1758">
                  <c:v>45954</c:v>
                </c:pt>
                <c:pt idx="1759">
                  <c:v>45955</c:v>
                </c:pt>
                <c:pt idx="1760">
                  <c:v>45956</c:v>
                </c:pt>
                <c:pt idx="1761">
                  <c:v>45957</c:v>
                </c:pt>
                <c:pt idx="1762">
                  <c:v>45958</c:v>
                </c:pt>
                <c:pt idx="1763">
                  <c:v>45959</c:v>
                </c:pt>
                <c:pt idx="1764">
                  <c:v>45960</c:v>
                </c:pt>
                <c:pt idx="1765">
                  <c:v>45961</c:v>
                </c:pt>
                <c:pt idx="1766">
                  <c:v>45962</c:v>
                </c:pt>
                <c:pt idx="1767">
                  <c:v>45963</c:v>
                </c:pt>
                <c:pt idx="1768">
                  <c:v>45964</c:v>
                </c:pt>
                <c:pt idx="1769">
                  <c:v>45965</c:v>
                </c:pt>
                <c:pt idx="1770">
                  <c:v>45966</c:v>
                </c:pt>
                <c:pt idx="1771">
                  <c:v>45967</c:v>
                </c:pt>
                <c:pt idx="1772">
                  <c:v>45968</c:v>
                </c:pt>
                <c:pt idx="1773">
                  <c:v>45969</c:v>
                </c:pt>
                <c:pt idx="1774">
                  <c:v>45970</c:v>
                </c:pt>
                <c:pt idx="1775">
                  <c:v>45971</c:v>
                </c:pt>
                <c:pt idx="1776">
                  <c:v>45972</c:v>
                </c:pt>
                <c:pt idx="1777">
                  <c:v>45973</c:v>
                </c:pt>
                <c:pt idx="1778">
                  <c:v>45974</c:v>
                </c:pt>
                <c:pt idx="1779">
                  <c:v>45975</c:v>
                </c:pt>
                <c:pt idx="1780">
                  <c:v>45976</c:v>
                </c:pt>
                <c:pt idx="1781">
                  <c:v>45977</c:v>
                </c:pt>
                <c:pt idx="1782">
                  <c:v>45978</c:v>
                </c:pt>
                <c:pt idx="1783">
                  <c:v>45979</c:v>
                </c:pt>
                <c:pt idx="1784">
                  <c:v>45980</c:v>
                </c:pt>
                <c:pt idx="1785">
                  <c:v>45981</c:v>
                </c:pt>
                <c:pt idx="1786">
                  <c:v>45982</c:v>
                </c:pt>
                <c:pt idx="1787">
                  <c:v>45983</c:v>
                </c:pt>
                <c:pt idx="1788">
                  <c:v>45984</c:v>
                </c:pt>
                <c:pt idx="1789">
                  <c:v>45985</c:v>
                </c:pt>
                <c:pt idx="1790">
                  <c:v>45986</c:v>
                </c:pt>
                <c:pt idx="1791">
                  <c:v>45987</c:v>
                </c:pt>
                <c:pt idx="1792">
                  <c:v>45988</c:v>
                </c:pt>
                <c:pt idx="1793">
                  <c:v>45989</c:v>
                </c:pt>
                <c:pt idx="1794">
                  <c:v>45990</c:v>
                </c:pt>
                <c:pt idx="1795">
                  <c:v>45991</c:v>
                </c:pt>
                <c:pt idx="1796">
                  <c:v>45992</c:v>
                </c:pt>
                <c:pt idx="1797">
                  <c:v>45993</c:v>
                </c:pt>
                <c:pt idx="1798">
                  <c:v>45994</c:v>
                </c:pt>
                <c:pt idx="1799">
                  <c:v>45995</c:v>
                </c:pt>
                <c:pt idx="1800">
                  <c:v>45996</c:v>
                </c:pt>
                <c:pt idx="1801">
                  <c:v>45997</c:v>
                </c:pt>
                <c:pt idx="1802">
                  <c:v>45998</c:v>
                </c:pt>
                <c:pt idx="1803">
                  <c:v>45999</c:v>
                </c:pt>
                <c:pt idx="1804">
                  <c:v>46000</c:v>
                </c:pt>
                <c:pt idx="1805">
                  <c:v>46001</c:v>
                </c:pt>
                <c:pt idx="1806">
                  <c:v>46002</c:v>
                </c:pt>
                <c:pt idx="1807">
                  <c:v>46003</c:v>
                </c:pt>
                <c:pt idx="1808">
                  <c:v>46004</c:v>
                </c:pt>
                <c:pt idx="1809">
                  <c:v>46005</c:v>
                </c:pt>
                <c:pt idx="1810">
                  <c:v>46006</c:v>
                </c:pt>
                <c:pt idx="1811">
                  <c:v>46007</c:v>
                </c:pt>
                <c:pt idx="1812">
                  <c:v>46008</c:v>
                </c:pt>
                <c:pt idx="1813">
                  <c:v>46009</c:v>
                </c:pt>
                <c:pt idx="1814">
                  <c:v>46010</c:v>
                </c:pt>
                <c:pt idx="1815">
                  <c:v>46011</c:v>
                </c:pt>
                <c:pt idx="1816">
                  <c:v>46012</c:v>
                </c:pt>
                <c:pt idx="1817">
                  <c:v>46013</c:v>
                </c:pt>
                <c:pt idx="1818">
                  <c:v>46014</c:v>
                </c:pt>
                <c:pt idx="1819">
                  <c:v>46015</c:v>
                </c:pt>
                <c:pt idx="1820">
                  <c:v>46016</c:v>
                </c:pt>
                <c:pt idx="1821">
                  <c:v>46017</c:v>
                </c:pt>
                <c:pt idx="1822">
                  <c:v>46018</c:v>
                </c:pt>
                <c:pt idx="1823">
                  <c:v>46019</c:v>
                </c:pt>
                <c:pt idx="1824">
                  <c:v>46020</c:v>
                </c:pt>
                <c:pt idx="1825">
                  <c:v>46021</c:v>
                </c:pt>
                <c:pt idx="1826">
                  <c:v>46022</c:v>
                </c:pt>
              </c:numCache>
            </c:numRef>
          </c:cat>
          <c:val>
            <c:numRef>
              <c:f>Sheet1!$J$2:$J$2069</c:f>
              <c:numCache>
                <c:formatCode>0.00%</c:formatCode>
                <c:ptCount val="2068"/>
                <c:pt idx="0">
                  <c:v>0</c:v>
                </c:pt>
                <c:pt idx="1">
                  <c:v>0</c:v>
                </c:pt>
                <c:pt idx="2">
                  <c:v>0</c:v>
                </c:pt>
                <c:pt idx="3">
                  <c:v>0</c:v>
                </c:pt>
                <c:pt idx="4">
                  <c:v>-3.732517566309923E-4</c:v>
                </c:pt>
                <c:pt idx="5">
                  <c:v>-1.255002166560729E-2</c:v>
                </c:pt>
                <c:pt idx="6">
                  <c:v>-2.0648967391866505E-2</c:v>
                </c:pt>
                <c:pt idx="7">
                  <c:v>-1.2040293642767637E-2</c:v>
                </c:pt>
                <c:pt idx="8">
                  <c:v>-1.2040293642767637E-2</c:v>
                </c:pt>
                <c:pt idx="9">
                  <c:v>-1.2040293642767637E-2</c:v>
                </c:pt>
                <c:pt idx="10">
                  <c:v>-1.2040293642767637E-2</c:v>
                </c:pt>
                <c:pt idx="11">
                  <c:v>-1.2228165137800318E-3</c:v>
                </c:pt>
                <c:pt idx="12">
                  <c:v>1.3647626620866049E-4</c:v>
                </c:pt>
                <c:pt idx="13">
                  <c:v>-5.1873437326442227E-3</c:v>
                </c:pt>
                <c:pt idx="14">
                  <c:v>-9.9627674332325011E-4</c:v>
                </c:pt>
                <c:pt idx="15">
                  <c:v>1.4352104109294857E-2</c:v>
                </c:pt>
                <c:pt idx="16">
                  <c:v>1.4352104109294857E-2</c:v>
                </c:pt>
                <c:pt idx="17">
                  <c:v>1.4352104109294857E-2</c:v>
                </c:pt>
                <c:pt idx="18">
                  <c:v>1.439120564270695E-3</c:v>
                </c:pt>
                <c:pt idx="19">
                  <c:v>-3.9413479165084199E-3</c:v>
                </c:pt>
                <c:pt idx="20">
                  <c:v>-2.4121638479894614E-3</c:v>
                </c:pt>
                <c:pt idx="21">
                  <c:v>1.9562627144295276E-2</c:v>
                </c:pt>
                <c:pt idx="22">
                  <c:v>2.3470505881233519E-2</c:v>
                </c:pt>
                <c:pt idx="23">
                  <c:v>2.3470505881233519E-2</c:v>
                </c:pt>
                <c:pt idx="24">
                  <c:v>2.3470505881233519E-2</c:v>
                </c:pt>
                <c:pt idx="25">
                  <c:v>2.4829798661221786E-2</c:v>
                </c:pt>
                <c:pt idx="26">
                  <c:v>3.2475664846567866E-2</c:v>
                </c:pt>
                <c:pt idx="27">
                  <c:v>2.2677643763259425E-2</c:v>
                </c:pt>
                <c:pt idx="28">
                  <c:v>-3.2616744478897886E-3</c:v>
                </c:pt>
                <c:pt idx="29">
                  <c:v>-6.5644000901386333E-4</c:v>
                </c:pt>
                <c:pt idx="30">
                  <c:v>-6.5644000901386333E-4</c:v>
                </c:pt>
                <c:pt idx="31">
                  <c:v>-5.0440436531252429E-3</c:v>
                </c:pt>
                <c:pt idx="32">
                  <c:v>-5.0740467687917599E-3</c:v>
                </c:pt>
                <c:pt idx="33">
                  <c:v>1.2143300729406122E-2</c:v>
                </c:pt>
                <c:pt idx="34">
                  <c:v>4.9806309308618353E-2</c:v>
                </c:pt>
                <c:pt idx="35">
                  <c:v>6.3795397381247912E-2</c:v>
                </c:pt>
                <c:pt idx="36">
                  <c:v>6.6629500352265725E-2</c:v>
                </c:pt>
                <c:pt idx="37">
                  <c:v>6.6629500352265725E-2</c:v>
                </c:pt>
                <c:pt idx="38">
                  <c:v>6.6629500352265725E-2</c:v>
                </c:pt>
                <c:pt idx="39">
                  <c:v>7.2097053688625859E-2</c:v>
                </c:pt>
                <c:pt idx="40">
                  <c:v>8.0110430962262169E-2</c:v>
                </c:pt>
                <c:pt idx="41">
                  <c:v>8.126620080240457E-2</c:v>
                </c:pt>
                <c:pt idx="42">
                  <c:v>7.8415309084353166E-2</c:v>
                </c:pt>
                <c:pt idx="43">
                  <c:v>0.10538339838792282</c:v>
                </c:pt>
                <c:pt idx="44">
                  <c:v>0.10538339838792282</c:v>
                </c:pt>
                <c:pt idx="45">
                  <c:v>0.10538339838792282</c:v>
                </c:pt>
                <c:pt idx="46">
                  <c:v>0.10438170591975009</c:v>
                </c:pt>
                <c:pt idx="47">
                  <c:v>0.11355085303352894</c:v>
                </c:pt>
                <c:pt idx="48">
                  <c:v>0.11678707357462599</c:v>
                </c:pt>
                <c:pt idx="49">
                  <c:v>0.11185573115561966</c:v>
                </c:pt>
                <c:pt idx="50">
                  <c:v>9.5058481434001585E-2</c:v>
                </c:pt>
                <c:pt idx="51">
                  <c:v>9.5058481434001585E-2</c:v>
                </c:pt>
                <c:pt idx="52">
                  <c:v>9.5058481434001585E-2</c:v>
                </c:pt>
                <c:pt idx="53">
                  <c:v>0.10153081420169868</c:v>
                </c:pt>
                <c:pt idx="54">
                  <c:v>8.0341628256089315E-2</c:v>
                </c:pt>
                <c:pt idx="55">
                  <c:v>4.119936859147131E-2</c:v>
                </c:pt>
                <c:pt idx="56">
                  <c:v>5.4529308792662191E-2</c:v>
                </c:pt>
                <c:pt idx="57">
                  <c:v>5.1601351310001604E-2</c:v>
                </c:pt>
                <c:pt idx="58">
                  <c:v>5.1601351310001604E-2</c:v>
                </c:pt>
                <c:pt idx="59">
                  <c:v>2.1189781675342516E-2</c:v>
                </c:pt>
                <c:pt idx="60">
                  <c:v>2.1165898328756184E-2</c:v>
                </c:pt>
                <c:pt idx="61">
                  <c:v>5.4760451929240901E-2</c:v>
                </c:pt>
                <c:pt idx="62">
                  <c:v>6.4314873708816556E-2</c:v>
                </c:pt>
                <c:pt idx="63">
                  <c:v>4.5745382187431856E-2</c:v>
                </c:pt>
                <c:pt idx="64">
                  <c:v>1.6696896340155972E-2</c:v>
                </c:pt>
                <c:pt idx="65">
                  <c:v>1.6696896340155972E-2</c:v>
                </c:pt>
                <c:pt idx="66">
                  <c:v>1.6696896340155972E-2</c:v>
                </c:pt>
                <c:pt idx="67">
                  <c:v>9.6852115346923989E-3</c:v>
                </c:pt>
                <c:pt idx="68">
                  <c:v>1.6696896340155972E-2</c:v>
                </c:pt>
                <c:pt idx="69">
                  <c:v>2.5095548279589364E-2</c:v>
                </c:pt>
                <c:pt idx="70">
                  <c:v>3.5728674134698511E-2</c:v>
                </c:pt>
                <c:pt idx="71">
                  <c:v>4.004359875132877E-2</c:v>
                </c:pt>
                <c:pt idx="72">
                  <c:v>4.004359875132877E-2</c:v>
                </c:pt>
                <c:pt idx="73">
                  <c:v>4.004359875132877E-2</c:v>
                </c:pt>
                <c:pt idx="74">
                  <c:v>4.3587974036365155E-2</c:v>
                </c:pt>
                <c:pt idx="75">
                  <c:v>4.3664985643725632E-2</c:v>
                </c:pt>
                <c:pt idx="76">
                  <c:v>5.8613036115465034E-2</c:v>
                </c:pt>
                <c:pt idx="77">
                  <c:v>3.503519056771353E-2</c:v>
                </c:pt>
                <c:pt idx="78">
                  <c:v>2.8639923564625747E-2</c:v>
                </c:pt>
                <c:pt idx="79">
                  <c:v>2.8639923564625747E-2</c:v>
                </c:pt>
                <c:pt idx="80">
                  <c:v>2.8639923564625747E-2</c:v>
                </c:pt>
                <c:pt idx="81">
                  <c:v>2.1551172994552985E-2</c:v>
                </c:pt>
                <c:pt idx="82">
                  <c:v>2.3939778439447109E-2</c:v>
                </c:pt>
                <c:pt idx="83">
                  <c:v>2.2629877070086336E-2</c:v>
                </c:pt>
                <c:pt idx="84">
                  <c:v>1.3768938857495243E-2</c:v>
                </c:pt>
                <c:pt idx="85">
                  <c:v>-5.5709936809864753E-3</c:v>
                </c:pt>
                <c:pt idx="86">
                  <c:v>-5.5709936809864753E-3</c:v>
                </c:pt>
                <c:pt idx="87">
                  <c:v>-5.5709936809864753E-3</c:v>
                </c:pt>
                <c:pt idx="88">
                  <c:v>7.3490303063421438E-3</c:v>
                </c:pt>
                <c:pt idx="89">
                  <c:v>7.3736718544074624E-3</c:v>
                </c:pt>
                <c:pt idx="90">
                  <c:v>2.1394766860898074E-2</c:v>
                </c:pt>
                <c:pt idx="91">
                  <c:v>2.1394766860898074E-2</c:v>
                </c:pt>
                <c:pt idx="92">
                  <c:v>2.1394766860898074E-2</c:v>
                </c:pt>
                <c:pt idx="93">
                  <c:v>2.1394766860898074E-2</c:v>
                </c:pt>
                <c:pt idx="94">
                  <c:v>2.1394766860898074E-2</c:v>
                </c:pt>
                <c:pt idx="95">
                  <c:v>2.1394766860898074E-2</c:v>
                </c:pt>
                <c:pt idx="96">
                  <c:v>4.4666678111898506E-2</c:v>
                </c:pt>
                <c:pt idx="97">
                  <c:v>4.8133987632325841E-2</c:v>
                </c:pt>
                <c:pt idx="98">
                  <c:v>4.2586281568192559E-2</c:v>
                </c:pt>
                <c:pt idx="99">
                  <c:v>5.8150695685059046E-2</c:v>
                </c:pt>
                <c:pt idx="100">
                  <c:v>5.8150695685059046E-2</c:v>
                </c:pt>
                <c:pt idx="101">
                  <c:v>5.8150695685059046E-2</c:v>
                </c:pt>
                <c:pt idx="102">
                  <c:v>5.5453935496225737E-2</c:v>
                </c:pt>
                <c:pt idx="103">
                  <c:v>5.4144034126865109E-2</c:v>
                </c:pt>
                <c:pt idx="104">
                  <c:v>6.745241974315476E-2</c:v>
                </c:pt>
                <c:pt idx="105">
                  <c:v>6.747397432805613E-2</c:v>
                </c:pt>
                <c:pt idx="106">
                  <c:v>6.7551040092665174E-2</c:v>
                </c:pt>
                <c:pt idx="107">
                  <c:v>6.7551040092665174E-2</c:v>
                </c:pt>
                <c:pt idx="108">
                  <c:v>6.7551040092665174E-2</c:v>
                </c:pt>
                <c:pt idx="109">
                  <c:v>6.8937953069386285E-2</c:v>
                </c:pt>
                <c:pt idx="110">
                  <c:v>6.7936260601213688E-2</c:v>
                </c:pt>
                <c:pt idx="111">
                  <c:v>5.5222738202398605E-2</c:v>
                </c:pt>
                <c:pt idx="112">
                  <c:v>4.7517569829949903E-2</c:v>
                </c:pt>
                <c:pt idx="113">
                  <c:v>5.8535970350856135E-2</c:v>
                </c:pt>
                <c:pt idx="114">
                  <c:v>5.8535970350856135E-2</c:v>
                </c:pt>
                <c:pt idx="115">
                  <c:v>5.8535970350856135E-2</c:v>
                </c:pt>
                <c:pt idx="116">
                  <c:v>5.7842540941119583E-2</c:v>
                </c:pt>
                <c:pt idx="117">
                  <c:v>6.3390247005253003E-2</c:v>
                </c:pt>
                <c:pt idx="118">
                  <c:v>7.2097053688625859E-2</c:v>
                </c:pt>
                <c:pt idx="119">
                  <c:v>8.2576102171765198E-2</c:v>
                </c:pt>
                <c:pt idx="120">
                  <c:v>6.7050193858578813E-2</c:v>
                </c:pt>
                <c:pt idx="121">
                  <c:v>6.7050193858578813E-2</c:v>
                </c:pt>
                <c:pt idx="122">
                  <c:v>6.7050193858578813E-2</c:v>
                </c:pt>
                <c:pt idx="123">
                  <c:v>6.7088699662259041E-2</c:v>
                </c:pt>
                <c:pt idx="124">
                  <c:v>5.6070299141353107E-2</c:v>
                </c:pt>
                <c:pt idx="125">
                  <c:v>3.2184298849662125E-2</c:v>
                </c:pt>
                <c:pt idx="126">
                  <c:v>3.9889467222110682E-2</c:v>
                </c:pt>
                <c:pt idx="127">
                  <c:v>1.7390379907140811E-2</c:v>
                </c:pt>
                <c:pt idx="128">
                  <c:v>1.7390379907140811E-2</c:v>
                </c:pt>
                <c:pt idx="129">
                  <c:v>1.7390379907140811E-2</c:v>
                </c:pt>
                <c:pt idx="130">
                  <c:v>2.4941470907619702E-2</c:v>
                </c:pt>
                <c:pt idx="131">
                  <c:v>4.8309348802955294E-3</c:v>
                </c:pt>
                <c:pt idx="132">
                  <c:v>-1.2813875780277328E-2</c:v>
                </c:pt>
                <c:pt idx="133">
                  <c:v>-1.2813875780277328E-2</c:v>
                </c:pt>
                <c:pt idx="134">
                  <c:v>-1.2813875780277328E-2</c:v>
                </c:pt>
                <c:pt idx="135">
                  <c:v>-1.2813875780277328E-2</c:v>
                </c:pt>
                <c:pt idx="136">
                  <c:v>-1.2813875780277328E-2</c:v>
                </c:pt>
                <c:pt idx="137">
                  <c:v>-1.9671483213771383E-2</c:v>
                </c:pt>
                <c:pt idx="138">
                  <c:v>-1.2274523742510582E-2</c:v>
                </c:pt>
                <c:pt idx="139">
                  <c:v>-5.1087074078287739E-3</c:v>
                </c:pt>
                <c:pt idx="140">
                  <c:v>-2.0596109917334928E-2</c:v>
                </c:pt>
                <c:pt idx="141">
                  <c:v>1.9800431622438454E-3</c:v>
                </c:pt>
                <c:pt idx="142">
                  <c:v>1.9800431622438454E-3</c:v>
                </c:pt>
                <c:pt idx="143">
                  <c:v>1.9800431622438454E-3</c:v>
                </c:pt>
                <c:pt idx="144">
                  <c:v>1.9800431622438454E-3</c:v>
                </c:pt>
                <c:pt idx="145">
                  <c:v>1.2613169017352988E-2</c:v>
                </c:pt>
                <c:pt idx="146">
                  <c:v>1.6465753203577266E-2</c:v>
                </c:pt>
                <c:pt idx="147">
                  <c:v>2.3785646910228594E-2</c:v>
                </c:pt>
                <c:pt idx="148">
                  <c:v>2.0780677820207528E-2</c:v>
                </c:pt>
                <c:pt idx="149">
                  <c:v>2.0780677820207528E-2</c:v>
                </c:pt>
                <c:pt idx="150">
                  <c:v>2.0780677820207528E-2</c:v>
                </c:pt>
                <c:pt idx="151">
                  <c:v>3.019407412470116E-2</c:v>
                </c:pt>
                <c:pt idx="152">
                  <c:v>3.0180968070565087E-2</c:v>
                </c:pt>
                <c:pt idx="153">
                  <c:v>3.6576235073652867E-2</c:v>
                </c:pt>
                <c:pt idx="154">
                  <c:v>3.5574596762728845E-2</c:v>
                </c:pt>
                <c:pt idx="155">
                  <c:v>2.3862712674837923E-2</c:v>
                </c:pt>
                <c:pt idx="156">
                  <c:v>2.3862712674837923E-2</c:v>
                </c:pt>
                <c:pt idx="157">
                  <c:v>2.3862712674837923E-2</c:v>
                </c:pt>
                <c:pt idx="158">
                  <c:v>2.124296409336509E-2</c:v>
                </c:pt>
                <c:pt idx="159">
                  <c:v>2.1088886721395427E-2</c:v>
                </c:pt>
                <c:pt idx="160">
                  <c:v>2.7175944823295311E-2</c:v>
                </c:pt>
                <c:pt idx="161">
                  <c:v>2.8254648898828946E-2</c:v>
                </c:pt>
                <c:pt idx="162">
                  <c:v>3.0412111207144078E-2</c:v>
                </c:pt>
                <c:pt idx="163">
                  <c:v>3.0412111207144078E-2</c:v>
                </c:pt>
                <c:pt idx="164">
                  <c:v>3.0412111207144078E-2</c:v>
                </c:pt>
                <c:pt idx="165">
                  <c:v>4.4204391838740947E-2</c:v>
                </c:pt>
                <c:pt idx="166">
                  <c:v>5.1678362917362219E-2</c:v>
                </c:pt>
                <c:pt idx="167">
                  <c:v>5.3065330051331898E-2</c:v>
                </c:pt>
                <c:pt idx="168">
                  <c:v>5.0753736213798389E-2</c:v>
                </c:pt>
                <c:pt idx="169">
                  <c:v>6.0154080621404662E-2</c:v>
                </c:pt>
                <c:pt idx="170">
                  <c:v>6.0154080621404662E-2</c:v>
                </c:pt>
                <c:pt idx="171">
                  <c:v>6.0154080621404662E-2</c:v>
                </c:pt>
                <c:pt idx="172">
                  <c:v>7.8415309084353166E-2</c:v>
                </c:pt>
                <c:pt idx="173">
                  <c:v>7.3946307095753103E-2</c:v>
                </c:pt>
                <c:pt idx="174">
                  <c:v>7.687426457841369E-2</c:v>
                </c:pt>
                <c:pt idx="175">
                  <c:v>7.2482328354422657E-2</c:v>
                </c:pt>
                <c:pt idx="176">
                  <c:v>9.8294647817850203E-2</c:v>
                </c:pt>
                <c:pt idx="177">
                  <c:v>9.8294647817850203E-2</c:v>
                </c:pt>
                <c:pt idx="178">
                  <c:v>9.8294647817850203E-2</c:v>
                </c:pt>
                <c:pt idx="179">
                  <c:v>8.9973061643025709E-2</c:v>
                </c:pt>
                <c:pt idx="180">
                  <c:v>9.5983108137565262E-2</c:v>
                </c:pt>
                <c:pt idx="181">
                  <c:v>9.9166092103391182E-2</c:v>
                </c:pt>
                <c:pt idx="182">
                  <c:v>9.9142208756804559E-2</c:v>
                </c:pt>
                <c:pt idx="183">
                  <c:v>9.7370021114286512E-2</c:v>
                </c:pt>
                <c:pt idx="184">
                  <c:v>9.7370021114286512E-2</c:v>
                </c:pt>
                <c:pt idx="185">
                  <c:v>9.7370021114286512E-2</c:v>
                </c:pt>
                <c:pt idx="186">
                  <c:v>9.7678230015474418E-2</c:v>
                </c:pt>
                <c:pt idx="187">
                  <c:v>9.667653754730153E-2</c:v>
                </c:pt>
                <c:pt idx="188">
                  <c:v>9.9604549187210692E-2</c:v>
                </c:pt>
                <c:pt idx="189">
                  <c:v>0.10969826884730452</c:v>
                </c:pt>
                <c:pt idx="190">
                  <c:v>7.3869241331143906E-2</c:v>
                </c:pt>
                <c:pt idx="191">
                  <c:v>7.3869241331143906E-2</c:v>
                </c:pt>
                <c:pt idx="192">
                  <c:v>7.3869241331143906E-2</c:v>
                </c:pt>
                <c:pt idx="193">
                  <c:v>8.5812268555613691E-2</c:v>
                </c:pt>
                <c:pt idx="194">
                  <c:v>9.382564582925014E-2</c:v>
                </c:pt>
                <c:pt idx="195">
                  <c:v>0.10553752991714106</c:v>
                </c:pt>
                <c:pt idx="196">
                  <c:v>0.11200986268483774</c:v>
                </c:pt>
                <c:pt idx="197">
                  <c:v>0.1084654873998015</c:v>
                </c:pt>
                <c:pt idx="198">
                  <c:v>0.1084654873998015</c:v>
                </c:pt>
                <c:pt idx="199">
                  <c:v>0.1084654873998015</c:v>
                </c:pt>
                <c:pt idx="200">
                  <c:v>9.4364997867016742E-2</c:v>
                </c:pt>
                <c:pt idx="201">
                  <c:v>6.2311488772471363E-2</c:v>
                </c:pt>
                <c:pt idx="202">
                  <c:v>7.7953022811195469E-2</c:v>
                </c:pt>
                <c:pt idx="203">
                  <c:v>8.9279578076041158E-2</c:v>
                </c:pt>
                <c:pt idx="204">
                  <c:v>0.1012996710651197</c:v>
                </c:pt>
                <c:pt idx="205">
                  <c:v>0.1012996710651197</c:v>
                </c:pt>
                <c:pt idx="206">
                  <c:v>0.1012996710651197</c:v>
                </c:pt>
                <c:pt idx="207">
                  <c:v>0.10222429776868353</c:v>
                </c:pt>
                <c:pt idx="208">
                  <c:v>9.4133854730438032E-2</c:v>
                </c:pt>
                <c:pt idx="209">
                  <c:v>8.2576102171765198E-2</c:v>
                </c:pt>
                <c:pt idx="210">
                  <c:v>8.1112123430434904E-2</c:v>
                </c:pt>
                <c:pt idx="211">
                  <c:v>7.8184165947774178E-2</c:v>
                </c:pt>
                <c:pt idx="212">
                  <c:v>6.9542835377832693E-2</c:v>
                </c:pt>
                <c:pt idx="213">
                  <c:v>6.9542835377832693E-2</c:v>
                </c:pt>
                <c:pt idx="214">
                  <c:v>6.9554370871762361E-2</c:v>
                </c:pt>
                <c:pt idx="215">
                  <c:v>6.4006664807628788E-2</c:v>
                </c:pt>
                <c:pt idx="216">
                  <c:v>5.8150695685059046E-2</c:v>
                </c:pt>
                <c:pt idx="217">
                  <c:v>6.5701786685537791E-2</c:v>
                </c:pt>
                <c:pt idx="218">
                  <c:v>7.3869241331143906E-2</c:v>
                </c:pt>
                <c:pt idx="219">
                  <c:v>7.3869241331143906E-2</c:v>
                </c:pt>
                <c:pt idx="220">
                  <c:v>7.3869241331143906E-2</c:v>
                </c:pt>
                <c:pt idx="221">
                  <c:v>8.427122404967434E-2</c:v>
                </c:pt>
                <c:pt idx="222">
                  <c:v>8.2730233700983438E-2</c:v>
                </c:pt>
                <c:pt idx="223">
                  <c:v>9.4442063631625925E-2</c:v>
                </c:pt>
                <c:pt idx="224">
                  <c:v>8.0033419354901547E-2</c:v>
                </c:pt>
                <c:pt idx="225">
                  <c:v>7.3561032429956014E-2</c:v>
                </c:pt>
                <c:pt idx="226">
                  <c:v>7.3561032429956014E-2</c:v>
                </c:pt>
                <c:pt idx="227">
                  <c:v>7.3561032429956014E-2</c:v>
                </c:pt>
                <c:pt idx="228">
                  <c:v>7.6720187206444024E-2</c:v>
                </c:pt>
                <c:pt idx="229">
                  <c:v>6.7936260601213688E-2</c:v>
                </c:pt>
                <c:pt idx="230">
                  <c:v>6.9785514008340932E-2</c:v>
                </c:pt>
                <c:pt idx="231">
                  <c:v>7.2405262589813765E-2</c:v>
                </c:pt>
                <c:pt idx="232">
                  <c:v>5.7765475176510678E-2</c:v>
                </c:pt>
                <c:pt idx="233">
                  <c:v>5.7765475176510678E-2</c:v>
                </c:pt>
                <c:pt idx="234">
                  <c:v>5.7765475176510678E-2</c:v>
                </c:pt>
                <c:pt idx="235">
                  <c:v>6.1695125127344139E-2</c:v>
                </c:pt>
                <c:pt idx="236">
                  <c:v>6.9708448243731735E-2</c:v>
                </c:pt>
                <c:pt idx="237">
                  <c:v>8.5658191183644025E-2</c:v>
                </c:pt>
                <c:pt idx="238">
                  <c:v>8.5966400084831918E-2</c:v>
                </c:pt>
                <c:pt idx="239">
                  <c:v>8.5195850753238031E-2</c:v>
                </c:pt>
                <c:pt idx="240">
                  <c:v>8.5195850753238031E-2</c:v>
                </c:pt>
                <c:pt idx="241">
                  <c:v>8.5195850753238031E-2</c:v>
                </c:pt>
                <c:pt idx="242">
                  <c:v>7.8107100183165273E-2</c:v>
                </c:pt>
                <c:pt idx="243">
                  <c:v>9.3800246079705552E-2</c:v>
                </c:pt>
                <c:pt idx="244">
                  <c:v>9.382564582925014E-2</c:v>
                </c:pt>
                <c:pt idx="245">
                  <c:v>9.6214251274143972E-2</c:v>
                </c:pt>
                <c:pt idx="246">
                  <c:v>9.9527483422601648E-2</c:v>
                </c:pt>
                <c:pt idx="247">
                  <c:v>9.9527483422601648E-2</c:v>
                </c:pt>
                <c:pt idx="248">
                  <c:v>9.9527483422601648E-2</c:v>
                </c:pt>
                <c:pt idx="249">
                  <c:v>0.10233521181360232</c:v>
                </c:pt>
                <c:pt idx="250">
                  <c:v>0.10230130937604415</c:v>
                </c:pt>
                <c:pt idx="251">
                  <c:v>0.10399648541120171</c:v>
                </c:pt>
                <c:pt idx="252">
                  <c:v>0.10384235388198348</c:v>
                </c:pt>
                <c:pt idx="253">
                  <c:v>9.9989769695759206E-2</c:v>
                </c:pt>
                <c:pt idx="254">
                  <c:v>9.9989769695759206E-2</c:v>
                </c:pt>
                <c:pt idx="255">
                  <c:v>9.9989769695759206E-2</c:v>
                </c:pt>
                <c:pt idx="256">
                  <c:v>0.10083733063471371</c:v>
                </c:pt>
                <c:pt idx="257">
                  <c:v>7.9956353590292503E-2</c:v>
                </c:pt>
                <c:pt idx="258">
                  <c:v>8.0187496726871213E-2</c:v>
                </c:pt>
                <c:pt idx="259">
                  <c:v>7.1326558514280408E-2</c:v>
                </c:pt>
                <c:pt idx="260">
                  <c:v>8.1882618604780355E-2</c:v>
                </c:pt>
                <c:pt idx="261">
                  <c:v>8.1882618604780355E-2</c:v>
                </c:pt>
                <c:pt idx="262">
                  <c:v>8.1882618604780355E-2</c:v>
                </c:pt>
                <c:pt idx="263">
                  <c:v>9.1128831483168249E-2</c:v>
                </c:pt>
                <c:pt idx="264">
                  <c:v>7.1403624278889313E-2</c:v>
                </c:pt>
                <c:pt idx="265">
                  <c:v>7.9417001552525901E-2</c:v>
                </c:pt>
                <c:pt idx="266">
                  <c:v>7.9494013159886523E-2</c:v>
                </c:pt>
                <c:pt idx="267">
                  <c:v>9.3440371163453051E-2</c:v>
                </c:pt>
                <c:pt idx="268">
                  <c:v>9.3440371163453051E-2</c:v>
                </c:pt>
                <c:pt idx="269">
                  <c:v>9.3440371163453051E-2</c:v>
                </c:pt>
                <c:pt idx="270">
                  <c:v>9.6599525939941061E-2</c:v>
                </c:pt>
                <c:pt idx="271">
                  <c:v>8.9510775369868303E-2</c:v>
                </c:pt>
                <c:pt idx="272">
                  <c:v>6.9631436636371266E-2</c:v>
                </c:pt>
                <c:pt idx="273">
                  <c:v>6.4975971241201191E-2</c:v>
                </c:pt>
                <c:pt idx="274">
                  <c:v>6.5008303118553101E-2</c:v>
                </c:pt>
                <c:pt idx="275">
                  <c:v>6.5008303118553101E-2</c:v>
                </c:pt>
                <c:pt idx="276">
                  <c:v>6.5008303118553101E-2</c:v>
                </c:pt>
                <c:pt idx="277">
                  <c:v>5.3989956754895589E-2</c:v>
                </c:pt>
                <c:pt idx="278">
                  <c:v>5.36046820890985E-2</c:v>
                </c:pt>
                <c:pt idx="279">
                  <c:v>5.3065330051331898E-2</c:v>
                </c:pt>
                <c:pt idx="280">
                  <c:v>8.5966400084831918E-2</c:v>
                </c:pt>
                <c:pt idx="281">
                  <c:v>8.5581125419034829E-2</c:v>
                </c:pt>
                <c:pt idx="282">
                  <c:v>8.5581125419034829E-2</c:v>
                </c:pt>
                <c:pt idx="283">
                  <c:v>8.5581125419034829E-2</c:v>
                </c:pt>
                <c:pt idx="284">
                  <c:v>7.5410285837083257E-2</c:v>
                </c:pt>
                <c:pt idx="285">
                  <c:v>6.5393577784349899E-2</c:v>
                </c:pt>
                <c:pt idx="286">
                  <c:v>7.7567748145398518E-2</c:v>
                </c:pt>
                <c:pt idx="287">
                  <c:v>9.3209228026874341E-2</c:v>
                </c:pt>
                <c:pt idx="288">
                  <c:v>0.10006683546036825</c:v>
                </c:pt>
                <c:pt idx="289">
                  <c:v>0.10006683546036825</c:v>
                </c:pt>
                <c:pt idx="290">
                  <c:v>0.10006683546036825</c:v>
                </c:pt>
                <c:pt idx="291">
                  <c:v>9.9835692323789541E-2</c:v>
                </c:pt>
                <c:pt idx="292">
                  <c:v>0.11093110445205624</c:v>
                </c:pt>
                <c:pt idx="293">
                  <c:v>0.11324269828958961</c:v>
                </c:pt>
                <c:pt idx="294">
                  <c:v>0.11170165378365013</c:v>
                </c:pt>
                <c:pt idx="295">
                  <c:v>0.11840512968792609</c:v>
                </c:pt>
                <c:pt idx="296">
                  <c:v>0.11840512968792609</c:v>
                </c:pt>
                <c:pt idx="297">
                  <c:v>0.11840512968792609</c:v>
                </c:pt>
                <c:pt idx="298">
                  <c:v>0.11593945847842278</c:v>
                </c:pt>
                <c:pt idx="299">
                  <c:v>0.12580208915918648</c:v>
                </c:pt>
                <c:pt idx="300">
                  <c:v>0.10877369630098954</c:v>
                </c:pt>
                <c:pt idx="301">
                  <c:v>9.7215943742316846E-2</c:v>
                </c:pt>
                <c:pt idx="302">
                  <c:v>0.11000647774849255</c:v>
                </c:pt>
                <c:pt idx="303">
                  <c:v>0.11000647774849255</c:v>
                </c:pt>
                <c:pt idx="304">
                  <c:v>0.10999494225456302</c:v>
                </c:pt>
                <c:pt idx="305">
                  <c:v>0.10823429010597437</c:v>
                </c:pt>
                <c:pt idx="306">
                  <c:v>0.11409025922854397</c:v>
                </c:pt>
                <c:pt idx="307">
                  <c:v>0.11116230174588339</c:v>
                </c:pt>
                <c:pt idx="308">
                  <c:v>0.1402877992005199</c:v>
                </c:pt>
                <c:pt idx="309">
                  <c:v>0.14498794432569867</c:v>
                </c:pt>
                <c:pt idx="310">
                  <c:v>0.14498794432569867</c:v>
                </c:pt>
                <c:pt idx="311">
                  <c:v>0.14498794432569867</c:v>
                </c:pt>
                <c:pt idx="312">
                  <c:v>0.14498794432569867</c:v>
                </c:pt>
                <c:pt idx="313">
                  <c:v>0.131041586322132</c:v>
                </c:pt>
                <c:pt idx="314">
                  <c:v>0.14329282244778965</c:v>
                </c:pt>
                <c:pt idx="315">
                  <c:v>0.13381546643282277</c:v>
                </c:pt>
                <c:pt idx="316">
                  <c:v>0.1451420758549169</c:v>
                </c:pt>
                <c:pt idx="317">
                  <c:v>0.1451420758549169</c:v>
                </c:pt>
                <c:pt idx="318">
                  <c:v>0.1451420758549169</c:v>
                </c:pt>
                <c:pt idx="319">
                  <c:v>0.14753068129981073</c:v>
                </c:pt>
                <c:pt idx="320">
                  <c:v>0.16717882273948034</c:v>
                </c:pt>
                <c:pt idx="321">
                  <c:v>0.16586897552736829</c:v>
                </c:pt>
                <c:pt idx="322">
                  <c:v>0.15515878390765012</c:v>
                </c:pt>
                <c:pt idx="323">
                  <c:v>0.16309509541667752</c:v>
                </c:pt>
                <c:pt idx="324">
                  <c:v>0.16309509541667752</c:v>
                </c:pt>
                <c:pt idx="325">
                  <c:v>0.16309509541667752</c:v>
                </c:pt>
                <c:pt idx="326">
                  <c:v>0.15431122296869559</c:v>
                </c:pt>
                <c:pt idx="327">
                  <c:v>0.11840512968792609</c:v>
                </c:pt>
                <c:pt idx="328">
                  <c:v>0.10985240037652261</c:v>
                </c:pt>
                <c:pt idx="329">
                  <c:v>0.12718900213590772</c:v>
                </c:pt>
                <c:pt idx="330">
                  <c:v>9.9604549187210692E-2</c:v>
                </c:pt>
                <c:pt idx="331">
                  <c:v>9.9604549187210692E-2</c:v>
                </c:pt>
                <c:pt idx="332">
                  <c:v>9.9604549187210692E-2</c:v>
                </c:pt>
                <c:pt idx="333">
                  <c:v>9.6445394410722821E-2</c:v>
                </c:pt>
                <c:pt idx="334">
                  <c:v>0.10638736546053223</c:v>
                </c:pt>
                <c:pt idx="335">
                  <c:v>7.9494013159886523E-2</c:v>
                </c:pt>
                <c:pt idx="336">
                  <c:v>5.9152388153231927E-2</c:v>
                </c:pt>
                <c:pt idx="337">
                  <c:v>4.8904536963919866E-2</c:v>
                </c:pt>
                <c:pt idx="338">
                  <c:v>4.8904536963919866E-2</c:v>
                </c:pt>
                <c:pt idx="339">
                  <c:v>4.8904536963919866E-2</c:v>
                </c:pt>
                <c:pt idx="340">
                  <c:v>4.0968171297643893E-2</c:v>
                </c:pt>
                <c:pt idx="341">
                  <c:v>8.8200874000507523E-2</c:v>
                </c:pt>
                <c:pt idx="342">
                  <c:v>7.9956353590292503E-2</c:v>
                </c:pt>
                <c:pt idx="343">
                  <c:v>9.7215943742316846E-2</c:v>
                </c:pt>
                <c:pt idx="344">
                  <c:v>8.3192519974140997E-2</c:v>
                </c:pt>
                <c:pt idx="345">
                  <c:v>8.3192519974140997E-2</c:v>
                </c:pt>
                <c:pt idx="346">
                  <c:v>8.3192519974140997E-2</c:v>
                </c:pt>
                <c:pt idx="347">
                  <c:v>8.5735202791004786E-2</c:v>
                </c:pt>
                <c:pt idx="348">
                  <c:v>6.3698455906440896E-2</c:v>
                </c:pt>
                <c:pt idx="349">
                  <c:v>5.0984933507625813E-2</c:v>
                </c:pt>
                <c:pt idx="350">
                  <c:v>6.56247209209289E-2</c:v>
                </c:pt>
                <c:pt idx="351">
                  <c:v>3.8348422716171199E-2</c:v>
                </c:pt>
                <c:pt idx="352">
                  <c:v>3.8348422716171199E-2</c:v>
                </c:pt>
                <c:pt idx="353">
                  <c:v>3.8348422716171199E-2</c:v>
                </c:pt>
                <c:pt idx="354">
                  <c:v>3.927304941973489E-2</c:v>
                </c:pt>
                <c:pt idx="355">
                  <c:v>4.5360161678883487E-2</c:v>
                </c:pt>
                <c:pt idx="356">
                  <c:v>6.631820448791359E-2</c:v>
                </c:pt>
                <c:pt idx="357">
                  <c:v>6.631820448791359E-2</c:v>
                </c:pt>
                <c:pt idx="358">
                  <c:v>7.3021680392189411E-2</c:v>
                </c:pt>
                <c:pt idx="359">
                  <c:v>7.3021680392189411E-2</c:v>
                </c:pt>
                <c:pt idx="360">
                  <c:v>7.3021680392189411E-2</c:v>
                </c:pt>
                <c:pt idx="361">
                  <c:v>7.3021680392189411E-2</c:v>
                </c:pt>
                <c:pt idx="362">
                  <c:v>8.6197543221410627E-2</c:v>
                </c:pt>
                <c:pt idx="363">
                  <c:v>9.1822315050153092E-2</c:v>
                </c:pt>
                <c:pt idx="364">
                  <c:v>7.3561032429956014E-2</c:v>
                </c:pt>
                <c:pt idx="365">
                  <c:v>7.962659010420324E-2</c:v>
                </c:pt>
                <c:pt idx="366">
                  <c:v>7.962659010420324E-2</c:v>
                </c:pt>
                <c:pt idx="367">
                  <c:v>7.962659010420324E-2</c:v>
                </c:pt>
                <c:pt idx="368">
                  <c:v>7.9648144689104611E-2</c:v>
                </c:pt>
                <c:pt idx="369">
                  <c:v>7.6720187206444024E-2</c:v>
                </c:pt>
                <c:pt idx="370">
                  <c:v>7.5795560502880333E-2</c:v>
                </c:pt>
                <c:pt idx="371">
                  <c:v>5.722612313874393E-2</c:v>
                </c:pt>
                <c:pt idx="372">
                  <c:v>2.2398733933507487E-2</c:v>
                </c:pt>
                <c:pt idx="373">
                  <c:v>2.2398733933507487E-2</c:v>
                </c:pt>
                <c:pt idx="374">
                  <c:v>2.2398733933507487E-2</c:v>
                </c:pt>
                <c:pt idx="375">
                  <c:v>2.7407087959874163E-2</c:v>
                </c:pt>
                <c:pt idx="376">
                  <c:v>-1.5125415460562125E-2</c:v>
                </c:pt>
                <c:pt idx="377">
                  <c:v>8.7605848311287111E-3</c:v>
                </c:pt>
                <c:pt idx="378">
                  <c:v>2.7946439997640765E-2</c:v>
                </c:pt>
                <c:pt idx="379">
                  <c:v>1.4077147758683423E-2</c:v>
                </c:pt>
                <c:pt idx="380">
                  <c:v>1.4077147758683423E-2</c:v>
                </c:pt>
                <c:pt idx="381">
                  <c:v>1.4077147758683423E-2</c:v>
                </c:pt>
                <c:pt idx="382">
                  <c:v>-1.4817206559374369E-2</c:v>
                </c:pt>
                <c:pt idx="383">
                  <c:v>-1.7745164042034956E-2</c:v>
                </c:pt>
                <c:pt idx="384">
                  <c:v>-2.8070135153204775E-2</c:v>
                </c:pt>
                <c:pt idx="385">
                  <c:v>-2.3755210536574367E-2</c:v>
                </c:pt>
                <c:pt idx="386">
                  <c:v>-2.1597748228259234E-2</c:v>
                </c:pt>
                <c:pt idx="387">
                  <c:v>-2.1597748228259234E-2</c:v>
                </c:pt>
                <c:pt idx="388">
                  <c:v>-2.1597748228259234E-2</c:v>
                </c:pt>
                <c:pt idx="389">
                  <c:v>-5.8813742878389516E-2</c:v>
                </c:pt>
                <c:pt idx="390">
                  <c:v>-0.1076645016945534</c:v>
                </c:pt>
                <c:pt idx="391">
                  <c:v>-9.7108387446804875E-2</c:v>
                </c:pt>
                <c:pt idx="392">
                  <c:v>-7.5071640562241124E-2</c:v>
                </c:pt>
                <c:pt idx="393">
                  <c:v>-7.938651102162296E-2</c:v>
                </c:pt>
                <c:pt idx="394">
                  <c:v>-7.938651102162296E-2</c:v>
                </c:pt>
                <c:pt idx="395">
                  <c:v>-7.938651102162296E-2</c:v>
                </c:pt>
                <c:pt idx="396">
                  <c:v>-5.3665121578419531E-2</c:v>
                </c:pt>
                <c:pt idx="397">
                  <c:v>-5.3651257322804756E-2</c:v>
                </c:pt>
                <c:pt idx="398">
                  <c:v>-2.9071773464128939E-2</c:v>
                </c:pt>
                <c:pt idx="399">
                  <c:v>-2.9996400167692484E-2</c:v>
                </c:pt>
                <c:pt idx="400">
                  <c:v>-9.0636054679107902E-2</c:v>
                </c:pt>
                <c:pt idx="401">
                  <c:v>-9.0636054679107902E-2</c:v>
                </c:pt>
                <c:pt idx="402">
                  <c:v>-9.0636054679107902E-2</c:v>
                </c:pt>
                <c:pt idx="403">
                  <c:v>-9.1791824519250151E-2</c:v>
                </c:pt>
                <c:pt idx="404">
                  <c:v>-7.2528903588128912E-2</c:v>
                </c:pt>
                <c:pt idx="405">
                  <c:v>-9.1714812911889543E-2</c:v>
                </c:pt>
                <c:pt idx="406">
                  <c:v>-4.7641210828265203E-2</c:v>
                </c:pt>
                <c:pt idx="407">
                  <c:v>-6.6287768114259224E-2</c:v>
                </c:pt>
                <c:pt idx="408">
                  <c:v>-6.6287768114259224E-2</c:v>
                </c:pt>
                <c:pt idx="409">
                  <c:v>-6.6287768114259224E-2</c:v>
                </c:pt>
                <c:pt idx="410">
                  <c:v>-8.4163721911410791E-2</c:v>
                </c:pt>
                <c:pt idx="411">
                  <c:v>-7.137313374798665E-2</c:v>
                </c:pt>
                <c:pt idx="412">
                  <c:v>-8.3547304109035145E-2</c:v>
                </c:pt>
                <c:pt idx="413">
                  <c:v>-8.4240787676019974E-2</c:v>
                </c:pt>
                <c:pt idx="414">
                  <c:v>-0.10697101812756842</c:v>
                </c:pt>
                <c:pt idx="415">
                  <c:v>-0.10697101812756842</c:v>
                </c:pt>
                <c:pt idx="416">
                  <c:v>-0.10697101812756842</c:v>
                </c:pt>
                <c:pt idx="417">
                  <c:v>-0.10697101812756842</c:v>
                </c:pt>
                <c:pt idx="418">
                  <c:v>-0.13147349037888362</c:v>
                </c:pt>
                <c:pt idx="419">
                  <c:v>-0.12769791780001996</c:v>
                </c:pt>
                <c:pt idx="420">
                  <c:v>-0.13756054848078364</c:v>
                </c:pt>
                <c:pt idx="421">
                  <c:v>-0.16121540563589576</c:v>
                </c:pt>
                <c:pt idx="422">
                  <c:v>-0.16121540563589576</c:v>
                </c:pt>
                <c:pt idx="423">
                  <c:v>-0.16121540563589576</c:v>
                </c:pt>
                <c:pt idx="424">
                  <c:v>-0.10661195557004319</c:v>
                </c:pt>
                <c:pt idx="425">
                  <c:v>-0.1065857976190199</c:v>
                </c:pt>
                <c:pt idx="426">
                  <c:v>-0.1082809194969289</c:v>
                </c:pt>
                <c:pt idx="427">
                  <c:v>-0.12099444189574413</c:v>
                </c:pt>
                <c:pt idx="428" formatCode="0.0%">
                  <c:v>-0.12276662953826233</c:v>
                </c:pt>
                <c:pt idx="429" formatCode="0.0%">
                  <c:v>-0.12276662953826233</c:v>
                </c:pt>
                <c:pt idx="430" formatCode="0.0%">
                  <c:v>-0.12276662953826233</c:v>
                </c:pt>
                <c:pt idx="431" formatCode="0.0%">
                  <c:v>-0.15027407087959888</c:v>
                </c:pt>
                <c:pt idx="432" formatCode="0.0%">
                  <c:v>-0.18086360123281409</c:v>
                </c:pt>
                <c:pt idx="433" formatCode="0.0%">
                  <c:v>-0.21391874863828364</c:v>
                </c:pt>
                <c:pt idx="434" formatCode="0.0%">
                  <c:v>-0.18972453944540491</c:v>
                </c:pt>
                <c:pt idx="435" formatCode="0.0%">
                  <c:v>-0.1929607058292534</c:v>
                </c:pt>
                <c:pt idx="436" formatCode="0.0%">
                  <c:v>-0.1929607058292534</c:v>
                </c:pt>
                <c:pt idx="437" formatCode="0.0%">
                  <c:v>-0.1929607058292534</c:v>
                </c:pt>
                <c:pt idx="438" formatCode="0.0%">
                  <c:v>-0.20020358792854437</c:v>
                </c:pt>
                <c:pt idx="439" formatCode="0.0%">
                  <c:v>-0.21361053973709587</c:v>
                </c:pt>
                <c:pt idx="440" formatCode="0.0%">
                  <c:v>-0.21885009105728984</c:v>
                </c:pt>
                <c:pt idx="441" formatCode="0.0%">
                  <c:v>-0.16398928574658669</c:v>
                </c:pt>
                <c:pt idx="442" formatCode="0.0%">
                  <c:v>-0.16337286794421091</c:v>
                </c:pt>
                <c:pt idx="443" formatCode="0.0%">
                  <c:v>-0.16337286794421091</c:v>
                </c:pt>
                <c:pt idx="444" formatCode="0.0%">
                  <c:v>-0.16337286794421091</c:v>
                </c:pt>
                <c:pt idx="445" formatCode="0.0%">
                  <c:v>-0.12685035686106544</c:v>
                </c:pt>
                <c:pt idx="446" formatCode="0.0%">
                  <c:v>-0.13147349037888362</c:v>
                </c:pt>
                <c:pt idx="447" formatCode="0.0%">
                  <c:v>-0.10473654421189266</c:v>
                </c:pt>
                <c:pt idx="448" formatCode="0.0%">
                  <c:v>-0.11367454818909266</c:v>
                </c:pt>
                <c:pt idx="449" formatCode="0.0%">
                  <c:v>-0.12762090619265948</c:v>
                </c:pt>
                <c:pt idx="450" formatCode="0.0%">
                  <c:v>-0.12762090619265948</c:v>
                </c:pt>
                <c:pt idx="451" formatCode="0.0%">
                  <c:v>-0.12762090619265948</c:v>
                </c:pt>
                <c:pt idx="452" formatCode="0.0%">
                  <c:v>-0.1272356315268624</c:v>
                </c:pt>
                <c:pt idx="453" formatCode="0.0%">
                  <c:v>-0.11560081320358066</c:v>
                </c:pt>
                <c:pt idx="454" formatCode="0.0%">
                  <c:v>-9.4950979295738161E-2</c:v>
                </c:pt>
                <c:pt idx="455" formatCode="0.0%">
                  <c:v>-0.11534269975725095</c:v>
                </c:pt>
                <c:pt idx="456" formatCode="0.0%">
                  <c:v>-0.11536967006700166</c:v>
                </c:pt>
                <c:pt idx="457" formatCode="0.0%">
                  <c:v>-0.11536967006700166</c:v>
                </c:pt>
                <c:pt idx="458" formatCode="0.0%">
                  <c:v>-0.11536967006700166</c:v>
                </c:pt>
                <c:pt idx="459" formatCode="0.0%">
                  <c:v>-0.10951375510168049</c:v>
                </c:pt>
                <c:pt idx="460" formatCode="0.0%">
                  <c:v>-8.4857205478395634E-2</c:v>
                </c:pt>
                <c:pt idx="461" formatCode="0.0%">
                  <c:v>-8.4934271243004816E-2</c:v>
                </c:pt>
                <c:pt idx="462" formatCode="0.0%">
                  <c:v>-0.13555721770168661</c:v>
                </c:pt>
                <c:pt idx="463" formatCode="0.0%">
                  <c:v>-0.13093408418386843</c:v>
                </c:pt>
                <c:pt idx="464" formatCode="0.0%">
                  <c:v>-0.13093408418386843</c:v>
                </c:pt>
                <c:pt idx="465" formatCode="0.0%">
                  <c:v>-0.13093408418386843</c:v>
                </c:pt>
                <c:pt idx="466" formatCode="0.0%">
                  <c:v>-0.14911830103945634</c:v>
                </c:pt>
                <c:pt idx="467" formatCode="0.0%">
                  <c:v>-0.15720874407770183</c:v>
                </c:pt>
                <c:pt idx="468" formatCode="0.0%">
                  <c:v>-0.1397180107890989</c:v>
                </c:pt>
                <c:pt idx="469" formatCode="0.0%">
                  <c:v>-0.1397180107890989</c:v>
                </c:pt>
                <c:pt idx="470" formatCode="0.0%">
                  <c:v>-0.1397180107890989</c:v>
                </c:pt>
                <c:pt idx="471" formatCode="0.0%">
                  <c:v>-0.1397180107890989</c:v>
                </c:pt>
                <c:pt idx="472" formatCode="0.0%">
                  <c:v>-0.1397180107890989</c:v>
                </c:pt>
                <c:pt idx="473" formatCode="0.0%">
                  <c:v>-0.1397180107890989</c:v>
                </c:pt>
                <c:pt idx="474" formatCode="0.0%">
                  <c:v>-0.1507363571527563</c:v>
                </c:pt>
                <c:pt idx="475" formatCode="0.0%">
                  <c:v>-0.16691724322924728</c:v>
                </c:pt>
                <c:pt idx="476" formatCode="0.0%">
                  <c:v>-0.17454534583708664</c:v>
                </c:pt>
                <c:pt idx="477" formatCode="0.0%">
                  <c:v>-0.17978484300003217</c:v>
                </c:pt>
                <c:pt idx="478" formatCode="0.0%">
                  <c:v>-0.17978484300003217</c:v>
                </c:pt>
                <c:pt idx="479" formatCode="0.0%">
                  <c:v>-0.17978484300003217</c:v>
                </c:pt>
                <c:pt idx="480" formatCode="0.0%">
                  <c:v>-0.20474960152450478</c:v>
                </c:pt>
                <c:pt idx="481" formatCode="0.0%">
                  <c:v>-0.22385844508365652</c:v>
                </c:pt>
                <c:pt idx="482" formatCode="0.0%">
                  <c:v>-0.22282745354404768</c:v>
                </c:pt>
                <c:pt idx="483" formatCode="0.0%">
                  <c:v>-0.20965911857236733</c:v>
                </c:pt>
                <c:pt idx="484" formatCode="0.0%">
                  <c:v>-0.20820190948709894</c:v>
                </c:pt>
                <c:pt idx="485" formatCode="0.0%">
                  <c:v>-0.18333956231953125</c:v>
                </c:pt>
                <c:pt idx="486" formatCode="0.0%">
                  <c:v>-0.18333956231953125</c:v>
                </c:pt>
                <c:pt idx="487" formatCode="0.0%">
                  <c:v>-0.18334302838343489</c:v>
                </c:pt>
                <c:pt idx="488" formatCode="0.0%">
                  <c:v>-0.20734465440066374</c:v>
                </c:pt>
                <c:pt idx="489" formatCode="0.0%">
                  <c:v>-0.20434445114851016</c:v>
                </c:pt>
                <c:pt idx="490" formatCode="0.0%">
                  <c:v>-0.23177493503973437</c:v>
                </c:pt>
                <c:pt idx="491" formatCode="0.0%">
                  <c:v>-0.22706032992920724</c:v>
                </c:pt>
                <c:pt idx="492" formatCode="0.0%">
                  <c:v>-0.22706032992920724</c:v>
                </c:pt>
                <c:pt idx="493" formatCode="0.0%">
                  <c:v>-0.22706032992920724</c:v>
                </c:pt>
                <c:pt idx="494" formatCode="0.0%">
                  <c:v>-0.27934969492409567</c:v>
                </c:pt>
                <c:pt idx="495" formatCode="0.0%">
                  <c:v>-0.27574942935861185</c:v>
                </c:pt>
                <c:pt idx="496" formatCode="0.0%">
                  <c:v>-0.29495077349819382</c:v>
                </c:pt>
                <c:pt idx="497" formatCode="0.0%">
                  <c:v>-0.29640803674071065</c:v>
                </c:pt>
                <c:pt idx="498" formatCode="0.0%">
                  <c:v>-0.29640803674071065</c:v>
                </c:pt>
                <c:pt idx="499" formatCode="0.0%">
                  <c:v>-0.29640803674071065</c:v>
                </c:pt>
                <c:pt idx="500" formatCode="0.0%">
                  <c:v>-0.29640803674071065</c:v>
                </c:pt>
                <c:pt idx="501" formatCode="0.0%">
                  <c:v>-0.26889182192511812</c:v>
                </c:pt>
                <c:pt idx="502" formatCode="0.0%">
                  <c:v>-0.27240635656623324</c:v>
                </c:pt>
                <c:pt idx="503" formatCode="0.0%">
                  <c:v>-0.27043481609200326</c:v>
                </c:pt>
                <c:pt idx="504" formatCode="0.0%">
                  <c:v>-0.277463885374234</c:v>
                </c:pt>
                <c:pt idx="505" formatCode="0.0%">
                  <c:v>-0.2958937053517488</c:v>
                </c:pt>
                <c:pt idx="506" formatCode="0.0%">
                  <c:v>-0.2958937053517488</c:v>
                </c:pt>
                <c:pt idx="507" formatCode="0.0%">
                  <c:v>-0.2958937053517488</c:v>
                </c:pt>
                <c:pt idx="508" formatCode="0.0%">
                  <c:v>-0.27626376074757375</c:v>
                </c:pt>
                <c:pt idx="509" formatCode="0.0%">
                  <c:v>-0.29932250906849589</c:v>
                </c:pt>
                <c:pt idx="510" formatCode="0.0%">
                  <c:v>-0.31998111645059468</c:v>
                </c:pt>
                <c:pt idx="511" formatCode="0.0%">
                  <c:v>-0.31998111645059468</c:v>
                </c:pt>
                <c:pt idx="512" formatCode="0.0%">
                  <c:v>-0.31998111645059468</c:v>
                </c:pt>
                <c:pt idx="513" formatCode="0.0%">
                  <c:v>-0.31998111645059468</c:v>
                </c:pt>
                <c:pt idx="514" formatCode="0.0%">
                  <c:v>-0.31998111645059468</c:v>
                </c:pt>
                <c:pt idx="515" formatCode="0.0%">
                  <c:v>-0.27232062564186493</c:v>
                </c:pt>
                <c:pt idx="516" formatCode="0.0%">
                  <c:v>-0.26477982451860027</c:v>
                </c:pt>
                <c:pt idx="517" formatCode="0.0%">
                  <c:v>-0.26477727912792104</c:v>
                </c:pt>
                <c:pt idx="518" formatCode="0.0%">
                  <c:v>-0.25054767871472278</c:v>
                </c:pt>
                <c:pt idx="519" formatCode="0.0%">
                  <c:v>-0.26409148589022252</c:v>
                </c:pt>
                <c:pt idx="520" formatCode="0.0%">
                  <c:v>-0.26409148589022252</c:v>
                </c:pt>
                <c:pt idx="521" formatCode="0.0%">
                  <c:v>-0.26409148589022252</c:v>
                </c:pt>
                <c:pt idx="522" formatCode="0.0%">
                  <c:v>-0.26409148589022252</c:v>
                </c:pt>
                <c:pt idx="523" formatCode="0.0%">
                  <c:v>-0.25294787381079475</c:v>
                </c:pt>
                <c:pt idx="524" formatCode="0.0%">
                  <c:v>-0.26349147773414089</c:v>
                </c:pt>
                <c:pt idx="525" formatCode="0.0%">
                  <c:v>-0.26529155635963436</c:v>
                </c:pt>
                <c:pt idx="526" formatCode="0.0%">
                  <c:v>-0.25286214288642639</c:v>
                </c:pt>
                <c:pt idx="527" formatCode="0.0%">
                  <c:v>-0.25286214288642639</c:v>
                </c:pt>
                <c:pt idx="528" formatCode="0.0%">
                  <c:v>-0.25286214288642639</c:v>
                </c:pt>
                <c:pt idx="529" formatCode="0.0%">
                  <c:v>-0.24446154128604719</c:v>
                </c:pt>
                <c:pt idx="530" formatCode="0.0%">
                  <c:v>-0.3234099201673416</c:v>
                </c:pt>
                <c:pt idx="531" formatCode="0.0%">
                  <c:v>-0.32529578387445185</c:v>
                </c:pt>
                <c:pt idx="532" formatCode="0.0%">
                  <c:v>-0.32383852063193502</c:v>
                </c:pt>
                <c:pt idx="533" formatCode="0.0%">
                  <c:v>-0.34535432894322043</c:v>
                </c:pt>
                <c:pt idx="534" formatCode="0.0%">
                  <c:v>-0.34535432894322043</c:v>
                </c:pt>
                <c:pt idx="535" formatCode="0.0%">
                  <c:v>-0.34535432894322043</c:v>
                </c:pt>
                <c:pt idx="536" formatCode="0.0%">
                  <c:v>-0.33626798826239124</c:v>
                </c:pt>
                <c:pt idx="537" formatCode="0.0%">
                  <c:v>-0.31987827183570178</c:v>
                </c:pt>
                <c:pt idx="538" formatCode="0.0%">
                  <c:v>-0.31989538552622621</c:v>
                </c:pt>
                <c:pt idx="539" formatCode="0.0%">
                  <c:v>-0.33009611990934729</c:v>
                </c:pt>
                <c:pt idx="540" formatCode="0.0%">
                  <c:v>-0.32572438433904521</c:v>
                </c:pt>
                <c:pt idx="541" formatCode="0.0%">
                  <c:v>-0.32572438433904521</c:v>
                </c:pt>
                <c:pt idx="542" formatCode="0.0%">
                  <c:v>-0.32572438433904521</c:v>
                </c:pt>
                <c:pt idx="543" formatCode="0.0%">
                  <c:v>-0.28835035883780491</c:v>
                </c:pt>
                <c:pt idx="544" formatCode="0.0%">
                  <c:v>-0.29100763839248517</c:v>
                </c:pt>
                <c:pt idx="545" formatCode="0.0%">
                  <c:v>-0.28406430003462274</c:v>
                </c:pt>
                <c:pt idx="546" formatCode="0.0%">
                  <c:v>-0.33318373296057258</c:v>
                </c:pt>
                <c:pt idx="547" formatCode="0.0%">
                  <c:v>-0.33318205408586921</c:v>
                </c:pt>
                <c:pt idx="548" formatCode="0.0%">
                  <c:v>-0.33318205408586921</c:v>
                </c:pt>
                <c:pt idx="549" formatCode="0.0%">
                  <c:v>-0.33318205408586921</c:v>
                </c:pt>
                <c:pt idx="550" formatCode="0.0%">
                  <c:v>-0.30866604252243007</c:v>
                </c:pt>
                <c:pt idx="551" formatCode="0.0%">
                  <c:v>-0.30935178160288018</c:v>
                </c:pt>
                <c:pt idx="552" formatCode="0.0%">
                  <c:v>-0.30429430695212817</c:v>
                </c:pt>
                <c:pt idx="553" formatCode="0.0%">
                  <c:v>-0.27326355749542003</c:v>
                </c:pt>
                <c:pt idx="554" formatCode="0.0%">
                  <c:v>-0.26512014866814598</c:v>
                </c:pt>
                <c:pt idx="555" formatCode="0.0%">
                  <c:v>-0.26512014866814598</c:v>
                </c:pt>
                <c:pt idx="556" formatCode="0.0%">
                  <c:v>-0.26512014866814598</c:v>
                </c:pt>
                <c:pt idx="557" formatCode="0.0%">
                  <c:v>-0.27223494887474514</c:v>
                </c:pt>
                <c:pt idx="558" formatCode="0.0%">
                  <c:v>-0.27960688769720077</c:v>
                </c:pt>
                <c:pt idx="559" formatCode="0.0%">
                  <c:v>-0.28835035883780491</c:v>
                </c:pt>
                <c:pt idx="560" formatCode="0.0%">
                  <c:v>-0.29923683230137599</c:v>
                </c:pt>
                <c:pt idx="561" formatCode="0.0%">
                  <c:v>-0.30017970999768268</c:v>
                </c:pt>
                <c:pt idx="562" formatCode="0.0%">
                  <c:v>-0.30017970999768268</c:v>
                </c:pt>
                <c:pt idx="563" formatCode="0.0%">
                  <c:v>-0.30017970999768268</c:v>
                </c:pt>
                <c:pt idx="564" formatCode="0.0%">
                  <c:v>-0.29340783348855709</c:v>
                </c:pt>
                <c:pt idx="565" formatCode="0.0%">
                  <c:v>-0.26692028145088786</c:v>
                </c:pt>
                <c:pt idx="566" formatCode="0.0%">
                  <c:v>-0.27137774794555825</c:v>
                </c:pt>
                <c:pt idx="567" formatCode="0.0%">
                  <c:v>-0.24771893731130604</c:v>
                </c:pt>
                <c:pt idx="568" formatCode="0.0%">
                  <c:v>-0.22620312900002063</c:v>
                </c:pt>
                <c:pt idx="569" formatCode="0.0%">
                  <c:v>-0.22620312900002063</c:v>
                </c:pt>
                <c:pt idx="570" formatCode="0.0%">
                  <c:v>-0.22620312900002063</c:v>
                </c:pt>
                <c:pt idx="571" formatCode="0.0%">
                  <c:v>-0.22723179177794406</c:v>
                </c:pt>
                <c:pt idx="572" formatCode="0.0%">
                  <c:v>-0.24249000081181721</c:v>
                </c:pt>
                <c:pt idx="573" formatCode="0.0%">
                  <c:v>-0.25637667752754184</c:v>
                </c:pt>
                <c:pt idx="574" formatCode="0.0%">
                  <c:v>-0.24591880452856402</c:v>
                </c:pt>
                <c:pt idx="575" formatCode="0.0%">
                  <c:v>-0.2486618691648613</c:v>
                </c:pt>
                <c:pt idx="576" formatCode="0.0%">
                  <c:v>-0.2486618691648613</c:v>
                </c:pt>
                <c:pt idx="577" formatCode="0.0%">
                  <c:v>-0.23147923646294899</c:v>
                </c:pt>
                <c:pt idx="578" formatCode="0.0%">
                  <c:v>-0.23151779642387765</c:v>
                </c:pt>
                <c:pt idx="579" formatCode="0.0%">
                  <c:v>-0.23151779642387765</c:v>
                </c:pt>
                <c:pt idx="580" formatCode="0.0%">
                  <c:v>-0.20965911857236733</c:v>
                </c:pt>
                <c:pt idx="581" formatCode="0.0%">
                  <c:v>-0.18180003421654958</c:v>
                </c:pt>
                <c:pt idx="582" formatCode="0.0%">
                  <c:v>-0.16671328703141328</c:v>
                </c:pt>
                <c:pt idx="583" formatCode="0.0%">
                  <c:v>-0.16671328703141328</c:v>
                </c:pt>
                <c:pt idx="584" formatCode="0.0%">
                  <c:v>-0.16671328703141328</c:v>
                </c:pt>
                <c:pt idx="585" formatCode="0.0%">
                  <c:v>-0.16354162193052291</c:v>
                </c:pt>
                <c:pt idx="586" formatCode="0.0%">
                  <c:v>-0.14674047288701303</c:v>
                </c:pt>
                <c:pt idx="587" formatCode="0.0%">
                  <c:v>-0.17897129281313284</c:v>
                </c:pt>
                <c:pt idx="588" formatCode="0.0%">
                  <c:v>-0.16517029286452783</c:v>
                </c:pt>
                <c:pt idx="589" formatCode="0.0%">
                  <c:v>-0.14331161501301751</c:v>
                </c:pt>
                <c:pt idx="590" formatCode="0.0%">
                  <c:v>-0.14331161501301751</c:v>
                </c:pt>
                <c:pt idx="591" formatCode="0.0%">
                  <c:v>-0.14331161501301751</c:v>
                </c:pt>
                <c:pt idx="592" formatCode="0.0%">
                  <c:v>-0.1528266103156885</c:v>
                </c:pt>
                <c:pt idx="593" formatCode="0.0%">
                  <c:v>-0.14896915197709973</c:v>
                </c:pt>
                <c:pt idx="594" formatCode="0.0%">
                  <c:v>-0.1542838194009569</c:v>
                </c:pt>
                <c:pt idx="595" formatCode="0.0%">
                  <c:v>-0.15779835404207218</c:v>
                </c:pt>
                <c:pt idx="596" formatCode="0.0%">
                  <c:v>-0.17202795445527044</c:v>
                </c:pt>
                <c:pt idx="597" formatCode="0.0%">
                  <c:v>-0.17202795445527044</c:v>
                </c:pt>
                <c:pt idx="598" formatCode="0.0%">
                  <c:v>-0.17202795445527044</c:v>
                </c:pt>
                <c:pt idx="599" formatCode="0.0%">
                  <c:v>-0.18308583561032976</c:v>
                </c:pt>
                <c:pt idx="600" formatCode="0.0%">
                  <c:v>-0.1954295723164175</c:v>
                </c:pt>
                <c:pt idx="601" formatCode="0.0%">
                  <c:v>-0.2002299083513131</c:v>
                </c:pt>
                <c:pt idx="602" formatCode="0.0%">
                  <c:v>-0.19825831371983454</c:v>
                </c:pt>
                <c:pt idx="603" formatCode="0.0%">
                  <c:v>-0.19208649952403903</c:v>
                </c:pt>
                <c:pt idx="604" formatCode="0.0%">
                  <c:v>-0.19208649952403903</c:v>
                </c:pt>
                <c:pt idx="605" formatCode="0.0%">
                  <c:v>-0.19208649952403903</c:v>
                </c:pt>
                <c:pt idx="606" formatCode="0.0%">
                  <c:v>-0.19294370045322581</c:v>
                </c:pt>
                <c:pt idx="607" formatCode="0.0%">
                  <c:v>-0.21745965785941634</c:v>
                </c:pt>
                <c:pt idx="608" formatCode="0.0%">
                  <c:v>-0.22183399297764622</c:v>
                </c:pt>
                <c:pt idx="609" formatCode="0.0%">
                  <c:v>-0.22183139342971842</c:v>
                </c:pt>
                <c:pt idx="610" formatCode="0.0%">
                  <c:v>-0.21120211273925249</c:v>
                </c:pt>
                <c:pt idx="611" formatCode="0.0%">
                  <c:v>-0.21120211273925249</c:v>
                </c:pt>
                <c:pt idx="612" formatCode="0.0%">
                  <c:v>-0.21120211273925249</c:v>
                </c:pt>
                <c:pt idx="613" formatCode="0.0%">
                  <c:v>-0.23846113478174005</c:v>
                </c:pt>
                <c:pt idx="614" formatCode="0.0%">
                  <c:v>-0.23066059549469103</c:v>
                </c:pt>
                <c:pt idx="615" formatCode="0.0%">
                  <c:v>-0.23888973524633342</c:v>
                </c:pt>
                <c:pt idx="616" formatCode="0.0%">
                  <c:v>-0.23863259663047687</c:v>
                </c:pt>
                <c:pt idx="617" formatCode="0.0%">
                  <c:v>-0.2215742548138617</c:v>
                </c:pt>
                <c:pt idx="618" formatCode="0.0%">
                  <c:v>-0.2215742548138617</c:v>
                </c:pt>
                <c:pt idx="619" formatCode="0.0%">
                  <c:v>-0.2215742548138617</c:v>
                </c:pt>
                <c:pt idx="620" formatCode="0.0%">
                  <c:v>-0.20537311392643359</c:v>
                </c:pt>
                <c:pt idx="621" formatCode="0.0%">
                  <c:v>-0.18934343488774202</c:v>
                </c:pt>
                <c:pt idx="622" formatCode="0.0%">
                  <c:v>-0.21051631950155397</c:v>
                </c:pt>
                <c:pt idx="623" formatCode="0.0%">
                  <c:v>-0.21514524784496131</c:v>
                </c:pt>
                <c:pt idx="624" formatCode="0.0%">
                  <c:v>-0.2059731762397638</c:v>
                </c:pt>
                <c:pt idx="625" formatCode="0.0%">
                  <c:v>-0.2059731762397638</c:v>
                </c:pt>
                <c:pt idx="626" formatCode="0.0%">
                  <c:v>-0.2059731762397638</c:v>
                </c:pt>
                <c:pt idx="627" formatCode="0.0%">
                  <c:v>-0.25174780334138319</c:v>
                </c:pt>
                <c:pt idx="628" formatCode="0.0%">
                  <c:v>-0.24694746730648759</c:v>
                </c:pt>
                <c:pt idx="629" formatCode="0.0%">
                  <c:v>-0.24677600545775091</c:v>
                </c:pt>
                <c:pt idx="630" formatCode="0.0%">
                  <c:v>-0.24823326870026791</c:v>
                </c:pt>
                <c:pt idx="631" formatCode="0.0%">
                  <c:v>-0.27112055517245326</c:v>
                </c:pt>
                <c:pt idx="632" formatCode="0.0%">
                  <c:v>-0.27112055517245326</c:v>
                </c:pt>
                <c:pt idx="633" formatCode="0.0%">
                  <c:v>-0.27112055517245326</c:v>
                </c:pt>
                <c:pt idx="634" formatCode="0.0%">
                  <c:v>-0.28877895930239844</c:v>
                </c:pt>
                <c:pt idx="635" formatCode="0.0%">
                  <c:v>-0.27240635656623324</c:v>
                </c:pt>
                <c:pt idx="636" formatCode="0.0%">
                  <c:v>-0.27232062564186493</c:v>
                </c:pt>
                <c:pt idx="637" formatCode="0.0%">
                  <c:v>-0.28097836585810088</c:v>
                </c:pt>
                <c:pt idx="638" formatCode="0.0%">
                  <c:v>-0.29336667397970045</c:v>
                </c:pt>
                <c:pt idx="639" formatCode="0.0%">
                  <c:v>-0.29336667397970045</c:v>
                </c:pt>
                <c:pt idx="640" formatCode="0.0%">
                  <c:v>-0.29336667397970045</c:v>
                </c:pt>
                <c:pt idx="641" formatCode="0.0%">
                  <c:v>-0.29340783348855709</c:v>
                </c:pt>
                <c:pt idx="642" formatCode="0.0%">
                  <c:v>-0.29495077349819382</c:v>
                </c:pt>
                <c:pt idx="643" formatCode="0.0%">
                  <c:v>-0.29495077349819382</c:v>
                </c:pt>
                <c:pt idx="644" formatCode="0.0%">
                  <c:v>-0.29495077349819382</c:v>
                </c:pt>
                <c:pt idx="645" formatCode="0.0%">
                  <c:v>-0.24934760824531124</c:v>
                </c:pt>
                <c:pt idx="646" formatCode="0.0%">
                  <c:v>-0.24934760824531124</c:v>
                </c:pt>
                <c:pt idx="647" formatCode="0.0%">
                  <c:v>-0.24934760824531124</c:v>
                </c:pt>
                <c:pt idx="648" formatCode="0.0%">
                  <c:v>-0.27454935888920018</c:v>
                </c:pt>
                <c:pt idx="649" formatCode="0.0%">
                  <c:v>-0.2808069581666125</c:v>
                </c:pt>
                <c:pt idx="650" formatCode="0.0%">
                  <c:v>-0.31809525274348432</c:v>
                </c:pt>
                <c:pt idx="651" formatCode="0.0%">
                  <c:v>-0.30738024112865003</c:v>
                </c:pt>
                <c:pt idx="652" formatCode="0.0%">
                  <c:v>-0.33078185898979728</c:v>
                </c:pt>
                <c:pt idx="653" formatCode="0.0%">
                  <c:v>-0.33078185898979728</c:v>
                </c:pt>
                <c:pt idx="654" formatCode="0.0%">
                  <c:v>-0.33078185898979728</c:v>
                </c:pt>
                <c:pt idx="655" formatCode="0.0%">
                  <c:v>-0.30335137509857291</c:v>
                </c:pt>
                <c:pt idx="656" formatCode="0.0%">
                  <c:v>-0.30446576880086484</c:v>
                </c:pt>
                <c:pt idx="657" formatCode="0.0%">
                  <c:v>-0.28715023421114466</c:v>
                </c:pt>
                <c:pt idx="658" formatCode="0.0%">
                  <c:v>-0.30309423648271633</c:v>
                </c:pt>
                <c:pt idx="659" formatCode="0.0%">
                  <c:v>-0.29760810721012249</c:v>
                </c:pt>
                <c:pt idx="660" formatCode="0.0%">
                  <c:v>-0.29760810721012249</c:v>
                </c:pt>
                <c:pt idx="661" formatCode="0.0%">
                  <c:v>-0.29760810721012249</c:v>
                </c:pt>
                <c:pt idx="662" formatCode="0.0%">
                  <c:v>-0.30275131278524298</c:v>
                </c:pt>
                <c:pt idx="663" formatCode="0.0%">
                  <c:v>-0.3090946429870236</c:v>
                </c:pt>
                <c:pt idx="664" formatCode="0.0%">
                  <c:v>-0.28937896745847991</c:v>
                </c:pt>
                <c:pt idx="665" formatCode="0.0%">
                  <c:v>-0.29100763839248517</c:v>
                </c:pt>
                <c:pt idx="666" formatCode="0.0%">
                  <c:v>-0.29100763839248517</c:v>
                </c:pt>
                <c:pt idx="667" formatCode="0.0%">
                  <c:v>-0.29100763839248517</c:v>
                </c:pt>
                <c:pt idx="668" formatCode="0.0%">
                  <c:v>-0.29100763839248517</c:v>
                </c:pt>
                <c:pt idx="669" formatCode="0.0%">
                  <c:v>-0.28749315790861812</c:v>
                </c:pt>
                <c:pt idx="670" formatCode="0.0%">
                  <c:v>-0.28749315790861812</c:v>
                </c:pt>
                <c:pt idx="671" formatCode="0.0%">
                  <c:v>-0.28689309559528825</c:v>
                </c:pt>
                <c:pt idx="672" formatCode="0.0%">
                  <c:v>-0.27917828723260757</c:v>
                </c:pt>
                <c:pt idx="673" formatCode="0.0%">
                  <c:v>-0.28697882651965656</c:v>
                </c:pt>
                <c:pt idx="674" formatCode="0.0%">
                  <c:v>-0.28697882651965656</c:v>
                </c:pt>
                <c:pt idx="675" formatCode="0.0%">
                  <c:v>-0.28697882651965656</c:v>
                </c:pt>
                <c:pt idx="676" formatCode="0.0%">
                  <c:v>-0.28663590282218293</c:v>
                </c:pt>
                <c:pt idx="677" formatCode="0.0%">
                  <c:v>-0.29829390044782073</c:v>
                </c:pt>
                <c:pt idx="678" formatCode="0.0%">
                  <c:v>-0.30035117184641935</c:v>
                </c:pt>
                <c:pt idx="679" formatCode="0.0%">
                  <c:v>-0.30883750437116703</c:v>
                </c:pt>
                <c:pt idx="680" formatCode="0.0%">
                  <c:v>-0.27317782657105155</c:v>
                </c:pt>
                <c:pt idx="681" formatCode="0.0%">
                  <c:v>-0.27317782657105155</c:v>
                </c:pt>
                <c:pt idx="682" formatCode="0.0%">
                  <c:v>-0.27317782657105155</c:v>
                </c:pt>
                <c:pt idx="683" formatCode="0.0%">
                  <c:v>-0.26760602053133781</c:v>
                </c:pt>
                <c:pt idx="684" formatCode="0.0%">
                  <c:v>-0.24471873405915232</c:v>
                </c:pt>
                <c:pt idx="685" formatCode="0.0%">
                  <c:v>-0.26142646184900753</c:v>
                </c:pt>
                <c:pt idx="686" formatCode="0.0%">
                  <c:v>-0.26143415217829402</c:v>
                </c:pt>
                <c:pt idx="687" formatCode="0.0%">
                  <c:v>-0.27574942935861185</c:v>
                </c:pt>
                <c:pt idx="688" formatCode="0.0%">
                  <c:v>-0.27574942935861185</c:v>
                </c:pt>
                <c:pt idx="689" formatCode="0.0%">
                  <c:v>-0.27574942935861185</c:v>
                </c:pt>
                <c:pt idx="690" formatCode="0.0%">
                  <c:v>-0.27446362796483187</c:v>
                </c:pt>
                <c:pt idx="691" formatCode="0.0%">
                  <c:v>-0.27446362796483187</c:v>
                </c:pt>
                <c:pt idx="692" formatCode="0.0%">
                  <c:v>-0.29477936580670561</c:v>
                </c:pt>
                <c:pt idx="693" formatCode="0.0%">
                  <c:v>-0.28492150096380942</c:v>
                </c:pt>
                <c:pt idx="694" formatCode="0.0%">
                  <c:v>-0.27643522259631043</c:v>
                </c:pt>
                <c:pt idx="695" formatCode="0.0%">
                  <c:v>-0.27643522259631043</c:v>
                </c:pt>
                <c:pt idx="696" formatCode="0.0%">
                  <c:v>-0.27643522259631043</c:v>
                </c:pt>
                <c:pt idx="697" formatCode="0.0%">
                  <c:v>-0.28320709910543612</c:v>
                </c:pt>
                <c:pt idx="698" formatCode="0.0%">
                  <c:v>-0.27994975723742582</c:v>
                </c:pt>
                <c:pt idx="699" formatCode="0.0%">
                  <c:v>-0.27550003522929017</c:v>
                </c:pt>
                <c:pt idx="700" formatCode="0.0%">
                  <c:v>-0.27549229074275544</c:v>
                </c:pt>
                <c:pt idx="701" formatCode="0.0%">
                  <c:v>-0.26040554355761897</c:v>
                </c:pt>
                <c:pt idx="702" formatCode="0.0%">
                  <c:v>-0.26040554355761897</c:v>
                </c:pt>
                <c:pt idx="703" formatCode="0.0%">
                  <c:v>-0.26040554355761897</c:v>
                </c:pt>
                <c:pt idx="704" formatCode="0.0%">
                  <c:v>-0.2726635493393384</c:v>
                </c:pt>
                <c:pt idx="705" formatCode="0.0%">
                  <c:v>-0.27969256446432067</c:v>
                </c:pt>
                <c:pt idx="706" formatCode="0.0%">
                  <c:v>-0.30043690277078766</c:v>
                </c:pt>
                <c:pt idx="707" formatCode="0.0%">
                  <c:v>-0.3090946429870236</c:v>
                </c:pt>
                <c:pt idx="708" formatCode="0.0%">
                  <c:v>-0.29983684045745773</c:v>
                </c:pt>
                <c:pt idx="709" formatCode="0.0%">
                  <c:v>-0.29983684045745773</c:v>
                </c:pt>
                <c:pt idx="710" formatCode="0.0%">
                  <c:v>-0.29983684045745773</c:v>
                </c:pt>
                <c:pt idx="711" formatCode="0.0%">
                  <c:v>-0.29520796627129881</c:v>
                </c:pt>
                <c:pt idx="712" formatCode="0.0%">
                  <c:v>-0.2958937053517488</c:v>
                </c:pt>
                <c:pt idx="713" formatCode="0.0%">
                  <c:v>-0.27060622378349136</c:v>
                </c:pt>
                <c:pt idx="714" formatCode="0.0%">
                  <c:v>-0.2876645656001065</c:v>
                </c:pt>
                <c:pt idx="715" formatCode="0.0%">
                  <c:v>-0.30832317298220518</c:v>
                </c:pt>
                <c:pt idx="716" formatCode="0.0%">
                  <c:v>-0.30832317298220518</c:v>
                </c:pt>
                <c:pt idx="717" formatCode="0.0%">
                  <c:v>-0.30832317298220518</c:v>
                </c:pt>
                <c:pt idx="718" formatCode="0.0%">
                  <c:v>-0.30978038206747344</c:v>
                </c:pt>
                <c:pt idx="719" formatCode="0.0%">
                  <c:v>-0.31543791903155566</c:v>
                </c:pt>
                <c:pt idx="720" formatCode="0.0%">
                  <c:v>-0.32478145248549012</c:v>
                </c:pt>
                <c:pt idx="721" formatCode="0.0%">
                  <c:v>-0.32152405646023124</c:v>
                </c:pt>
                <c:pt idx="722" formatCode="0.0%">
                  <c:v>-0.32589579203053348</c:v>
                </c:pt>
                <c:pt idx="723" formatCode="0.0%">
                  <c:v>-0.32589579203053348</c:v>
                </c:pt>
                <c:pt idx="724" formatCode="0.0%">
                  <c:v>-0.32589579203053348</c:v>
                </c:pt>
                <c:pt idx="725" formatCode="0.0%">
                  <c:v>-0.32589579203053348</c:v>
                </c:pt>
                <c:pt idx="726" formatCode="0.0%">
                  <c:v>-0.33626798826239124</c:v>
                </c:pt>
                <c:pt idx="727" formatCode="0.0%">
                  <c:v>-0.33378206224195095</c:v>
                </c:pt>
                <c:pt idx="728" formatCode="0.0%">
                  <c:v>-0.32649585434386352</c:v>
                </c:pt>
                <c:pt idx="729" formatCode="0.0%">
                  <c:v>-0.32838171805097388</c:v>
                </c:pt>
                <c:pt idx="730" formatCode="0.0%">
                  <c:v>-0.33123959605408115</c:v>
                </c:pt>
                <c:pt idx="731" formatCode="0.0%">
                  <c:v>-0.33123959605408115</c:v>
                </c:pt>
                <c:pt idx="732" formatCode="0.0%">
                  <c:v>-0.33121045945439065</c:v>
                </c:pt>
                <c:pt idx="733" formatCode="0.0%">
                  <c:v>-0.32521005295008337</c:v>
                </c:pt>
                <c:pt idx="734" formatCode="0.0%">
                  <c:v>-0.31192338439044037</c:v>
                </c:pt>
                <c:pt idx="735" formatCode="0.0%">
                  <c:v>-0.30780884159324345</c:v>
                </c:pt>
                <c:pt idx="736" formatCode="0.0%">
                  <c:v>-0.30798024928473183</c:v>
                </c:pt>
                <c:pt idx="737" formatCode="0.0%">
                  <c:v>-0.30798024928473183</c:v>
                </c:pt>
                <c:pt idx="738" formatCode="0.0%">
                  <c:v>-0.30798024928473183</c:v>
                </c:pt>
                <c:pt idx="739" formatCode="0.0%">
                  <c:v>-0.31869531505681453</c:v>
                </c:pt>
                <c:pt idx="740" formatCode="0.0%">
                  <c:v>-0.29237917071063352</c:v>
                </c:pt>
                <c:pt idx="741" formatCode="0.0%">
                  <c:v>-0.29546510488715555</c:v>
                </c:pt>
                <c:pt idx="742" formatCode="0.0%">
                  <c:v>-0.28817889698906812</c:v>
                </c:pt>
                <c:pt idx="743" formatCode="0.0%">
                  <c:v>-0.29212203209477694</c:v>
                </c:pt>
                <c:pt idx="744" formatCode="0.0%">
                  <c:v>-0.29212203209477694</c:v>
                </c:pt>
                <c:pt idx="745" formatCode="0.0%">
                  <c:v>-0.29212203209477694</c:v>
                </c:pt>
                <c:pt idx="746" formatCode="0.0%">
                  <c:v>-0.29357929533729388</c:v>
                </c:pt>
                <c:pt idx="747" formatCode="0.0%">
                  <c:v>-0.28072122724224413</c:v>
                </c:pt>
                <c:pt idx="748" formatCode="0.0%">
                  <c:v>-0.26932042238971138</c:v>
                </c:pt>
                <c:pt idx="749" formatCode="0.0%">
                  <c:v>-0.26031981263325038</c:v>
                </c:pt>
                <c:pt idx="750" formatCode="0.0%">
                  <c:v>-0.2742922202733436</c:v>
                </c:pt>
                <c:pt idx="751" formatCode="0.0%">
                  <c:v>-0.2742922202733436</c:v>
                </c:pt>
                <c:pt idx="752" formatCode="0.0%">
                  <c:v>-0.2742922202733436</c:v>
                </c:pt>
                <c:pt idx="753" formatCode="0.0%">
                  <c:v>-0.26692028145088786</c:v>
                </c:pt>
                <c:pt idx="754" formatCode="0.0%">
                  <c:v>-0.25149061056827804</c:v>
                </c:pt>
                <c:pt idx="755" formatCode="0.0%">
                  <c:v>-0.25397648243146975</c:v>
                </c:pt>
                <c:pt idx="756" formatCode="0.0%">
                  <c:v>-0.27112055517245326</c:v>
                </c:pt>
                <c:pt idx="757" formatCode="0.0%">
                  <c:v>-0.24291860127641057</c:v>
                </c:pt>
                <c:pt idx="758" formatCode="0.0%">
                  <c:v>-0.24291860127641057</c:v>
                </c:pt>
                <c:pt idx="759" formatCode="0.0%">
                  <c:v>-0.24291860127641057</c:v>
                </c:pt>
                <c:pt idx="760" formatCode="0.0%">
                  <c:v>-0.23606099384291668</c:v>
                </c:pt>
                <c:pt idx="761" formatCode="0.0%">
                  <c:v>-0.24174165595210639</c:v>
                </c:pt>
                <c:pt idx="762" formatCode="0.0%">
                  <c:v>-0.24171853080699876</c:v>
                </c:pt>
                <c:pt idx="763" formatCode="0.0%">
                  <c:v>-0.23160352734824613</c:v>
                </c:pt>
                <c:pt idx="764" formatCode="0.0%">
                  <c:v>-0.20288724206324177</c:v>
                </c:pt>
                <c:pt idx="765" formatCode="0.0%">
                  <c:v>-0.20288724206324177</c:v>
                </c:pt>
                <c:pt idx="766" formatCode="0.0%">
                  <c:v>-0.20288724206324177</c:v>
                </c:pt>
                <c:pt idx="767" formatCode="0.0%">
                  <c:v>-0.19628677324560442</c:v>
                </c:pt>
                <c:pt idx="768" formatCode="0.0%">
                  <c:v>-0.20408731253265344</c:v>
                </c:pt>
                <c:pt idx="769" formatCode="0.0%">
                  <c:v>-0.20700178486043869</c:v>
                </c:pt>
                <c:pt idx="770" formatCode="0.0%">
                  <c:v>-0.19405803999826915</c:v>
                </c:pt>
                <c:pt idx="771" formatCode="0.0%">
                  <c:v>-0.19397230907390067</c:v>
                </c:pt>
                <c:pt idx="772" formatCode="0.0%">
                  <c:v>-0.19397230907390067</c:v>
                </c:pt>
                <c:pt idx="773" formatCode="0.0%">
                  <c:v>-0.19397230907390067</c:v>
                </c:pt>
                <c:pt idx="774" formatCode="0.0%">
                  <c:v>-0.21454518553163099</c:v>
                </c:pt>
                <c:pt idx="775" formatCode="0.0%">
                  <c:v>-0.21703105739482298</c:v>
                </c:pt>
                <c:pt idx="776" formatCode="0.0%">
                  <c:v>-0.21017344996132892</c:v>
                </c:pt>
                <c:pt idx="777" formatCode="0.0%">
                  <c:v>-0.20734465440066374</c:v>
                </c:pt>
                <c:pt idx="778" formatCode="0.0%">
                  <c:v>-0.20528738300206512</c:v>
                </c:pt>
                <c:pt idx="779" formatCode="0.0%">
                  <c:v>-0.20528738300206512</c:v>
                </c:pt>
                <c:pt idx="780" formatCode="0.0%">
                  <c:v>-0.20528738300206512</c:v>
                </c:pt>
                <c:pt idx="781" formatCode="0.0%">
                  <c:v>-0.21831685878860313</c:v>
                </c:pt>
                <c:pt idx="782" formatCode="0.0%">
                  <c:v>-0.22491732760624047</c:v>
                </c:pt>
                <c:pt idx="783" formatCode="0.0%">
                  <c:v>-0.23263213596892102</c:v>
                </c:pt>
                <c:pt idx="784" formatCode="0.0%">
                  <c:v>-0.23091773411054775</c:v>
                </c:pt>
                <c:pt idx="785" formatCode="0.0%">
                  <c:v>-0.2285175931717241</c:v>
                </c:pt>
                <c:pt idx="786" formatCode="0.0%">
                  <c:v>-0.2285175931717241</c:v>
                </c:pt>
                <c:pt idx="787" formatCode="0.0%">
                  <c:v>-0.2285175931717241</c:v>
                </c:pt>
                <c:pt idx="788" formatCode="0.0%">
                  <c:v>-0.23822284288835988</c:v>
                </c:pt>
                <c:pt idx="789" formatCode="0.0%">
                  <c:v>-0.23297332663444281</c:v>
                </c:pt>
                <c:pt idx="790" formatCode="0.0%">
                  <c:v>-0.23297505966639448</c:v>
                </c:pt>
                <c:pt idx="791" formatCode="0.0%">
                  <c:v>-0.23408939921143784</c:v>
                </c:pt>
                <c:pt idx="792" formatCode="0.0%">
                  <c:v>-0.2370038715392232</c:v>
                </c:pt>
                <c:pt idx="793" formatCode="0.0%">
                  <c:v>-0.2370038715392232</c:v>
                </c:pt>
                <c:pt idx="794" formatCode="0.0%">
                  <c:v>-0.2370038715392232</c:v>
                </c:pt>
                <c:pt idx="795" formatCode="0.0%">
                  <c:v>-0.21685964970333488</c:v>
                </c:pt>
                <c:pt idx="796" formatCode="0.0%">
                  <c:v>-0.21214499043555918</c:v>
                </c:pt>
                <c:pt idx="797" formatCode="0.0%">
                  <c:v>-0.2082875862542187</c:v>
                </c:pt>
                <c:pt idx="798" formatCode="0.0%">
                  <c:v>-0.21805972017274655</c:v>
                </c:pt>
                <c:pt idx="799" formatCode="0.0%">
                  <c:v>-0.21120211273925249</c:v>
                </c:pt>
                <c:pt idx="800" formatCode="0.0%">
                  <c:v>-0.21120211273925249</c:v>
                </c:pt>
                <c:pt idx="801" formatCode="0.0%">
                  <c:v>-0.21120211273925249</c:v>
                </c:pt>
                <c:pt idx="802" formatCode="0.0%">
                  <c:v>-0.25466227566916827</c:v>
                </c:pt>
                <c:pt idx="803" formatCode="0.0%">
                  <c:v>-0.26194848356725559</c:v>
                </c:pt>
                <c:pt idx="804" formatCode="0.0%">
                  <c:v>-0.24523306544811405</c:v>
                </c:pt>
                <c:pt idx="805" formatCode="0.0%">
                  <c:v>-0.24771893731130604</c:v>
                </c:pt>
                <c:pt idx="806" formatCode="0.0%">
                  <c:v>-0.23494660014062474</c:v>
                </c:pt>
                <c:pt idx="807" formatCode="0.0%">
                  <c:v>-0.23494660014062474</c:v>
                </c:pt>
                <c:pt idx="808" formatCode="0.0%">
                  <c:v>-0.23494660014062474</c:v>
                </c:pt>
                <c:pt idx="809" formatCode="0.0%">
                  <c:v>-0.23708960246359154</c:v>
                </c:pt>
                <c:pt idx="810" formatCode="0.0%">
                  <c:v>-0.24249000081181721</c:v>
                </c:pt>
                <c:pt idx="811" formatCode="0.0%">
                  <c:v>-0.2338322605955814</c:v>
                </c:pt>
                <c:pt idx="812" formatCode="0.0%">
                  <c:v>-0.22911765548505442</c:v>
                </c:pt>
                <c:pt idx="813" formatCode="0.0%">
                  <c:v>-0.22714606085357558</c:v>
                </c:pt>
                <c:pt idx="814" formatCode="0.0%">
                  <c:v>-0.22714606085357558</c:v>
                </c:pt>
                <c:pt idx="815" formatCode="0.0%">
                  <c:v>-0.22714606085357558</c:v>
                </c:pt>
                <c:pt idx="816" formatCode="0.0%">
                  <c:v>-0.23743247200381659</c:v>
                </c:pt>
                <c:pt idx="817" formatCode="0.0%">
                  <c:v>-0.23288932874202628</c:v>
                </c:pt>
                <c:pt idx="818" formatCode="0.0%">
                  <c:v>-0.23906119709507023</c:v>
                </c:pt>
                <c:pt idx="819" formatCode="0.0%">
                  <c:v>-0.22800326178276237</c:v>
                </c:pt>
                <c:pt idx="820" formatCode="0.0%">
                  <c:v>-0.21011431024597185</c:v>
                </c:pt>
                <c:pt idx="821" formatCode="0.0%">
                  <c:v>-0.21011431024597185</c:v>
                </c:pt>
                <c:pt idx="822" formatCode="0.0%">
                  <c:v>-0.21011431024597185</c:v>
                </c:pt>
                <c:pt idx="823" formatCode="0.0%">
                  <c:v>-0.21008771903696072</c:v>
                </c:pt>
                <c:pt idx="824" formatCode="0.0%">
                  <c:v>-0.213602253678076</c:v>
                </c:pt>
                <c:pt idx="825" formatCode="0.0%">
                  <c:v>-0.21145925135510907</c:v>
                </c:pt>
                <c:pt idx="826" formatCode="0.0%">
                  <c:v>-0.21145925135510907</c:v>
                </c:pt>
                <c:pt idx="827" formatCode="0.0%">
                  <c:v>-0.21145925135510907</c:v>
                </c:pt>
                <c:pt idx="828" formatCode="0.0%">
                  <c:v>-0.21145925135510907</c:v>
                </c:pt>
                <c:pt idx="829" formatCode="0.0%">
                  <c:v>-0.21145925135510907</c:v>
                </c:pt>
                <c:pt idx="830" formatCode="0.0%">
                  <c:v>-0.21145925135510907</c:v>
                </c:pt>
                <c:pt idx="831" formatCode="0.0%">
                  <c:v>-0.22577452853542723</c:v>
                </c:pt>
                <c:pt idx="832" formatCode="0.0%">
                  <c:v>-0.21865978248607662</c:v>
                </c:pt>
                <c:pt idx="833" formatCode="0.0%">
                  <c:v>-0.22337438759660372</c:v>
                </c:pt>
                <c:pt idx="834" formatCode="0.0%">
                  <c:v>-0.22234572481868015</c:v>
                </c:pt>
                <c:pt idx="835" formatCode="0.0%">
                  <c:v>-0.22234572481868015</c:v>
                </c:pt>
                <c:pt idx="836" formatCode="0.0%">
                  <c:v>-0.22234572481868015</c:v>
                </c:pt>
                <c:pt idx="837" formatCode="0.0%">
                  <c:v>-0.21437372368289445</c:v>
                </c:pt>
                <c:pt idx="838" formatCode="0.0%">
                  <c:v>-0.20957338764799899</c:v>
                </c:pt>
                <c:pt idx="839" formatCode="0.0%">
                  <c:v>-0.20623031485562038</c:v>
                </c:pt>
                <c:pt idx="840" formatCode="0.0%">
                  <c:v>-0.21343084598658763</c:v>
                </c:pt>
                <c:pt idx="841" formatCode="0.0%">
                  <c:v>-0.21214499043555918</c:v>
                </c:pt>
                <c:pt idx="842" formatCode="0.0%">
                  <c:v>-0.21214499043555918</c:v>
                </c:pt>
                <c:pt idx="843" formatCode="0.0%">
                  <c:v>-0.21214499043555918</c:v>
                </c:pt>
                <c:pt idx="844" formatCode="0.0%">
                  <c:v>-0.21865978248607662</c:v>
                </c:pt>
                <c:pt idx="845" formatCode="0.0%">
                  <c:v>-0.21411658506703773</c:v>
                </c:pt>
                <c:pt idx="846" formatCode="0.0%">
                  <c:v>-0.22328865667223524</c:v>
                </c:pt>
                <c:pt idx="847" formatCode="0.0%">
                  <c:v>-0.23040345687883432</c:v>
                </c:pt>
                <c:pt idx="848" formatCode="0.0%">
                  <c:v>-0.22277432528327368</c:v>
                </c:pt>
                <c:pt idx="849" formatCode="0.0%">
                  <c:v>-0.22277432528327368</c:v>
                </c:pt>
                <c:pt idx="850" formatCode="0.0%">
                  <c:v>-0.22180653525265895</c:v>
                </c:pt>
                <c:pt idx="851" formatCode="0.0%">
                  <c:v>-0.22183139342971842</c:v>
                </c:pt>
                <c:pt idx="852" formatCode="0.0%">
                  <c:v>-0.21763111970815316</c:v>
                </c:pt>
                <c:pt idx="853" formatCode="0.0%">
                  <c:v>-0.20537311392643359</c:v>
                </c:pt>
                <c:pt idx="854" formatCode="0.0%">
                  <c:v>-0.20631604577998872</c:v>
                </c:pt>
                <c:pt idx="855" formatCode="0.0%">
                  <c:v>-0.20631604577998872</c:v>
                </c:pt>
                <c:pt idx="856" formatCode="0.0%">
                  <c:v>-0.20631604577998872</c:v>
                </c:pt>
                <c:pt idx="857" formatCode="0.0%">
                  <c:v>-0.20631604577998872</c:v>
                </c:pt>
                <c:pt idx="858" formatCode="0.0%">
                  <c:v>-0.19885837603316475</c:v>
                </c:pt>
                <c:pt idx="859" formatCode="0.0%">
                  <c:v>-0.1890862421146369</c:v>
                </c:pt>
                <c:pt idx="860" formatCode="0.0%">
                  <c:v>-0.18522883793329656</c:v>
                </c:pt>
                <c:pt idx="861" formatCode="0.0%">
                  <c:v>-0.18231436560551145</c:v>
                </c:pt>
                <c:pt idx="862" formatCode="0.0%">
                  <c:v>-0.18180003421654958</c:v>
                </c:pt>
                <c:pt idx="863" formatCode="0.0%">
                  <c:v>-0.18180003421654958</c:v>
                </c:pt>
                <c:pt idx="864" formatCode="0.0%">
                  <c:v>-0.18180003421654958</c:v>
                </c:pt>
                <c:pt idx="865" formatCode="0.0%">
                  <c:v>-0.1778568991108409</c:v>
                </c:pt>
                <c:pt idx="866" formatCode="0.0%">
                  <c:v>-0.18240009652987979</c:v>
                </c:pt>
                <c:pt idx="867" formatCode="0.0%">
                  <c:v>-0.17768549141935266</c:v>
                </c:pt>
                <c:pt idx="868" formatCode="0.0%">
                  <c:v>-0.17768549141935266</c:v>
                </c:pt>
                <c:pt idx="869" formatCode="0.0%">
                  <c:v>-0.17768549141935266</c:v>
                </c:pt>
                <c:pt idx="870" formatCode="0.0%">
                  <c:v>-0.17768549141935266</c:v>
                </c:pt>
                <c:pt idx="871" formatCode="0.0%">
                  <c:v>-0.17768549141935266</c:v>
                </c:pt>
                <c:pt idx="872" formatCode="0.0%">
                  <c:v>-0.157969815890809</c:v>
                </c:pt>
                <c:pt idx="873" formatCode="0.0%">
                  <c:v>-0.14982640706353506</c:v>
                </c:pt>
                <c:pt idx="874" formatCode="0.0%">
                  <c:v>-0.1575412154262156</c:v>
                </c:pt>
                <c:pt idx="875" formatCode="0.0%">
                  <c:v>-0.17545675817201739</c:v>
                </c:pt>
                <c:pt idx="876" formatCode="0.0%">
                  <c:v>-0.16534175471326479</c:v>
                </c:pt>
                <c:pt idx="877" formatCode="0.0%">
                  <c:v>-0.16534175471326479</c:v>
                </c:pt>
                <c:pt idx="878" formatCode="0.0%">
                  <c:v>-0.16534175471326479</c:v>
                </c:pt>
                <c:pt idx="879" formatCode="0.0%">
                  <c:v>-0.16534175471326479</c:v>
                </c:pt>
                <c:pt idx="880" formatCode="0.0%">
                  <c:v>-0.15822695450666585</c:v>
                </c:pt>
                <c:pt idx="881" formatCode="0.0%">
                  <c:v>-0.15569309932130679</c:v>
                </c:pt>
                <c:pt idx="882" formatCode="0.0%">
                  <c:v>-0.15565535171910555</c:v>
                </c:pt>
                <c:pt idx="883" formatCode="0.0%">
                  <c:v>-0.16139861960755597</c:v>
                </c:pt>
                <c:pt idx="884" formatCode="0.0%">
                  <c:v>-0.16139861960755597</c:v>
                </c:pt>
                <c:pt idx="885" formatCode="0.0%">
                  <c:v>-0.16139861960755597</c:v>
                </c:pt>
                <c:pt idx="886" formatCode="0.0%">
                  <c:v>-0.16139861960755597</c:v>
                </c:pt>
                <c:pt idx="887" formatCode="0.0%">
                  <c:v>-0.14236873731671082</c:v>
                </c:pt>
                <c:pt idx="888" formatCode="0.0%">
                  <c:v>-0.13302520386277664</c:v>
                </c:pt>
                <c:pt idx="889" formatCode="0.0%">
                  <c:v>-0.13113934015566628</c:v>
                </c:pt>
                <c:pt idx="890" formatCode="0.0%">
                  <c:v>-0.14991208383065499</c:v>
                </c:pt>
                <c:pt idx="891" formatCode="0.0%">
                  <c:v>-0.14991208383065499</c:v>
                </c:pt>
                <c:pt idx="892" formatCode="0.0%">
                  <c:v>-0.14991208383065499</c:v>
                </c:pt>
                <c:pt idx="893" formatCode="0.0%">
                  <c:v>-0.13568253757470516</c:v>
                </c:pt>
                <c:pt idx="894" formatCode="0.0%">
                  <c:v>-0.13233946478232667</c:v>
                </c:pt>
                <c:pt idx="895" formatCode="0.0%">
                  <c:v>-0.12693906643410116</c:v>
                </c:pt>
                <c:pt idx="896" formatCode="0.0%">
                  <c:v>-0.12968213107039786</c:v>
                </c:pt>
                <c:pt idx="897" formatCode="0.0%">
                  <c:v>-0.13362526617610684</c:v>
                </c:pt>
                <c:pt idx="898" formatCode="0.0%">
                  <c:v>-0.13362526617610684</c:v>
                </c:pt>
                <c:pt idx="899" formatCode="0.0%">
                  <c:v>-0.13362526617610684</c:v>
                </c:pt>
                <c:pt idx="900" formatCode="0.0%">
                  <c:v>-0.12119579854565046</c:v>
                </c:pt>
                <c:pt idx="901" formatCode="0.0%">
                  <c:v>-0.12582472688905783</c:v>
                </c:pt>
                <c:pt idx="902" formatCode="0.0%">
                  <c:v>-0.12642473504513929</c:v>
                </c:pt>
                <c:pt idx="903" formatCode="0.0%">
                  <c:v>-0.1367968771197485</c:v>
                </c:pt>
                <c:pt idx="904" formatCode="0.0%">
                  <c:v>-0.13722547758434203</c:v>
                </c:pt>
                <c:pt idx="905" formatCode="0.0%">
                  <c:v>-0.13722547758434203</c:v>
                </c:pt>
                <c:pt idx="906" formatCode="0.0%">
                  <c:v>-0.13722547758434203</c:v>
                </c:pt>
                <c:pt idx="907" formatCode="0.0%">
                  <c:v>-0.13156794062025967</c:v>
                </c:pt>
                <c:pt idx="908" formatCode="0.0%">
                  <c:v>-0.12693906643410116</c:v>
                </c:pt>
                <c:pt idx="909" formatCode="0.0%">
                  <c:v>-0.13688260804411698</c:v>
                </c:pt>
                <c:pt idx="910" formatCode="0.0%">
                  <c:v>-0.12213873039920571</c:v>
                </c:pt>
                <c:pt idx="911" formatCode="0.0%">
                  <c:v>-0.11910939054736147</c:v>
                </c:pt>
                <c:pt idx="912" formatCode="0.0%">
                  <c:v>-0.11910939054736147</c:v>
                </c:pt>
                <c:pt idx="913" formatCode="0.0%">
                  <c:v>-0.11910939054736147</c:v>
                </c:pt>
                <c:pt idx="914" formatCode="0.0%">
                  <c:v>-0.11913852714705186</c:v>
                </c:pt>
                <c:pt idx="915" formatCode="0.0%">
                  <c:v>-0.11622405481926677</c:v>
                </c:pt>
                <c:pt idx="916" formatCode="0.0%">
                  <c:v>-0.11588113112179328</c:v>
                </c:pt>
                <c:pt idx="917" formatCode="0.0%">
                  <c:v>-0.11845278806660203</c:v>
                </c:pt>
                <c:pt idx="918" formatCode="0.0%">
                  <c:v>-0.13002500061062305</c:v>
                </c:pt>
                <c:pt idx="919" formatCode="0.0%">
                  <c:v>-0.13002500061062305</c:v>
                </c:pt>
                <c:pt idx="920" formatCode="0.0%">
                  <c:v>-0.13002500061062305</c:v>
                </c:pt>
                <c:pt idx="921" formatCode="0.0%">
                  <c:v>-0.13276806524691992</c:v>
                </c:pt>
                <c:pt idx="922" formatCode="0.0%">
                  <c:v>-0.13893993359996387</c:v>
                </c:pt>
                <c:pt idx="923" formatCode="0.0%">
                  <c:v>-0.12968213107039786</c:v>
                </c:pt>
                <c:pt idx="924" formatCode="0.0%">
                  <c:v>-0.12162439901024386</c:v>
                </c:pt>
                <c:pt idx="925" formatCode="0.0%">
                  <c:v>-0.11048078693081621</c:v>
                </c:pt>
                <c:pt idx="926" formatCode="0.0%">
                  <c:v>-0.11048078693081621</c:v>
                </c:pt>
                <c:pt idx="927" formatCode="0.0%">
                  <c:v>-0.11048078693081621</c:v>
                </c:pt>
                <c:pt idx="928" formatCode="0.0%">
                  <c:v>-0.10808059183474426</c:v>
                </c:pt>
                <c:pt idx="929" formatCode="0.0%">
                  <c:v>-0.11219518878918962</c:v>
                </c:pt>
                <c:pt idx="930" formatCode="0.0%">
                  <c:v>-0.11133798786000285</c:v>
                </c:pt>
                <c:pt idx="931" formatCode="0.0%">
                  <c:v>-9.7108441604053297E-2</c:v>
                </c:pt>
                <c:pt idx="932" formatCode="0.0%">
                  <c:v>-0.10122298440125022</c:v>
                </c:pt>
                <c:pt idx="933" formatCode="0.0%">
                  <c:v>-0.10122298440125022</c:v>
                </c:pt>
                <c:pt idx="934" formatCode="0.0%">
                  <c:v>-0.10122298440125022</c:v>
                </c:pt>
                <c:pt idx="935" formatCode="0.0%">
                  <c:v>-0.10636618997637072</c:v>
                </c:pt>
                <c:pt idx="936" formatCode="0.0%">
                  <c:v>-0.11313812064274473</c:v>
                </c:pt>
                <c:pt idx="937" formatCode="0.0%">
                  <c:v>-0.1047375190423655</c:v>
                </c:pt>
                <c:pt idx="938" formatCode="0.0%">
                  <c:v>-0.11210945786482114</c:v>
                </c:pt>
                <c:pt idx="939" formatCode="0.0%">
                  <c:v>-9.3422445114201197E-2</c:v>
                </c:pt>
                <c:pt idx="940" formatCode="0.0%">
                  <c:v>-9.3422445114201197E-2</c:v>
                </c:pt>
                <c:pt idx="941" formatCode="0.0%">
                  <c:v>-9.3422445114201197E-2</c:v>
                </c:pt>
                <c:pt idx="942" formatCode="0.0%">
                  <c:v>-8.6823709328515686E-2</c:v>
                </c:pt>
                <c:pt idx="943" formatCode="0.0%">
                  <c:v>-8.6821976296563866E-2</c:v>
                </c:pt>
                <c:pt idx="944" formatCode="0.0%">
                  <c:v>-9.1536581407090978E-2</c:v>
                </c:pt>
                <c:pt idx="945" formatCode="0.0%">
                  <c:v>-9.9079982078283418E-2</c:v>
                </c:pt>
                <c:pt idx="946" formatCode="0.0%">
                  <c:v>-0.10619478228488234</c:v>
                </c:pt>
                <c:pt idx="947" formatCode="0.0%">
                  <c:v>-0.10619478228488234</c:v>
                </c:pt>
                <c:pt idx="948" formatCode="0.0%">
                  <c:v>-0.10619478228488234</c:v>
                </c:pt>
                <c:pt idx="949" formatCode="0.0%">
                  <c:v>-0.11579545435467338</c:v>
                </c:pt>
                <c:pt idx="950" formatCode="0.0%">
                  <c:v>-0.11862419575809029</c:v>
                </c:pt>
                <c:pt idx="951" formatCode="0.0%">
                  <c:v>-0.11982426622750182</c:v>
                </c:pt>
                <c:pt idx="952" formatCode="0.0%">
                  <c:v>-0.11450965296089322</c:v>
                </c:pt>
                <c:pt idx="953" formatCode="0.0%">
                  <c:v>-0.10765199137015075</c:v>
                </c:pt>
                <c:pt idx="954" formatCode="0.0%">
                  <c:v>-0.10765199137015075</c:v>
                </c:pt>
                <c:pt idx="955" formatCode="0.0%">
                  <c:v>-0.10765199137015075</c:v>
                </c:pt>
                <c:pt idx="956" formatCode="0.0%">
                  <c:v>-0.12342453179298558</c:v>
                </c:pt>
                <c:pt idx="957" formatCode="0.0%">
                  <c:v>-0.12213873039920571</c:v>
                </c:pt>
                <c:pt idx="958" formatCode="0.0%">
                  <c:v>-0.1250532027269908</c:v>
                </c:pt>
                <c:pt idx="959" formatCode="0.0%">
                  <c:v>-0.12608186550491424</c:v>
                </c:pt>
                <c:pt idx="960" formatCode="0.0%">
                  <c:v>-0.13602540711493019</c:v>
                </c:pt>
                <c:pt idx="961" formatCode="0.0%">
                  <c:v>-0.13602540711493019</c:v>
                </c:pt>
                <c:pt idx="962" formatCode="0.0%">
                  <c:v>-0.13602540711493019</c:v>
                </c:pt>
                <c:pt idx="963" formatCode="0.0%">
                  <c:v>-0.15316947985591356</c:v>
                </c:pt>
                <c:pt idx="964" formatCode="0.0%">
                  <c:v>-0.13773980897330376</c:v>
                </c:pt>
                <c:pt idx="965" formatCode="0.0%">
                  <c:v>-0.13353953525173851</c:v>
                </c:pt>
                <c:pt idx="966" formatCode="0.0%">
                  <c:v>-0.12625332735365105</c:v>
                </c:pt>
                <c:pt idx="967" formatCode="0.0%">
                  <c:v>-0.12025286669209535</c:v>
                </c:pt>
                <c:pt idx="968" formatCode="0.0%">
                  <c:v>-0.12025286669209535</c:v>
                </c:pt>
                <c:pt idx="969" formatCode="0.0%">
                  <c:v>-0.12025286669209535</c:v>
                </c:pt>
                <c:pt idx="970" formatCode="0.0%">
                  <c:v>-0.12728193597432608</c:v>
                </c:pt>
                <c:pt idx="971" formatCode="0.0%">
                  <c:v>-0.12462460226239741</c:v>
                </c:pt>
                <c:pt idx="972" formatCode="0.0%">
                  <c:v>-0.11999572807623878</c:v>
                </c:pt>
                <c:pt idx="973" formatCode="0.0%">
                  <c:v>-9.9283992433365859E-2</c:v>
                </c:pt>
                <c:pt idx="974" formatCode="0.0%">
                  <c:v>-9.9251443927019956E-2</c:v>
                </c:pt>
                <c:pt idx="975" formatCode="0.0%">
                  <c:v>-9.9251443927019956E-2</c:v>
                </c:pt>
                <c:pt idx="976" formatCode="0.0%">
                  <c:v>-9.9251443927019956E-2</c:v>
                </c:pt>
                <c:pt idx="977" formatCode="0.0%">
                  <c:v>-8.9907910473085759E-2</c:v>
                </c:pt>
                <c:pt idx="978" formatCode="0.0%">
                  <c:v>-8.8193508614712354E-2</c:v>
                </c:pt>
                <c:pt idx="979" formatCode="0.0%">
                  <c:v>-9.2479513260645949E-2</c:v>
                </c:pt>
                <c:pt idx="980" formatCode="0.0%">
                  <c:v>-8.7679177225750637E-2</c:v>
                </c:pt>
                <c:pt idx="981" formatCode="0.0%">
                  <c:v>-0.10036578347206344</c:v>
                </c:pt>
                <c:pt idx="982" formatCode="0.0%">
                  <c:v>-0.10036578347206344</c:v>
                </c:pt>
                <c:pt idx="983" formatCode="0.0%">
                  <c:v>-0.10036578347206344</c:v>
                </c:pt>
                <c:pt idx="984" formatCode="0.0%">
                  <c:v>-9.4793977432349547E-2</c:v>
                </c:pt>
                <c:pt idx="985" formatCode="0.0%">
                  <c:v>-9.0850842326641021E-2</c:v>
                </c:pt>
                <c:pt idx="986" formatCode="0.0%">
                  <c:v>-8.3393172579816904E-2</c:v>
                </c:pt>
                <c:pt idx="987" formatCode="0.0%">
                  <c:v>-9.5051116048206263E-2</c:v>
                </c:pt>
                <c:pt idx="988" formatCode="0.0%">
                  <c:v>-8.8793570928042409E-2</c:v>
                </c:pt>
                <c:pt idx="989" formatCode="0.0%">
                  <c:v>-8.8793570928042409E-2</c:v>
                </c:pt>
                <c:pt idx="990" formatCode="0.0%">
                  <c:v>-8.8793570928042409E-2</c:v>
                </c:pt>
                <c:pt idx="991" formatCode="0.0%">
                  <c:v>-8.8879247695162172E-2</c:v>
                </c:pt>
                <c:pt idx="992" formatCode="0.0%">
                  <c:v>-9.6594110215091428E-2</c:v>
                </c:pt>
                <c:pt idx="993" formatCode="0.0%">
                  <c:v>-0.11108079508689783</c:v>
                </c:pt>
                <c:pt idx="994" formatCode="0.0%">
                  <c:v>-0.10662338274947572</c:v>
                </c:pt>
                <c:pt idx="995" formatCode="0.0%">
                  <c:v>-0.13576826849907364</c:v>
                </c:pt>
                <c:pt idx="996" formatCode="0.0%">
                  <c:v>-0.13576826849907364</c:v>
                </c:pt>
                <c:pt idx="997" formatCode="0.0%">
                  <c:v>-0.13576826849907364</c:v>
                </c:pt>
                <c:pt idx="998" formatCode="0.0%">
                  <c:v>-0.13353953525173851</c:v>
                </c:pt>
                <c:pt idx="999" formatCode="0.0%">
                  <c:v>-0.13542539895884859</c:v>
                </c:pt>
                <c:pt idx="1000" formatCode="0.0%">
                  <c:v>-0.14271160685693587</c:v>
                </c:pt>
                <c:pt idx="1001" formatCode="0.0%">
                  <c:v>-0.13791127082204041</c:v>
                </c:pt>
                <c:pt idx="1002" formatCode="0.0%">
                  <c:v>-0.14536894056886468</c:v>
                </c:pt>
                <c:pt idx="1003" formatCode="0.0%">
                  <c:v>-0.12511320895832384</c:v>
                </c:pt>
                <c:pt idx="1004" formatCode="0.0%">
                  <c:v>-0.12511320895832384</c:v>
                </c:pt>
                <c:pt idx="1005" formatCode="0.0%">
                  <c:v>-0.12513893365135914</c:v>
                </c:pt>
                <c:pt idx="1006" formatCode="0.0%">
                  <c:v>-0.13028213922647963</c:v>
                </c:pt>
                <c:pt idx="1007" formatCode="0.0%">
                  <c:v>-0.13251087247381491</c:v>
                </c:pt>
                <c:pt idx="1008" formatCode="0.0%">
                  <c:v>-0.14391167732634769</c:v>
                </c:pt>
                <c:pt idx="1009" formatCode="0.0%">
                  <c:v>-0.14699761150286961</c:v>
                </c:pt>
                <c:pt idx="1010" formatCode="0.0%">
                  <c:v>-0.14699761150286961</c:v>
                </c:pt>
                <c:pt idx="1011" formatCode="0.0%">
                  <c:v>-0.14699761150286961</c:v>
                </c:pt>
                <c:pt idx="1012" formatCode="0.0%">
                  <c:v>-0.1457118101090896</c:v>
                </c:pt>
                <c:pt idx="1013" formatCode="0.0%">
                  <c:v>-0.13533966803448011</c:v>
                </c:pt>
                <c:pt idx="1014" formatCode="0.0%">
                  <c:v>-0.1232531241014975</c:v>
                </c:pt>
                <c:pt idx="1015" formatCode="0.0%">
                  <c:v>-0.11948139668727692</c:v>
                </c:pt>
                <c:pt idx="1016" formatCode="0.0%">
                  <c:v>-0.11708125574845354</c:v>
                </c:pt>
                <c:pt idx="1017" formatCode="0.0%">
                  <c:v>-0.11708125574845354</c:v>
                </c:pt>
                <c:pt idx="1018" formatCode="0.0%">
                  <c:v>-0.11708125574845354</c:v>
                </c:pt>
                <c:pt idx="1019" formatCode="0.0%">
                  <c:v>-0.11930998899578867</c:v>
                </c:pt>
                <c:pt idx="1020" formatCode="0.0%">
                  <c:v>-0.13439673618092512</c:v>
                </c:pt>
                <c:pt idx="1021" formatCode="0.0%">
                  <c:v>-0.13491106756988686</c:v>
                </c:pt>
                <c:pt idx="1022" formatCode="0.0%">
                  <c:v>-0.13276806524691992</c:v>
                </c:pt>
                <c:pt idx="1023" formatCode="0.0%">
                  <c:v>-0.14408313917508436</c:v>
                </c:pt>
                <c:pt idx="1024" formatCode="0.0%">
                  <c:v>-0.14408313917508436</c:v>
                </c:pt>
                <c:pt idx="1025" formatCode="0.0%">
                  <c:v>-0.14408313917508436</c:v>
                </c:pt>
                <c:pt idx="1026" formatCode="0.0%">
                  <c:v>-0.1570268840372539</c:v>
                </c:pt>
                <c:pt idx="1027" formatCode="0.0%">
                  <c:v>-0.16988489797505507</c:v>
                </c:pt>
                <c:pt idx="1028" formatCode="0.0%">
                  <c:v>-0.14785481243205637</c:v>
                </c:pt>
                <c:pt idx="1029" formatCode="0.0%">
                  <c:v>-0.16362735285489122</c:v>
                </c:pt>
                <c:pt idx="1030" formatCode="0.0%">
                  <c:v>-0.17777116818647257</c:v>
                </c:pt>
                <c:pt idx="1031" formatCode="0.0%">
                  <c:v>-0.17777116818647257</c:v>
                </c:pt>
                <c:pt idx="1032" formatCode="0.0%">
                  <c:v>-0.17777116818647257</c:v>
                </c:pt>
                <c:pt idx="1033" formatCode="0.0%">
                  <c:v>-0.17734256772187906</c:v>
                </c:pt>
                <c:pt idx="1034" formatCode="0.0%">
                  <c:v>-0.1590970448609943</c:v>
                </c:pt>
                <c:pt idx="1035" formatCode="0.0%">
                  <c:v>-0.15908415543585236</c:v>
                </c:pt>
                <c:pt idx="1036" formatCode="0.0%">
                  <c:v>-0.15668401449702885</c:v>
                </c:pt>
                <c:pt idx="1037" formatCode="0.0%">
                  <c:v>-0.12282452363690397</c:v>
                </c:pt>
                <c:pt idx="1038" formatCode="0.0%">
                  <c:v>-0.12282452363690397</c:v>
                </c:pt>
                <c:pt idx="1039" formatCode="0.0%">
                  <c:v>-0.12282452363690397</c:v>
                </c:pt>
                <c:pt idx="1040" formatCode="0.0%">
                  <c:v>-0.12093865992979375</c:v>
                </c:pt>
                <c:pt idx="1041" formatCode="0.0%">
                  <c:v>-0.11853846483372195</c:v>
                </c:pt>
                <c:pt idx="1042" formatCode="0.0%">
                  <c:v>-0.10868065414807432</c:v>
                </c:pt>
                <c:pt idx="1043" formatCode="0.0%">
                  <c:v>-0.10713771413843759</c:v>
                </c:pt>
                <c:pt idx="1044" formatCode="0.0%">
                  <c:v>-9.9079982078283418E-2</c:v>
                </c:pt>
                <c:pt idx="1045" formatCode="0.0%">
                  <c:v>-9.9079982078283418E-2</c:v>
                </c:pt>
                <c:pt idx="1046" formatCode="0.0%">
                  <c:v>-9.9079982078283418E-2</c:v>
                </c:pt>
                <c:pt idx="1047" formatCode="0.0%">
                  <c:v>-0.10396604903754707</c:v>
                </c:pt>
                <c:pt idx="1048" formatCode="0.0%">
                  <c:v>-0.10345171764858535</c:v>
                </c:pt>
                <c:pt idx="1049" formatCode="0.0%">
                  <c:v>-8.5536174902783702E-2</c:v>
                </c:pt>
                <c:pt idx="1050" formatCode="0.0%">
                  <c:v>-8.2964572115223512E-2</c:v>
                </c:pt>
                <c:pt idx="1051" formatCode="0.0%">
                  <c:v>-8.579336767588884E-2</c:v>
                </c:pt>
                <c:pt idx="1052" formatCode="0.0%">
                  <c:v>-8.579336767588884E-2</c:v>
                </c:pt>
                <c:pt idx="1053" formatCode="0.0%">
                  <c:v>-8.579336767588884E-2</c:v>
                </c:pt>
                <c:pt idx="1054" formatCode="0.0%">
                  <c:v>-8.4250373509003676E-2</c:v>
                </c:pt>
                <c:pt idx="1055" formatCode="0.0%">
                  <c:v>-7.8678567469289792E-2</c:v>
                </c:pt>
                <c:pt idx="1056" formatCode="0.0%">
                  <c:v>-7.9792907014333142E-2</c:v>
                </c:pt>
                <c:pt idx="1057" formatCode="0.0%">
                  <c:v>-6.8220694470311968E-2</c:v>
                </c:pt>
                <c:pt idx="1058" formatCode="0.0%">
                  <c:v>-6.8906433550762078E-2</c:v>
                </c:pt>
                <c:pt idx="1059" formatCode="0.0%">
                  <c:v>-6.8906433550762078E-2</c:v>
                </c:pt>
                <c:pt idx="1060" formatCode="0.0%">
                  <c:v>-6.8906433550762078E-2</c:v>
                </c:pt>
                <c:pt idx="1061" formatCode="0.0%">
                  <c:v>-7.0792297257872297E-2</c:v>
                </c:pt>
                <c:pt idx="1062" formatCode="0.0%">
                  <c:v>-6.5820499374240171E-2</c:v>
                </c:pt>
                <c:pt idx="1063" formatCode="0.0%">
                  <c:v>-7.6535565146322856E-2</c:v>
                </c:pt>
                <c:pt idx="1064" formatCode="0.0%">
                  <c:v>-6.1261921296628399E-2</c:v>
                </c:pt>
                <c:pt idx="1065" formatCode="0.0%">
                  <c:v>-6.1277356112449721E-2</c:v>
                </c:pt>
                <c:pt idx="1066" formatCode="0.0%">
                  <c:v>-6.1277356112449721E-2</c:v>
                </c:pt>
                <c:pt idx="1067" formatCode="0.0%">
                  <c:v>-6.1277356112449721E-2</c:v>
                </c:pt>
                <c:pt idx="1068" formatCode="0.0%">
                  <c:v>-5.9477223329707979E-2</c:v>
                </c:pt>
                <c:pt idx="1069" formatCode="0.0%">
                  <c:v>-4.3276082442279602E-2</c:v>
                </c:pt>
                <c:pt idx="1070" formatCode="0.0%">
                  <c:v>-5.201955358288373E-2</c:v>
                </c:pt>
                <c:pt idx="1071" formatCode="0.0%">
                  <c:v>-4.147594965953786E-2</c:v>
                </c:pt>
                <c:pt idx="1072" formatCode="0.0%">
                  <c:v>-4.6876348007763372E-2</c:v>
                </c:pt>
                <c:pt idx="1073" formatCode="0.0%">
                  <c:v>-4.6876348007763372E-2</c:v>
                </c:pt>
                <c:pt idx="1074" formatCode="0.0%">
                  <c:v>-4.6876348007763372E-2</c:v>
                </c:pt>
                <c:pt idx="1075" formatCode="0.0%">
                  <c:v>-3.2903940367670401E-2</c:v>
                </c:pt>
                <c:pt idx="1076" formatCode="0.0%">
                  <c:v>-2.5189132004989716E-2</c:v>
                </c:pt>
                <c:pt idx="1077" formatCode="0.0%">
                  <c:v>-2.844647387299986E-2</c:v>
                </c:pt>
                <c:pt idx="1078" formatCode="0.0%">
                  <c:v>-2.8189335257143285E-2</c:v>
                </c:pt>
                <c:pt idx="1079" formatCode="0.0%">
                  <c:v>-3.1703869898258574E-2</c:v>
                </c:pt>
                <c:pt idx="1080" formatCode="0.0%">
                  <c:v>-3.1703869898258574E-2</c:v>
                </c:pt>
                <c:pt idx="1081" formatCode="0.0%">
                  <c:v>-3.1703869898258574E-2</c:v>
                </c:pt>
                <c:pt idx="1082" formatCode="0.0%">
                  <c:v>-2.6817802938994648E-2</c:v>
                </c:pt>
                <c:pt idx="1083" formatCode="0.0%">
                  <c:v>-2.5446270620846291E-2</c:v>
                </c:pt>
                <c:pt idx="1084" formatCode="0.0%">
                  <c:v>-2.3474730146616166E-2</c:v>
                </c:pt>
                <c:pt idx="1085" formatCode="0.0%">
                  <c:v>-2.527480877210948E-2</c:v>
                </c:pt>
                <c:pt idx="1086" formatCode="0.0%">
                  <c:v>-3.2818209443301924E-2</c:v>
                </c:pt>
                <c:pt idx="1087" formatCode="0.0%">
                  <c:v>-3.2818209443301924E-2</c:v>
                </c:pt>
                <c:pt idx="1088" formatCode="0.0%">
                  <c:v>-3.2818209443301924E-2</c:v>
                </c:pt>
                <c:pt idx="1089" formatCode="0.0%">
                  <c:v>-3.2818209443301924E-2</c:v>
                </c:pt>
                <c:pt idx="1090" formatCode="0.0%">
                  <c:v>-3.2818209443301924E-2</c:v>
                </c:pt>
                <c:pt idx="1091" formatCode="0.0%">
                  <c:v>-3.4618342226043805E-2</c:v>
                </c:pt>
                <c:pt idx="1092" formatCode="0.0%">
                  <c:v>-3.6161282235680547E-2</c:v>
                </c:pt>
                <c:pt idx="1093" formatCode="0.0%">
                  <c:v>-3.2732478518933593E-2</c:v>
                </c:pt>
                <c:pt idx="1094" formatCode="0.0%">
                  <c:v>-3.2732478518933593E-2</c:v>
                </c:pt>
                <c:pt idx="1095" formatCode="0.0%">
                  <c:v>-2.6114896010771816E-2</c:v>
                </c:pt>
                <c:pt idx="1096" formatCode="0.0%">
                  <c:v>-2.6114896010771816E-2</c:v>
                </c:pt>
                <c:pt idx="1097" formatCode="0.0%">
                  <c:v>-2.5789140161071204E-2</c:v>
                </c:pt>
                <c:pt idx="1098" formatCode="0.0%">
                  <c:v>-4.2933212902054693E-2</c:v>
                </c:pt>
                <c:pt idx="1099" formatCode="0.0%">
                  <c:v>-5.1076621729328767E-2</c:v>
                </c:pt>
                <c:pt idx="1100" formatCode="0.0%">
                  <c:v>-5.7591359622597767E-2</c:v>
                </c:pt>
                <c:pt idx="1101" formatCode="0.0%">
                  <c:v>-5.7591359622597767E-2</c:v>
                </c:pt>
                <c:pt idx="1102" formatCode="0.0%">
                  <c:v>-5.7591359622597767E-2</c:v>
                </c:pt>
                <c:pt idx="1103" formatCode="0.0%">
                  <c:v>-5.5705550072735831E-2</c:v>
                </c:pt>
                <c:pt idx="1104" formatCode="0.0%">
                  <c:v>-4.7990687552806721E-2</c:v>
                </c:pt>
                <c:pt idx="1105" formatCode="0.0%">
                  <c:v>-3.478980407478062E-2</c:v>
                </c:pt>
                <c:pt idx="1106" formatCode="0.0%">
                  <c:v>-2.750354201944475E-2</c:v>
                </c:pt>
                <c:pt idx="1107" formatCode="0.0%">
                  <c:v>-1.1216724364896607E-2</c:v>
                </c:pt>
                <c:pt idx="1108" formatCode="0.0%">
                  <c:v>-1.1216724364896607E-2</c:v>
                </c:pt>
                <c:pt idx="1109" formatCode="0.0%">
                  <c:v>-1.1216724364896607E-2</c:v>
                </c:pt>
                <c:pt idx="1110" formatCode="0.0%">
                  <c:v>-5.4734564764460456E-3</c:v>
                </c:pt>
                <c:pt idx="1111" formatCode="0.0%">
                  <c:v>-6.4163883300012966E-3</c:v>
                </c:pt>
                <c:pt idx="1112" formatCode="0.0%">
                  <c:v>-8.9022601931930019E-3</c:v>
                </c:pt>
                <c:pt idx="1113" formatCode="0.0%">
                  <c:v>-3.307540221640707E-2</c:v>
                </c:pt>
                <c:pt idx="1114" formatCode="0.0%">
                  <c:v>-1.430265854141851E-2</c:v>
                </c:pt>
                <c:pt idx="1115" formatCode="0.0%">
                  <c:v>-1.430265854141851E-2</c:v>
                </c:pt>
                <c:pt idx="1116" formatCode="0.0%">
                  <c:v>-1.430265854141851E-2</c:v>
                </c:pt>
                <c:pt idx="1117" formatCode="0.0%">
                  <c:v>-1.4474066232906892E-2</c:v>
                </c:pt>
                <c:pt idx="1118" formatCode="0.0%">
                  <c:v>2.6699523508280265E-3</c:v>
                </c:pt>
                <c:pt idx="1119" formatCode="0.0%">
                  <c:v>4.5558160579382443E-3</c:v>
                </c:pt>
                <c:pt idx="1120" formatCode="0.0%">
                  <c:v>2.0699441947462562E-3</c:v>
                </c:pt>
                <c:pt idx="1121" formatCode="0.0%">
                  <c:v>8.156081623422011E-3</c:v>
                </c:pt>
                <c:pt idx="1122" formatCode="0.0%">
                  <c:v>8.156081623422011E-3</c:v>
                </c:pt>
                <c:pt idx="1123" formatCode="0.0%">
                  <c:v>8.156081623422011E-3</c:v>
                </c:pt>
                <c:pt idx="1124" formatCode="0.0%">
                  <c:v>1.1842023956025542E-2</c:v>
                </c:pt>
                <c:pt idx="1125" formatCode="0.0%">
                  <c:v>2.6157355293592133E-2</c:v>
                </c:pt>
                <c:pt idx="1126" formatCode="0.0%">
                  <c:v>1.3144993197578857E-2</c:v>
                </c:pt>
                <c:pt idx="1127" formatCode="0.0%">
                  <c:v>1.3127825349805704E-2</c:v>
                </c:pt>
                <c:pt idx="1128" formatCode="0.0%">
                  <c:v>1.8099623233437823E-2</c:v>
                </c:pt>
                <c:pt idx="1129" formatCode="0.0%">
                  <c:v>1.8099623233437823E-2</c:v>
                </c:pt>
                <c:pt idx="1130" formatCode="0.0%">
                  <c:v>1.8099623233437823E-2</c:v>
                </c:pt>
                <c:pt idx="1131" formatCode="0.0%">
                  <c:v>3.9958301084948432E-2</c:v>
                </c:pt>
                <c:pt idx="1132" formatCode="0.0%">
                  <c:v>4.9130372690145946E-2</c:v>
                </c:pt>
                <c:pt idx="1133" formatCode="0.0%">
                  <c:v>5.1273375013112882E-2</c:v>
                </c:pt>
                <c:pt idx="1134" formatCode="0.0%">
                  <c:v>5.4959317345716414E-2</c:v>
                </c:pt>
                <c:pt idx="1135" formatCode="0.0%">
                  <c:v>7.2531990551293155E-2</c:v>
                </c:pt>
                <c:pt idx="1136" formatCode="0.0%">
                  <c:v>7.2531990551293155E-2</c:v>
                </c:pt>
                <c:pt idx="1137" formatCode="0.0%">
                  <c:v>7.2531990551293155E-2</c:v>
                </c:pt>
                <c:pt idx="1138" formatCode="0.0%">
                  <c:v>7.493218564736509E-2</c:v>
                </c:pt>
                <c:pt idx="1139" formatCode="0.0%">
                  <c:v>7.9646790757892202E-2</c:v>
                </c:pt>
                <c:pt idx="1140" formatCode="0.0%">
                  <c:v>5.8216713370975268E-2</c:v>
                </c:pt>
                <c:pt idx="1141" formatCode="0.0%">
                  <c:v>7.6646587505738772E-2</c:v>
                </c:pt>
                <c:pt idx="1142" formatCode="0.0%">
                  <c:v>8.9676063292276634E-2</c:v>
                </c:pt>
                <c:pt idx="1143" formatCode="0.0%">
                  <c:v>8.9676063292276634E-2</c:v>
                </c:pt>
                <c:pt idx="1144" formatCode="0.0%">
                  <c:v>8.9676063292276634E-2</c:v>
                </c:pt>
                <c:pt idx="1145" formatCode="0.0%">
                  <c:v>8.2475532161309109E-2</c:v>
                </c:pt>
                <c:pt idx="1146" formatCode="0.0%">
                  <c:v>8.5732928186567678E-2</c:v>
                </c:pt>
                <c:pt idx="1147" formatCode="0.0%">
                  <c:v>6.5417190344694093E-2</c:v>
                </c:pt>
                <c:pt idx="1148" formatCode="0.0%">
                  <c:v>6.3017049405870579E-2</c:v>
                </c:pt>
                <c:pt idx="1149" formatCode="0.0%">
                  <c:v>8.727586819620442E-2</c:v>
                </c:pt>
                <c:pt idx="1150" formatCode="0.0%">
                  <c:v>8.727586819620442E-2</c:v>
                </c:pt>
                <c:pt idx="1151" formatCode="0.0%">
                  <c:v>8.727586819620442E-2</c:v>
                </c:pt>
                <c:pt idx="1152" formatCode="0.0%">
                  <c:v>8.5561466337831002E-2</c:v>
                </c:pt>
                <c:pt idx="1153" formatCode="0.0%">
                  <c:v>8.1532600307753847E-2</c:v>
                </c:pt>
                <c:pt idx="1154" formatCode="0.0%">
                  <c:v>8.6075797726792733E-2</c:v>
                </c:pt>
                <c:pt idx="1155" formatCode="0.0%">
                  <c:v>9.7809182242336312E-2</c:v>
                </c:pt>
                <c:pt idx="1156" formatCode="0.0%">
                  <c:v>9.7819472119550707E-2</c:v>
                </c:pt>
                <c:pt idx="1157" formatCode="0.0%">
                  <c:v>9.7819472119550707E-2</c:v>
                </c:pt>
                <c:pt idx="1158" formatCode="0.0%">
                  <c:v>9.7819472119550707E-2</c:v>
                </c:pt>
                <c:pt idx="1159" formatCode="0.0%">
                  <c:v>0.1022769386142211</c:v>
                </c:pt>
                <c:pt idx="1160" formatCode="0.0%">
                  <c:v>0.10493427232614948</c:v>
                </c:pt>
                <c:pt idx="1161" formatCode="0.0%">
                  <c:v>8.7018729580347981E-2</c:v>
                </c:pt>
                <c:pt idx="1162" formatCode="0.0%">
                  <c:v>8.907600097894644E-2</c:v>
                </c:pt>
                <c:pt idx="1163" formatCode="0.0%">
                  <c:v>8.5047134948869285E-2</c:v>
                </c:pt>
                <c:pt idx="1164" formatCode="0.0%">
                  <c:v>8.5047134948869285E-2</c:v>
                </c:pt>
                <c:pt idx="1165" formatCode="0.0%">
                  <c:v>8.5047134948869285E-2</c:v>
                </c:pt>
                <c:pt idx="1166" formatCode="0.0%">
                  <c:v>0.10116254491192905</c:v>
                </c:pt>
                <c:pt idx="1167" formatCode="0.0%">
                  <c:v>8.4018526328194273E-2</c:v>
                </c:pt>
                <c:pt idx="1168" formatCode="0.0%">
                  <c:v>9.8676673048737201E-2</c:v>
                </c:pt>
                <c:pt idx="1169" formatCode="0.0%">
                  <c:v>0.10604861187119298</c:v>
                </c:pt>
                <c:pt idx="1170" formatCode="0.0%">
                  <c:v>0.10613434279556146</c:v>
                </c:pt>
                <c:pt idx="1171" formatCode="0.0%">
                  <c:v>0.10613434279556146</c:v>
                </c:pt>
                <c:pt idx="1172" formatCode="0.0%">
                  <c:v>0.10613434279556146</c:v>
                </c:pt>
                <c:pt idx="1173" formatCode="0.0%">
                  <c:v>9.1047595610425136E-2</c:v>
                </c:pt>
                <c:pt idx="1174" formatCode="0.0%">
                  <c:v>8.676153680724269E-2</c:v>
                </c:pt>
                <c:pt idx="1175" formatCode="0.0%">
                  <c:v>8.2989863550270826E-2</c:v>
                </c:pt>
                <c:pt idx="1176" formatCode="0.0%">
                  <c:v>9.7819472119550707E-2</c:v>
                </c:pt>
                <c:pt idx="1177" formatCode="0.0%">
                  <c:v>0.12010675043565457</c:v>
                </c:pt>
                <c:pt idx="1178" formatCode="0.0%">
                  <c:v>0.12010675043565457</c:v>
                </c:pt>
                <c:pt idx="1179" formatCode="0.0%">
                  <c:v>0.12010675043565457</c:v>
                </c:pt>
                <c:pt idx="1180" formatCode="0.0%">
                  <c:v>0.11307768115342355</c:v>
                </c:pt>
                <c:pt idx="1181" formatCode="0.0%">
                  <c:v>0.11333481976928027</c:v>
                </c:pt>
                <c:pt idx="1182" formatCode="0.0%">
                  <c:v>0.11822088672854419</c:v>
                </c:pt>
                <c:pt idx="1183" formatCode="0.0%">
                  <c:v>0.11822088672854419</c:v>
                </c:pt>
                <c:pt idx="1184" formatCode="0.0%">
                  <c:v>0.11822088672854419</c:v>
                </c:pt>
                <c:pt idx="1185" formatCode="0.0%">
                  <c:v>0.11822088672854419</c:v>
                </c:pt>
                <c:pt idx="1186" formatCode="0.0%">
                  <c:v>0.11662308542618134</c:v>
                </c:pt>
                <c:pt idx="1187" formatCode="0.0%">
                  <c:v>0.11662308542618134</c:v>
                </c:pt>
                <c:pt idx="1188" formatCode="0.0%">
                  <c:v>0.12224975275862121</c:v>
                </c:pt>
                <c:pt idx="1189" formatCode="0.0%">
                  <c:v>0.10844880696726505</c:v>
                </c:pt>
                <c:pt idx="1190" formatCode="0.0%">
                  <c:v>0.11616361532994574</c:v>
                </c:pt>
                <c:pt idx="1191" formatCode="0.0%">
                  <c:v>0.12036388905151113</c:v>
                </c:pt>
                <c:pt idx="1192" formatCode="0.0%">
                  <c:v>0.12036388905151113</c:v>
                </c:pt>
                <c:pt idx="1193" formatCode="0.0%">
                  <c:v>0.12036388905151113</c:v>
                </c:pt>
                <c:pt idx="1194" formatCode="0.0%">
                  <c:v>0.11436348254720372</c:v>
                </c:pt>
                <c:pt idx="1195" formatCode="0.0%">
                  <c:v>0.11616361532994574</c:v>
                </c:pt>
                <c:pt idx="1196" formatCode="0.0%">
                  <c:v>0.11299195022905523</c:v>
                </c:pt>
                <c:pt idx="1197" formatCode="0.0%">
                  <c:v>0.11359201254238542</c:v>
                </c:pt>
                <c:pt idx="1198" formatCode="0.0%">
                  <c:v>0.12293549183907132</c:v>
                </c:pt>
                <c:pt idx="1199" formatCode="0.0%">
                  <c:v>0.12293549183907132</c:v>
                </c:pt>
                <c:pt idx="1200" formatCode="0.0%">
                  <c:v>0.12293549183907132</c:v>
                </c:pt>
                <c:pt idx="1201" formatCode="0.0%">
                  <c:v>0.12945022973234033</c:v>
                </c:pt>
                <c:pt idx="1202" formatCode="0.0%">
                  <c:v>0.12799302064707191</c:v>
                </c:pt>
                <c:pt idx="1203" formatCode="0.0%">
                  <c:v>0.10313413954340774</c:v>
                </c:pt>
                <c:pt idx="1204" formatCode="0.0%">
                  <c:v>0.10862021465875316</c:v>
                </c:pt>
                <c:pt idx="1205" formatCode="0.0%">
                  <c:v>9.3962067938210228E-2</c:v>
                </c:pt>
                <c:pt idx="1206" formatCode="0.0%">
                  <c:v>9.3962067938210228E-2</c:v>
                </c:pt>
                <c:pt idx="1207" formatCode="0.0%">
                  <c:v>9.3962067938210228E-2</c:v>
                </c:pt>
                <c:pt idx="1208" formatCode="0.0%">
                  <c:v>8.4875727257381045E-2</c:v>
                </c:pt>
                <c:pt idx="1209" formatCode="0.0%">
                  <c:v>8.1789793080859138E-2</c:v>
                </c:pt>
                <c:pt idx="1210" formatCode="0.0%">
                  <c:v>9.799093396828723E-2</c:v>
                </c:pt>
                <c:pt idx="1211" formatCode="0.0%">
                  <c:v>0.10184833814962758</c:v>
                </c:pt>
                <c:pt idx="1212" formatCode="0.0%">
                  <c:v>9.9362412129187158E-2</c:v>
                </c:pt>
                <c:pt idx="1213" formatCode="0.0%">
                  <c:v>9.9362412129187158E-2</c:v>
                </c:pt>
                <c:pt idx="1214" formatCode="0.0%">
                  <c:v>9.9362412129187158E-2</c:v>
                </c:pt>
                <c:pt idx="1215" formatCode="0.0%">
                  <c:v>9.0790402837319845E-2</c:v>
                </c:pt>
                <c:pt idx="1216" formatCode="0.0%">
                  <c:v>8.3809371034504643E-2</c:v>
                </c:pt>
                <c:pt idx="1217" formatCode="0.0%">
                  <c:v>8.3847064479457598E-2</c:v>
                </c:pt>
                <c:pt idx="1218" formatCode="0.0%">
                  <c:v>8.470426540864423E-2</c:v>
                </c:pt>
                <c:pt idx="1219" formatCode="0.0%">
                  <c:v>7.1246189157513129E-2</c:v>
                </c:pt>
                <c:pt idx="1220" formatCode="0.0%">
                  <c:v>7.1246189157513129E-2</c:v>
                </c:pt>
                <c:pt idx="1221" formatCode="0.0%">
                  <c:v>7.1246189157513129E-2</c:v>
                </c:pt>
                <c:pt idx="1222" formatCode="0.0%">
                  <c:v>9.5847931645320447E-2</c:v>
                </c:pt>
                <c:pt idx="1223" formatCode="0.0%">
                  <c:v>0.10279127000318283</c:v>
                </c:pt>
                <c:pt idx="1224" formatCode="0.0%">
                  <c:v>9.979101259378069E-2</c:v>
                </c:pt>
                <c:pt idx="1225" formatCode="0.0%">
                  <c:v>9.979101259378069E-2</c:v>
                </c:pt>
                <c:pt idx="1226" formatCode="0.0%">
                  <c:v>9.1631302434709461E-2</c:v>
                </c:pt>
                <c:pt idx="1227" formatCode="0.0%">
                  <c:v>9.1631302434709461E-2</c:v>
                </c:pt>
                <c:pt idx="1228" formatCode="0.0%">
                  <c:v>9.1631302434709461E-2</c:v>
                </c:pt>
                <c:pt idx="1229" formatCode="0.0%">
                  <c:v>9.1647603766506616E-2</c:v>
                </c:pt>
                <c:pt idx="1230" formatCode="0.0%">
                  <c:v>8.0332529838342173E-2</c:v>
                </c:pt>
                <c:pt idx="1231" formatCode="0.0%">
                  <c:v>7.8103796591007038E-2</c:v>
                </c:pt>
                <c:pt idx="1232" formatCode="0.0%">
                  <c:v>8.2732724934414109E-2</c:v>
                </c:pt>
                <c:pt idx="1233" formatCode="0.0%">
                  <c:v>9.8076610735407146E-2</c:v>
                </c:pt>
                <c:pt idx="1234" formatCode="0.0%">
                  <c:v>9.8076610735407146E-2</c:v>
                </c:pt>
                <c:pt idx="1235" formatCode="0.0%">
                  <c:v>9.8076610735407146E-2</c:v>
                </c:pt>
                <c:pt idx="1236" formatCode="0.0%">
                  <c:v>9.8076610735407146E-2</c:v>
                </c:pt>
                <c:pt idx="1237" formatCode="0.0%">
                  <c:v>9.5333600256358716E-2</c:v>
                </c:pt>
                <c:pt idx="1238" formatCode="0.0%">
                  <c:v>8.8904539130209626E-2</c:v>
                </c:pt>
                <c:pt idx="1239" formatCode="0.0%">
                  <c:v>9.001893283250155E-2</c:v>
                </c:pt>
                <c:pt idx="1240" formatCode="0.0%">
                  <c:v>8.1961200772347378E-2</c:v>
                </c:pt>
                <c:pt idx="1241" formatCode="0.0%">
                  <c:v>8.1961200772347378E-2</c:v>
                </c:pt>
                <c:pt idx="1242" formatCode="0.0%">
                  <c:v>8.1961200772347378E-2</c:v>
                </c:pt>
                <c:pt idx="1243" formatCode="0.0%">
                  <c:v>7.4760723798628567E-2</c:v>
                </c:pt>
                <c:pt idx="1244" formatCode="0.0%">
                  <c:v>7.7932388899518659E-2</c:v>
                </c:pt>
                <c:pt idx="1245" formatCode="0.0%">
                  <c:v>6.961751822350791E-2</c:v>
                </c:pt>
                <c:pt idx="1246" formatCode="0.0%">
                  <c:v>7.6217987041145255E-2</c:v>
                </c:pt>
                <c:pt idx="1247" formatCode="0.0%">
                  <c:v>4.9458673930525665E-2</c:v>
                </c:pt>
                <c:pt idx="1248" formatCode="0.0%">
                  <c:v>4.9458673930525665E-2</c:v>
                </c:pt>
                <c:pt idx="1249" formatCode="0.0%">
                  <c:v>4.9458673930525665E-2</c:v>
                </c:pt>
                <c:pt idx="1250" formatCode="0.0%">
                  <c:v>4.9473242230371001E-2</c:v>
                </c:pt>
                <c:pt idx="1251" formatCode="0.0%">
                  <c:v>5.8388175219711937E-2</c:v>
                </c:pt>
                <c:pt idx="1252" formatCode="0.0%">
                  <c:v>5.8388175219711937E-2</c:v>
                </c:pt>
                <c:pt idx="1253" formatCode="0.0%">
                  <c:v>6.3188511254607393E-2</c:v>
                </c:pt>
                <c:pt idx="1254" formatCode="0.0%">
                  <c:v>7.6817995197226735E-2</c:v>
                </c:pt>
                <c:pt idx="1255" formatCode="0.0%">
                  <c:v>7.6817995197226735E-2</c:v>
                </c:pt>
                <c:pt idx="1256" formatCode="0.0%">
                  <c:v>7.6817995197226735E-2</c:v>
                </c:pt>
                <c:pt idx="1257" formatCode="0.0%">
                  <c:v>8.1618331232122324E-2</c:v>
                </c:pt>
                <c:pt idx="1258" formatCode="0.0%">
                  <c:v>8.5990066802424533E-2</c:v>
                </c:pt>
                <c:pt idx="1259" formatCode="0.0%">
                  <c:v>9.0618995145831605E-2</c:v>
                </c:pt>
                <c:pt idx="1260" formatCode="0.0%">
                  <c:v>9.2419073771324911E-2</c:v>
                </c:pt>
                <c:pt idx="1261" formatCode="0.0%">
                  <c:v>9.6447939801401927E-2</c:v>
                </c:pt>
                <c:pt idx="1262" formatCode="0.0%">
                  <c:v>9.6447939801401927E-2</c:v>
                </c:pt>
                <c:pt idx="1263" formatCode="0.0%">
                  <c:v>9.6447939801401927E-2</c:v>
                </c:pt>
                <c:pt idx="1264" formatCode="0.0%">
                  <c:v>9.773374119518223E-2</c:v>
                </c:pt>
                <c:pt idx="1265" formatCode="0.0%">
                  <c:v>9.1133272377544899E-2</c:v>
                </c:pt>
                <c:pt idx="1266" formatCode="0.0%">
                  <c:v>9.1304734226281561E-2</c:v>
                </c:pt>
                <c:pt idx="1267" formatCode="0.0%">
                  <c:v>9.0704671912951659E-2</c:v>
                </c:pt>
                <c:pt idx="1268" formatCode="0.0%">
                  <c:v>9.9362412129187158E-2</c:v>
                </c:pt>
                <c:pt idx="1269" formatCode="0.0%">
                  <c:v>9.9362412129187158E-2</c:v>
                </c:pt>
                <c:pt idx="1270" formatCode="0.0%">
                  <c:v>9.9362412129187158E-2</c:v>
                </c:pt>
                <c:pt idx="1271" formatCode="0.0%">
                  <c:v>9.8076610735407146E-2</c:v>
                </c:pt>
                <c:pt idx="1272" formatCode="0.0%">
                  <c:v>0.10613434279556146</c:v>
                </c:pt>
                <c:pt idx="1273" formatCode="0.0%">
                  <c:v>0.1082773451185281</c:v>
                </c:pt>
                <c:pt idx="1274" formatCode="0.0%">
                  <c:v>0.11470635208742877</c:v>
                </c:pt>
                <c:pt idx="1275" formatCode="0.0%">
                  <c:v>0.11573501486535236</c:v>
                </c:pt>
                <c:pt idx="1276" formatCode="0.0%">
                  <c:v>0.11573501486535236</c:v>
                </c:pt>
                <c:pt idx="1277" formatCode="0.0%">
                  <c:v>0.11551556969444859</c:v>
                </c:pt>
                <c:pt idx="1278" formatCode="0.0%">
                  <c:v>0.1155635530166154</c:v>
                </c:pt>
                <c:pt idx="1279" formatCode="0.0%">
                  <c:v>0.1022769386142211</c:v>
                </c:pt>
                <c:pt idx="1280" formatCode="0.0%">
                  <c:v>0.10321987046777621</c:v>
                </c:pt>
                <c:pt idx="1281" formatCode="0.0%">
                  <c:v>0.11282054253756726</c:v>
                </c:pt>
                <c:pt idx="1282" formatCode="0.0%">
                  <c:v>0.11256334976446197</c:v>
                </c:pt>
                <c:pt idx="1283" formatCode="0.0%">
                  <c:v>0.11256334976446197</c:v>
                </c:pt>
                <c:pt idx="1284" formatCode="0.0%">
                  <c:v>0.11256334976446197</c:v>
                </c:pt>
                <c:pt idx="1285" formatCode="0.0%">
                  <c:v>0.11359201254238542</c:v>
                </c:pt>
                <c:pt idx="1286" formatCode="0.0%">
                  <c:v>0.11367774346675376</c:v>
                </c:pt>
                <c:pt idx="1287" formatCode="0.0%">
                  <c:v>0.11436348254720372</c:v>
                </c:pt>
                <c:pt idx="1288" formatCode="0.0%">
                  <c:v>0.10544860371511149</c:v>
                </c:pt>
                <c:pt idx="1289" formatCode="0.0%">
                  <c:v>0.10622007371992964</c:v>
                </c:pt>
                <c:pt idx="1290" formatCode="0.0%">
                  <c:v>0.10622007371992964</c:v>
                </c:pt>
                <c:pt idx="1291" formatCode="0.0%">
                  <c:v>0.10622007371992964</c:v>
                </c:pt>
                <c:pt idx="1292" formatCode="0.0%">
                  <c:v>0.10476281047741295</c:v>
                </c:pt>
                <c:pt idx="1293" formatCode="0.0%">
                  <c:v>0.10047680583147908</c:v>
                </c:pt>
                <c:pt idx="1294" formatCode="0.0%">
                  <c:v>0.10604861187119298</c:v>
                </c:pt>
                <c:pt idx="1295" formatCode="0.0%">
                  <c:v>8.6247259575529686E-2</c:v>
                </c:pt>
                <c:pt idx="1296" formatCode="0.0%">
                  <c:v>7.8789589828705431E-2</c:v>
                </c:pt>
                <c:pt idx="1297" formatCode="0.0%">
                  <c:v>7.8789589828705431E-2</c:v>
                </c:pt>
                <c:pt idx="1298" formatCode="0.0%">
                  <c:v>7.8789589828705431E-2</c:v>
                </c:pt>
                <c:pt idx="1299" formatCode="0.0%">
                  <c:v>6.961751822350791E-2</c:v>
                </c:pt>
                <c:pt idx="1300" formatCode="0.0%">
                  <c:v>7.3560653329216588E-2</c:v>
                </c:pt>
                <c:pt idx="1301" formatCode="0.0%">
                  <c:v>8.3075594474639025E-2</c:v>
                </c:pt>
                <c:pt idx="1302" formatCode="0.0%">
                  <c:v>6.593152173365581E-2</c:v>
                </c:pt>
                <c:pt idx="1303" formatCode="0.0%">
                  <c:v>5.0416174083925964E-2</c:v>
                </c:pt>
                <c:pt idx="1304" formatCode="0.0%">
                  <c:v>5.0416174083925964E-2</c:v>
                </c:pt>
                <c:pt idx="1305" formatCode="0.0%">
                  <c:v>5.0416174083925964E-2</c:v>
                </c:pt>
                <c:pt idx="1306" formatCode="0.0%">
                  <c:v>6.5502921269062278E-2</c:v>
                </c:pt>
                <c:pt idx="1307" formatCode="0.0%">
                  <c:v>6.8588855445584476E-2</c:v>
                </c:pt>
                <c:pt idx="1308" formatCode="0.0%">
                  <c:v>7.1355911742964934E-2</c:v>
                </c:pt>
                <c:pt idx="1309" formatCode="0.0%">
                  <c:v>7.1331920081881328E-2</c:v>
                </c:pt>
                <c:pt idx="1310" formatCode="0.0%">
                  <c:v>2.6757363449673621E-2</c:v>
                </c:pt>
                <c:pt idx="1311" formatCode="0.0%">
                  <c:v>2.6757363449673621E-2</c:v>
                </c:pt>
                <c:pt idx="1312" formatCode="0.0%">
                  <c:v>2.6757363449673621E-2</c:v>
                </c:pt>
                <c:pt idx="1313" formatCode="0.0%">
                  <c:v>-4.5305246228909369E-3</c:v>
                </c:pt>
                <c:pt idx="1314" formatCode="0.0%">
                  <c:v>2.7786026227597346E-2</c:v>
                </c:pt>
                <c:pt idx="1315" formatCode="0.0%">
                  <c:v>6.275985663276544E-2</c:v>
                </c:pt>
                <c:pt idx="1316" formatCode="0.0%">
                  <c:v>5.6245118739496579E-2</c:v>
                </c:pt>
                <c:pt idx="1317" formatCode="0.0%">
                  <c:v>7.0303257303957881E-2</c:v>
                </c:pt>
                <c:pt idx="1318" formatCode="0.0%">
                  <c:v>7.0303257303957881E-2</c:v>
                </c:pt>
                <c:pt idx="1319" formatCode="0.0%">
                  <c:v>7.0303257303957881E-2</c:v>
                </c:pt>
                <c:pt idx="1320" formatCode="0.0%">
                  <c:v>7.0903319617288074E-2</c:v>
                </c:pt>
                <c:pt idx="1321" formatCode="0.0%">
                  <c:v>8.0332529838342173E-2</c:v>
                </c:pt>
                <c:pt idx="1322" formatCode="0.0%">
                  <c:v>8.1103999843160607E-2</c:v>
                </c:pt>
                <c:pt idx="1323" formatCode="0.0%">
                  <c:v>8.5990066802424533E-2</c:v>
                </c:pt>
                <c:pt idx="1324" formatCode="0.0%">
                  <c:v>0.10330554723489599</c:v>
                </c:pt>
                <c:pt idx="1325" formatCode="0.0%">
                  <c:v>0.10330554723489599</c:v>
                </c:pt>
                <c:pt idx="1326" formatCode="0.0%">
                  <c:v>0.10330554723489599</c:v>
                </c:pt>
                <c:pt idx="1327" formatCode="0.0%">
                  <c:v>0.10304840861903926</c:v>
                </c:pt>
                <c:pt idx="1328" formatCode="0.0%">
                  <c:v>0.10742014418934147</c:v>
                </c:pt>
                <c:pt idx="1329" formatCode="0.0%">
                  <c:v>0.10724868234060494</c:v>
                </c:pt>
                <c:pt idx="1330" formatCode="0.0%">
                  <c:v>0.11436348254720372</c:v>
                </c:pt>
                <c:pt idx="1331" formatCode="0.0%">
                  <c:v>9.7048002114732135E-2</c:v>
                </c:pt>
                <c:pt idx="1332" formatCode="0.0%">
                  <c:v>9.7048002114732135E-2</c:v>
                </c:pt>
                <c:pt idx="1333" formatCode="0.0%">
                  <c:v>9.7048002114732135E-2</c:v>
                </c:pt>
                <c:pt idx="1334" formatCode="0.0%">
                  <c:v>0.10030534398274242</c:v>
                </c:pt>
                <c:pt idx="1335" formatCode="0.0%">
                  <c:v>9.47335379430288E-2</c:v>
                </c:pt>
                <c:pt idx="1336" formatCode="0.0%">
                  <c:v>9.8848134897474155E-2</c:v>
                </c:pt>
                <c:pt idx="1337" formatCode="0.0%">
                  <c:v>0.11333481976928027</c:v>
                </c:pt>
                <c:pt idx="1338" formatCode="0.0%">
                  <c:v>0.11308623799868613</c:v>
                </c:pt>
                <c:pt idx="1339" formatCode="0.0%">
                  <c:v>0.11306825779218556</c:v>
                </c:pt>
                <c:pt idx="1340" formatCode="0.0%">
                  <c:v>0.11306825779218556</c:v>
                </c:pt>
                <c:pt idx="1341" formatCode="0.0%">
                  <c:v>0.1137634202338738</c:v>
                </c:pt>
                <c:pt idx="1342" formatCode="0.0%">
                  <c:v>0.11676367764327565</c:v>
                </c:pt>
                <c:pt idx="1343" formatCode="0.0%">
                  <c:v>9.3447736549248497E-2</c:v>
                </c:pt>
                <c:pt idx="1344" formatCode="0.0%">
                  <c:v>9.4219206554066806E-2</c:v>
                </c:pt>
                <c:pt idx="1345" formatCode="0.0%">
                  <c:v>8.2132662621084054E-2</c:v>
                </c:pt>
                <c:pt idx="1346" formatCode="0.0%">
                  <c:v>8.2132662621084054E-2</c:v>
                </c:pt>
                <c:pt idx="1347" formatCode="0.0%">
                  <c:v>8.2132662621084054E-2</c:v>
                </c:pt>
                <c:pt idx="1348" formatCode="0.0%">
                  <c:v>8.7533060969309698E-2</c:v>
                </c:pt>
                <c:pt idx="1349" formatCode="0.0%">
                  <c:v>8.7447330044941221E-2</c:v>
                </c:pt>
                <c:pt idx="1350" formatCode="0.0%">
                  <c:v>8.8733131438721385E-2</c:v>
                </c:pt>
                <c:pt idx="1351" formatCode="0.0%">
                  <c:v>0.11059180929023185</c:v>
                </c:pt>
                <c:pt idx="1352" formatCode="0.0%">
                  <c:v>0.12293549183907132</c:v>
                </c:pt>
                <c:pt idx="1353" formatCode="0.0%">
                  <c:v>0.12293549183907132</c:v>
                </c:pt>
                <c:pt idx="1354" formatCode="0.0%">
                  <c:v>0.12293549183907132</c:v>
                </c:pt>
                <c:pt idx="1355" formatCode="0.0%">
                  <c:v>0.12353555415240151</c:v>
                </c:pt>
                <c:pt idx="1356" formatCode="0.0%">
                  <c:v>0.13185042482841225</c:v>
                </c:pt>
                <c:pt idx="1357" formatCode="0.0%">
                  <c:v>0.13322195714656077</c:v>
                </c:pt>
                <c:pt idx="1358" formatCode="0.0%">
                  <c:v>0.15533777361392795</c:v>
                </c:pt>
                <c:pt idx="1359" formatCode="0.0%">
                  <c:v>0.15328050221532918</c:v>
                </c:pt>
                <c:pt idx="1360" formatCode="0.0%">
                  <c:v>0.15328050221532918</c:v>
                </c:pt>
                <c:pt idx="1361" formatCode="0.0%">
                  <c:v>0.15328050221532918</c:v>
                </c:pt>
                <c:pt idx="1362" formatCode="0.0%">
                  <c:v>0.15422343406888445</c:v>
                </c:pt>
                <c:pt idx="1363" formatCode="0.0%">
                  <c:v>0.16125244919386644</c:v>
                </c:pt>
                <c:pt idx="1364" formatCode="0.0%">
                  <c:v>0.16536704614831207</c:v>
                </c:pt>
                <c:pt idx="1365" formatCode="0.0%">
                  <c:v>0.17651065822773987</c:v>
                </c:pt>
                <c:pt idx="1366" formatCode="0.0%">
                  <c:v>0.17745359008129483</c:v>
                </c:pt>
                <c:pt idx="1367" formatCode="0.0%">
                  <c:v>0.17745359008129483</c:v>
                </c:pt>
                <c:pt idx="1368" formatCode="0.0%">
                  <c:v>0.17745359008129483</c:v>
                </c:pt>
                <c:pt idx="1369" formatCode="0.0%">
                  <c:v>0.16987937393570846</c:v>
                </c:pt>
                <c:pt idx="1370" formatCode="0.0%">
                  <c:v>0.17162464542572436</c:v>
                </c:pt>
                <c:pt idx="1371" formatCode="0.0%">
                  <c:v>0.17693925869233312</c:v>
                </c:pt>
                <c:pt idx="1372" formatCode="0.0%">
                  <c:v>0.17711072054106977</c:v>
                </c:pt>
                <c:pt idx="1373" formatCode="0.0%">
                  <c:v>0.19974086839739869</c:v>
                </c:pt>
                <c:pt idx="1374" formatCode="0.0%">
                  <c:v>0.19974086839739869</c:v>
                </c:pt>
                <c:pt idx="1375" formatCode="0.0%">
                  <c:v>0.19974086839739869</c:v>
                </c:pt>
                <c:pt idx="1376" formatCode="0.0%">
                  <c:v>0.2030839411897773</c:v>
                </c:pt>
                <c:pt idx="1377" formatCode="0.0%">
                  <c:v>0.20359827257873903</c:v>
                </c:pt>
                <c:pt idx="1378" formatCode="0.0%">
                  <c:v>0.20805573907340943</c:v>
                </c:pt>
                <c:pt idx="1379" formatCode="0.0%">
                  <c:v>0.21894221253698062</c:v>
                </c:pt>
                <c:pt idx="1380" formatCode="0.0%">
                  <c:v>0.22648561320817293</c:v>
                </c:pt>
                <c:pt idx="1381" formatCode="0.0%">
                  <c:v>0.22648561320817293</c:v>
                </c:pt>
                <c:pt idx="1382" formatCode="0.0%">
                  <c:v>0.22648561320817293</c:v>
                </c:pt>
                <c:pt idx="1383" formatCode="0.0%">
                  <c:v>0.24105802900434781</c:v>
                </c:pt>
                <c:pt idx="1384" formatCode="0.0%">
                  <c:v>0.23000014784928838</c:v>
                </c:pt>
                <c:pt idx="1385" formatCode="0.0%">
                  <c:v>0.21619914790068351</c:v>
                </c:pt>
                <c:pt idx="1386" formatCode="0.0%">
                  <c:v>0.22322821718291436</c:v>
                </c:pt>
                <c:pt idx="1387" formatCode="0.0%">
                  <c:v>0.23051442508100167</c:v>
                </c:pt>
                <c:pt idx="1388" formatCode="0.0%">
                  <c:v>0.23051442508100167</c:v>
                </c:pt>
                <c:pt idx="1389" formatCode="0.0%">
                  <c:v>0.23051442508100167</c:v>
                </c:pt>
                <c:pt idx="1390" formatCode="0.0%">
                  <c:v>0.23377182110626024</c:v>
                </c:pt>
                <c:pt idx="1391" formatCode="0.0%">
                  <c:v>0.23600055435359565</c:v>
                </c:pt>
                <c:pt idx="1392" formatCode="0.0%">
                  <c:v>0.2405436976153858</c:v>
                </c:pt>
                <c:pt idx="1393" formatCode="0.0%">
                  <c:v>0.23188595739915002</c:v>
                </c:pt>
                <c:pt idx="1394" formatCode="0.0%">
                  <c:v>0.23754349436323224</c:v>
                </c:pt>
                <c:pt idx="1395" formatCode="0.0%">
                  <c:v>0.23754349436323224</c:v>
                </c:pt>
                <c:pt idx="1396" formatCode="0.0%">
                  <c:v>0.23754349436323224</c:v>
                </c:pt>
                <c:pt idx="1397" formatCode="0.0%">
                  <c:v>0.24028655899952939</c:v>
                </c:pt>
                <c:pt idx="1398" formatCode="0.0%">
                  <c:v>0.25048729338265036</c:v>
                </c:pt>
                <c:pt idx="1399" formatCode="0.0%">
                  <c:v>0.24277243086272107</c:v>
                </c:pt>
                <c:pt idx="1400" formatCode="0.0%">
                  <c:v>0.21193458952515415</c:v>
                </c:pt>
                <c:pt idx="1401" formatCode="0.0%">
                  <c:v>0.21251320556808012</c:v>
                </c:pt>
                <c:pt idx="1402" formatCode="0.0%">
                  <c:v>0.21251320556808012</c:v>
                </c:pt>
                <c:pt idx="1403" formatCode="0.0%">
                  <c:v>0.21251320556808012</c:v>
                </c:pt>
                <c:pt idx="1404" formatCode="0.0%">
                  <c:v>0.21859934299675557</c:v>
                </c:pt>
                <c:pt idx="1405" formatCode="0.0%">
                  <c:v>0.2270856213642547</c:v>
                </c:pt>
                <c:pt idx="1406" formatCode="0.0%">
                  <c:v>0.24251529224686449</c:v>
                </c:pt>
                <c:pt idx="1407" formatCode="0.0%">
                  <c:v>0.25734490081614436</c:v>
                </c:pt>
                <c:pt idx="1408" formatCode="0.0%">
                  <c:v>0.25468756710421575</c:v>
                </c:pt>
                <c:pt idx="1409" formatCode="0.0%">
                  <c:v>0.25468756710421575</c:v>
                </c:pt>
                <c:pt idx="1410" formatCode="0.0%">
                  <c:v>0.25468756710421575</c:v>
                </c:pt>
                <c:pt idx="1411" formatCode="0.0%">
                  <c:v>0.27603191356676432</c:v>
                </c:pt>
                <c:pt idx="1412" formatCode="0.0%">
                  <c:v>0.29720479818057638</c:v>
                </c:pt>
                <c:pt idx="1413" formatCode="0.0%">
                  <c:v>0.29994786281687313</c:v>
                </c:pt>
                <c:pt idx="1414" formatCode="0.0%">
                  <c:v>0.30106220236191661</c:v>
                </c:pt>
                <c:pt idx="1415" formatCode="0.0%">
                  <c:v>0.2934331249236044</c:v>
                </c:pt>
                <c:pt idx="1416" formatCode="0.0%">
                  <c:v>0.2934331249236044</c:v>
                </c:pt>
                <c:pt idx="1417" formatCode="0.0%">
                  <c:v>0.2934331249236044</c:v>
                </c:pt>
                <c:pt idx="1418" formatCode="0.0%">
                  <c:v>0.27568904402653943</c:v>
                </c:pt>
                <c:pt idx="1419" formatCode="0.0%">
                  <c:v>0.27783204634950637</c:v>
                </c:pt>
                <c:pt idx="1420" formatCode="0.0%">
                  <c:v>0.29694765956471969</c:v>
                </c:pt>
                <c:pt idx="1421" formatCode="0.0%">
                  <c:v>0.30174799559961513</c:v>
                </c:pt>
                <c:pt idx="1422" formatCode="0.0%">
                  <c:v>0.32489247484490591</c:v>
                </c:pt>
                <c:pt idx="1423" formatCode="0.0%">
                  <c:v>0.32489247484490591</c:v>
                </c:pt>
                <c:pt idx="1424" formatCode="0.0%">
                  <c:v>0.32489247484490591</c:v>
                </c:pt>
                <c:pt idx="1425" formatCode="0.0%">
                  <c:v>0.33157862042966285</c:v>
                </c:pt>
                <c:pt idx="1426" formatCode="0.0%">
                  <c:v>0.3392077520252238</c:v>
                </c:pt>
                <c:pt idx="1427" formatCode="0.0%">
                  <c:v>0.32609254531431758</c:v>
                </c:pt>
                <c:pt idx="1428" formatCode="0.0%">
                  <c:v>0.325321075309499</c:v>
                </c:pt>
                <c:pt idx="1429" formatCode="0.0%">
                  <c:v>0.31983494603690532</c:v>
                </c:pt>
                <c:pt idx="1430" formatCode="0.0%">
                  <c:v>0.31985384691662999</c:v>
                </c:pt>
                <c:pt idx="1431" formatCode="0.0%">
                  <c:v>0.31985384691662999</c:v>
                </c:pt>
                <c:pt idx="1432" formatCode="0.0%">
                  <c:v>0.33697901877788838</c:v>
                </c:pt>
                <c:pt idx="1433" formatCode="0.0%">
                  <c:v>0.3333787532124049</c:v>
                </c:pt>
                <c:pt idx="1434" formatCode="0.0%">
                  <c:v>0.34940848640834477</c:v>
                </c:pt>
                <c:pt idx="1435" formatCode="0.0%">
                  <c:v>0.34966562502420145</c:v>
                </c:pt>
                <c:pt idx="1436" formatCode="0.0%">
                  <c:v>0.35335156735680501</c:v>
                </c:pt>
                <c:pt idx="1437" formatCode="0.0%">
                  <c:v>0.35335156735680501</c:v>
                </c:pt>
                <c:pt idx="1438" formatCode="0.0%">
                  <c:v>0.35335156735680501</c:v>
                </c:pt>
                <c:pt idx="1439" formatCode="0.0%">
                  <c:v>0.35729470246251366</c:v>
                </c:pt>
                <c:pt idx="1440" formatCode="0.0%">
                  <c:v>0.35318015966531674</c:v>
                </c:pt>
                <c:pt idx="1441" formatCode="0.0%">
                  <c:v>0.35729470246251366</c:v>
                </c:pt>
                <c:pt idx="1442" formatCode="0.0%">
                  <c:v>0.36535243452266797</c:v>
                </c:pt>
                <c:pt idx="1443" formatCode="0.0%">
                  <c:v>0.35300869781658006</c:v>
                </c:pt>
                <c:pt idx="1444" formatCode="0.0%">
                  <c:v>0.35300869781658006</c:v>
                </c:pt>
                <c:pt idx="1445" formatCode="0.0%">
                  <c:v>0.35300869781658006</c:v>
                </c:pt>
                <c:pt idx="1446" formatCode="0.0%">
                  <c:v>0.34932275548397629</c:v>
                </c:pt>
                <c:pt idx="1447" formatCode="0.0%">
                  <c:v>0.34649395992331106</c:v>
                </c:pt>
                <c:pt idx="1448" formatCode="0.0%">
                  <c:v>0.35043709502901976</c:v>
                </c:pt>
                <c:pt idx="1449" formatCode="0.0%">
                  <c:v>0.32017786973437867</c:v>
                </c:pt>
                <c:pt idx="1450" formatCode="0.0%">
                  <c:v>0.30551966885658743</c:v>
                </c:pt>
                <c:pt idx="1451" formatCode="0.0%">
                  <c:v>0.30551966885658743</c:v>
                </c:pt>
                <c:pt idx="1452" formatCode="0.0%">
                  <c:v>0.30551966885658743</c:v>
                </c:pt>
                <c:pt idx="1453" formatCode="0.0%">
                  <c:v>0.30551966885658743</c:v>
                </c:pt>
                <c:pt idx="1454" formatCode="0.0%">
                  <c:v>0.30551966885658743</c:v>
                </c:pt>
                <c:pt idx="1455" formatCode="0.0%">
                  <c:v>0.30551966885658743</c:v>
                </c:pt>
                <c:pt idx="1456" formatCode="0.0%">
                  <c:v>0.31983494603690532</c:v>
                </c:pt>
                <c:pt idx="1457" formatCode="0.0%">
                  <c:v>0.31974926926978553</c:v>
                </c:pt>
                <c:pt idx="1458" formatCode="0.0%">
                  <c:v>0.31974926926978553</c:v>
                </c:pt>
                <c:pt idx="1459" formatCode="0.0%">
                  <c:v>0.31974926926978553</c:v>
                </c:pt>
                <c:pt idx="1460" formatCode="0.0%">
                  <c:v>0.31974926926978553</c:v>
                </c:pt>
                <c:pt idx="1461" formatCode="0.0%">
                  <c:v>0.31481689786305794</c:v>
                </c:pt>
                <c:pt idx="1462" formatCode="0.0%">
                  <c:v>0.31494893323488982</c:v>
                </c:pt>
                <c:pt idx="1463" formatCode="0.0%">
                  <c:v>0.3276354853239542</c:v>
                </c:pt>
                <c:pt idx="1464" formatCode="0.0%">
                  <c:v>0.3317500822783998</c:v>
                </c:pt>
                <c:pt idx="1465" formatCode="0.0%">
                  <c:v>0.3317500822783998</c:v>
                </c:pt>
                <c:pt idx="1466" formatCode="0.0%">
                  <c:v>0.3317500822783998</c:v>
                </c:pt>
                <c:pt idx="1467" formatCode="0.0%">
                  <c:v>0.33972208341418536</c:v>
                </c:pt>
                <c:pt idx="1468" formatCode="0.0%">
                  <c:v>0.34349375667115767</c:v>
                </c:pt>
                <c:pt idx="1469" formatCode="0.0%">
                  <c:v>0.33132148181380644</c:v>
                </c:pt>
                <c:pt idx="1470" formatCode="0.0%">
                  <c:v>0.33037854996025118</c:v>
                </c:pt>
                <c:pt idx="1471" formatCode="0.0%">
                  <c:v>0.32112074743068547</c:v>
                </c:pt>
                <c:pt idx="1472" formatCode="0.0%">
                  <c:v>0.32112074743068547</c:v>
                </c:pt>
                <c:pt idx="1473" formatCode="0.0%">
                  <c:v>0.32112074743068547</c:v>
                </c:pt>
                <c:pt idx="1474" formatCode="0.0%">
                  <c:v>0.31734907417371344</c:v>
                </c:pt>
                <c:pt idx="1475" formatCode="0.0%">
                  <c:v>0.31297733860341137</c:v>
                </c:pt>
                <c:pt idx="1476" formatCode="0.0%">
                  <c:v>0.332864421823443</c:v>
                </c:pt>
                <c:pt idx="1477" formatCode="0.0%">
                  <c:v>0.34057928434337242</c:v>
                </c:pt>
                <c:pt idx="1478" formatCode="0.0%">
                  <c:v>0.3499227636400582</c:v>
                </c:pt>
                <c:pt idx="1479" formatCode="0.0%">
                  <c:v>0.3499227636400582</c:v>
                </c:pt>
                <c:pt idx="1480" formatCode="0.0%">
                  <c:v>0.3499227636400582</c:v>
                </c:pt>
                <c:pt idx="1481" formatCode="0.0%">
                  <c:v>0.34726542992812937</c:v>
                </c:pt>
                <c:pt idx="1482" formatCode="0.0%">
                  <c:v>0.34640822899894258</c:v>
                </c:pt>
                <c:pt idx="1483" formatCode="0.0%">
                  <c:v>0.36252363896200251</c:v>
                </c:pt>
                <c:pt idx="1484" formatCode="0.0%">
                  <c:v>0.35995203617444249</c:v>
                </c:pt>
                <c:pt idx="1485" formatCode="0.0%">
                  <c:v>0.36543816544703644</c:v>
                </c:pt>
                <c:pt idx="1486" formatCode="0.0%">
                  <c:v>0.36543816544703644</c:v>
                </c:pt>
                <c:pt idx="1487" formatCode="0.0%">
                  <c:v>0.36543816544703644</c:v>
                </c:pt>
                <c:pt idx="1488" formatCode="0.0%">
                  <c:v>0.35292296689221159</c:v>
                </c:pt>
                <c:pt idx="1489" formatCode="0.0%">
                  <c:v>0.37546743798142074</c:v>
                </c:pt>
                <c:pt idx="1490" formatCode="0.0%">
                  <c:v>0.3909827856311503</c:v>
                </c:pt>
                <c:pt idx="1491" formatCode="0.0%">
                  <c:v>0.39758325444878778</c:v>
                </c:pt>
                <c:pt idx="1492" formatCode="0.0%">
                  <c:v>0.40707247090117504</c:v>
                </c:pt>
                <c:pt idx="1493" formatCode="0.0%">
                  <c:v>0.40707247090117504</c:v>
                </c:pt>
                <c:pt idx="1494" formatCode="0.0%">
                  <c:v>0.40707247090117504</c:v>
                </c:pt>
                <c:pt idx="1495" formatCode="0.0%">
                  <c:v>0.38609671867188666</c:v>
                </c:pt>
                <c:pt idx="1496" formatCode="0.0%">
                  <c:v>0.41181280070473719</c:v>
                </c:pt>
                <c:pt idx="1497" formatCode="0.0%">
                  <c:v>0.41185054830693874</c:v>
                </c:pt>
                <c:pt idx="1498" formatCode="0.0%">
                  <c:v>0.41854752534139494</c:v>
                </c:pt>
                <c:pt idx="1499" formatCode="0.0%">
                  <c:v>0.43887918541432641</c:v>
                </c:pt>
                <c:pt idx="1500" formatCode="0.0%">
                  <c:v>0.43887918541432641</c:v>
                </c:pt>
                <c:pt idx="1501" formatCode="0.0%">
                  <c:v>0.43887918541432641</c:v>
                </c:pt>
                <c:pt idx="1502" formatCode="0.0%">
                  <c:v>0.43784185747664395</c:v>
                </c:pt>
                <c:pt idx="1503" formatCode="0.0%">
                  <c:v>0.4351447723443192</c:v>
                </c:pt>
                <c:pt idx="1504" formatCode="0.0%">
                  <c:v>0.42788347678053978</c:v>
                </c:pt>
                <c:pt idx="1505" formatCode="0.0%">
                  <c:v>0.43690824066982997</c:v>
                </c:pt>
                <c:pt idx="1506" formatCode="0.0%">
                  <c:v>0.44894127724129873</c:v>
                </c:pt>
                <c:pt idx="1507" formatCode="0.0%">
                  <c:v>0.44894127724129873</c:v>
                </c:pt>
                <c:pt idx="1508" formatCode="0.0%">
                  <c:v>0.44894127724129873</c:v>
                </c:pt>
                <c:pt idx="1509" formatCode="0.0%">
                  <c:v>0.45941826774899541</c:v>
                </c:pt>
                <c:pt idx="1510" formatCode="0.0%">
                  <c:v>0.45547643241725067</c:v>
                </c:pt>
                <c:pt idx="1511" formatCode="0.0%">
                  <c:v>0.44697033249680229</c:v>
                </c:pt>
                <c:pt idx="1512" formatCode="0.0%">
                  <c:v>0.42871332829923658</c:v>
                </c:pt>
                <c:pt idx="1513" formatCode="0.0%">
                  <c:v>0.43192907740040198</c:v>
                </c:pt>
                <c:pt idx="1514" formatCode="0.0%">
                  <c:v>0.43192907740040198</c:v>
                </c:pt>
                <c:pt idx="1515" formatCode="0.0%">
                  <c:v>0.43192907740040198</c:v>
                </c:pt>
                <c:pt idx="1516" formatCode="0.0%">
                  <c:v>0.38618288285424285</c:v>
                </c:pt>
                <c:pt idx="1517" formatCode="0.0%">
                  <c:v>0.36066458309289773</c:v>
                </c:pt>
                <c:pt idx="1518" formatCode="0.0%">
                  <c:v>0.38307089904119462</c:v>
                </c:pt>
                <c:pt idx="1519" formatCode="0.0%">
                  <c:v>0.37601702573915302</c:v>
                </c:pt>
                <c:pt idx="1520" formatCode="0.0%">
                  <c:v>0.36501303104634675</c:v>
                </c:pt>
                <c:pt idx="1521" formatCode="0.0%">
                  <c:v>0.36501303104634675</c:v>
                </c:pt>
                <c:pt idx="1522" formatCode="0.0%">
                  <c:v>0.36501303104634675</c:v>
                </c:pt>
                <c:pt idx="1523" formatCode="0.0%">
                  <c:v>0.37176400285755307</c:v>
                </c:pt>
                <c:pt idx="1524" formatCode="0.0%">
                  <c:v>0.31533328722746234</c:v>
                </c:pt>
                <c:pt idx="1525" formatCode="0.0%">
                  <c:v>0.30869436676339318</c:v>
                </c:pt>
                <c:pt idx="1526" formatCode="0.0%">
                  <c:v>0.30174425874946903</c:v>
                </c:pt>
                <c:pt idx="1527" formatCode="0.0%">
                  <c:v>0.27290649875608919</c:v>
                </c:pt>
                <c:pt idx="1528" formatCode="0.0%">
                  <c:v>0.27290649875608919</c:v>
                </c:pt>
                <c:pt idx="1529" formatCode="0.0%">
                  <c:v>0.27290649875608919</c:v>
                </c:pt>
                <c:pt idx="1530" formatCode="0.0%">
                  <c:v>0.22363336755890914</c:v>
                </c:pt>
                <c:pt idx="1531" formatCode="0.0%">
                  <c:v>0.21855049315861266</c:v>
                </c:pt>
                <c:pt idx="1532" formatCode="0.0%">
                  <c:v>0.23245070918646121</c:v>
                </c:pt>
                <c:pt idx="1533" formatCode="0.0%">
                  <c:v>0.23867467681255761</c:v>
                </c:pt>
                <c:pt idx="1534" formatCode="0.0%">
                  <c:v>0.25361222077808904</c:v>
                </c:pt>
                <c:pt idx="1535" formatCode="0.0%">
                  <c:v>0.25361222077808904</c:v>
                </c:pt>
                <c:pt idx="1536" formatCode="0.0%">
                  <c:v>0.25361222077808904</c:v>
                </c:pt>
                <c:pt idx="1537" formatCode="0.0%">
                  <c:v>0.26014737595404086</c:v>
                </c:pt>
                <c:pt idx="1538" formatCode="0.0%">
                  <c:v>0.2494629090273581</c:v>
                </c:pt>
                <c:pt idx="1539" formatCode="0.0%">
                  <c:v>0.27311397517507557</c:v>
                </c:pt>
                <c:pt idx="1540" formatCode="0.0%">
                  <c:v>0.29188964334148293</c:v>
                </c:pt>
                <c:pt idx="1541" formatCode="0.0%">
                  <c:v>0.27996037205813068</c:v>
                </c:pt>
                <c:pt idx="1542" formatCode="0.0%">
                  <c:v>0.27996037205813068</c:v>
                </c:pt>
                <c:pt idx="1543" formatCode="0.0%">
                  <c:v>0.27996037205813068</c:v>
                </c:pt>
                <c:pt idx="1544" formatCode="0.0%">
                  <c:v>0.30651599975715899</c:v>
                </c:pt>
                <c:pt idx="1545" formatCode="0.0%">
                  <c:v>0.31512581080847613</c:v>
                </c:pt>
                <c:pt idx="1546" formatCode="0.0%">
                  <c:v>0.2960389550922139</c:v>
                </c:pt>
                <c:pt idx="1547" formatCode="0.0%">
                  <c:v>0.2912672682417724</c:v>
                </c:pt>
                <c:pt idx="1548" formatCode="0.0%">
                  <c:v>0.25018899525793697</c:v>
                </c:pt>
                <c:pt idx="1549" formatCode="0.0%">
                  <c:v>0.25018899525793697</c:v>
                </c:pt>
                <c:pt idx="1550" formatCode="0.0%">
                  <c:v>0.25018899525793697</c:v>
                </c:pt>
                <c:pt idx="1551" formatCode="0.0%">
                  <c:v>0.21331716992199559</c:v>
                </c:pt>
                <c:pt idx="1552" formatCode="0.0%">
                  <c:v>0.2336954593858816</c:v>
                </c:pt>
                <c:pt idx="1553" formatCode="0.0%">
                  <c:v>0.23774106000574391</c:v>
                </c:pt>
                <c:pt idx="1554" formatCode="0.0%">
                  <c:v>0.18649703822131555</c:v>
                </c:pt>
                <c:pt idx="1555" formatCode="0.0%">
                  <c:v>0.12996255730310766</c:v>
                </c:pt>
                <c:pt idx="1556" formatCode="0.0%">
                  <c:v>0.12996255730310766</c:v>
                </c:pt>
                <c:pt idx="1557" formatCode="0.0%">
                  <c:v>0.12996255730310766</c:v>
                </c:pt>
                <c:pt idx="1558" formatCode="0.0%">
                  <c:v>9.3344837777106879E-2</c:v>
                </c:pt>
                <c:pt idx="1559" formatCode="0.0%">
                  <c:v>0.15776298935880462</c:v>
                </c:pt>
                <c:pt idx="1560" formatCode="0.0%">
                  <c:v>0.10216217940465924</c:v>
                </c:pt>
                <c:pt idx="1561" formatCode="0.0%">
                  <c:v>0.1481158503698046</c:v>
                </c:pt>
                <c:pt idx="1562" formatCode="0.0%">
                  <c:v>0.13182979091673544</c:v>
                </c:pt>
                <c:pt idx="1563" formatCode="0.0%">
                  <c:v>0.13182979091673544</c:v>
                </c:pt>
                <c:pt idx="1564" formatCode="0.0%">
                  <c:v>0.13182979091673544</c:v>
                </c:pt>
                <c:pt idx="1565" formatCode="0.0%">
                  <c:v>0.15257634967039096</c:v>
                </c:pt>
                <c:pt idx="1566" formatCode="0.0%">
                  <c:v>0.16554294889142554</c:v>
                </c:pt>
                <c:pt idx="1567" formatCode="0.0%">
                  <c:v>0.1443150405131422</c:v>
                </c:pt>
                <c:pt idx="1568" formatCode="0.0%">
                  <c:v>0.1443150405131422</c:v>
                </c:pt>
                <c:pt idx="1569" formatCode="0.0%">
                  <c:v>0.1443150405131422</c:v>
                </c:pt>
                <c:pt idx="1570" formatCode="0.0%">
                  <c:v>0.1443150405131422</c:v>
                </c:pt>
                <c:pt idx="1571" formatCode="0.0%">
                  <c:v>0.1443150405131422</c:v>
                </c:pt>
                <c:pt idx="1572" formatCode="0.0%">
                  <c:v>0.1443150405131422</c:v>
                </c:pt>
                <c:pt idx="1573" formatCode="0.0%">
                  <c:v>0.13328201753514207</c:v>
                </c:pt>
                <c:pt idx="1574" formatCode="0.0%">
                  <c:v>0.19417323246581902</c:v>
                </c:pt>
                <c:pt idx="1575" formatCode="0.0%">
                  <c:v>0.19168367790972951</c:v>
                </c:pt>
                <c:pt idx="1576" formatCode="0.0%">
                  <c:v>0.20921454171946749</c:v>
                </c:pt>
                <c:pt idx="1577" formatCode="0.0%">
                  <c:v>0.20921454171946749</c:v>
                </c:pt>
                <c:pt idx="1578" formatCode="0.0%">
                  <c:v>0.20921454171946749</c:v>
                </c:pt>
                <c:pt idx="1579" formatCode="0.0%">
                  <c:v>0.2172019776710748</c:v>
                </c:pt>
                <c:pt idx="1580" formatCode="0.0%">
                  <c:v>0.20786597207468119</c:v>
                </c:pt>
                <c:pt idx="1581" formatCode="0.0%">
                  <c:v>0.20275298624422119</c:v>
                </c:pt>
                <c:pt idx="1582" formatCode="0.0%">
                  <c:v>0.2119115726945435</c:v>
                </c:pt>
                <c:pt idx="1583" formatCode="0.0%">
                  <c:v>0.25506444739649581</c:v>
                </c:pt>
                <c:pt idx="1584" formatCode="0.0%">
                  <c:v>0.25506444739649581</c:v>
                </c:pt>
                <c:pt idx="1585" formatCode="0.0%">
                  <c:v>0.25506444739649581</c:v>
                </c:pt>
                <c:pt idx="1586" formatCode="0.0%">
                  <c:v>0.26668253112999252</c:v>
                </c:pt>
                <c:pt idx="1587" formatCode="0.0%">
                  <c:v>0.25039647167692336</c:v>
                </c:pt>
                <c:pt idx="1588" formatCode="0.0%">
                  <c:v>0.25330097907098548</c:v>
                </c:pt>
                <c:pt idx="1589" formatCode="0.0%">
                  <c:v>0.27477373236971703</c:v>
                </c:pt>
                <c:pt idx="1590" formatCode="0.0%">
                  <c:v>0.27560358388841338</c:v>
                </c:pt>
                <c:pt idx="1591" formatCode="0.0%">
                  <c:v>0.27560358388841338</c:v>
                </c:pt>
                <c:pt idx="1592" formatCode="0.0%">
                  <c:v>0.27560358388841338</c:v>
                </c:pt>
                <c:pt idx="1593" formatCode="0.0%">
                  <c:v>0.31823779462152457</c:v>
                </c:pt>
                <c:pt idx="1594" formatCode="0.0%">
                  <c:v>0.34033292301996626</c:v>
                </c:pt>
                <c:pt idx="1595" formatCode="0.0%">
                  <c:v>0.34344490683301443</c:v>
                </c:pt>
                <c:pt idx="1596" formatCode="0.0%">
                  <c:v>0.34572703912736641</c:v>
                </c:pt>
                <c:pt idx="1597" formatCode="0.0%">
                  <c:v>0.35464803772853881</c:v>
                </c:pt>
                <c:pt idx="1598" formatCode="0.0%">
                  <c:v>0.35464803772853881</c:v>
                </c:pt>
                <c:pt idx="1599" formatCode="0.0%">
                  <c:v>0.35464803772853881</c:v>
                </c:pt>
                <c:pt idx="1600" formatCode="0.0%">
                  <c:v>0.34417104722084246</c:v>
                </c:pt>
                <c:pt idx="1601" formatCode="0.0%">
                  <c:v>0.34012544660097999</c:v>
                </c:pt>
                <c:pt idx="1602" formatCode="0.0%">
                  <c:v>0.32705508209182793</c:v>
                </c:pt>
                <c:pt idx="1603" formatCode="0.0%">
                  <c:v>0.32466923866660724</c:v>
                </c:pt>
                <c:pt idx="1604" formatCode="0.0%">
                  <c:v>0.30205544629932407</c:v>
                </c:pt>
                <c:pt idx="1605" formatCode="0.0%">
                  <c:v>0.30205544629932407</c:v>
                </c:pt>
                <c:pt idx="1606" formatCode="0.0%">
                  <c:v>0.30205544629932407</c:v>
                </c:pt>
                <c:pt idx="1607" formatCode="0.0%">
                  <c:v>0.31979378652804885</c:v>
                </c:pt>
                <c:pt idx="1608" formatCode="0.0%">
                  <c:v>0.32373567601704195</c:v>
                </c:pt>
                <c:pt idx="1609" formatCode="0.0%">
                  <c:v>0.32373567601704195</c:v>
                </c:pt>
                <c:pt idx="1610" formatCode="0.0%">
                  <c:v>0.32373567601704195</c:v>
                </c:pt>
                <c:pt idx="1611" formatCode="0.0%">
                  <c:v>0.30900555431324844</c:v>
                </c:pt>
                <c:pt idx="1612" formatCode="0.0%">
                  <c:v>0.30899829724194999</c:v>
                </c:pt>
                <c:pt idx="1613" formatCode="0.0%">
                  <c:v>0.30899829724194999</c:v>
                </c:pt>
                <c:pt idx="1614" formatCode="0.0%">
                  <c:v>0.30568614823846219</c:v>
                </c:pt>
                <c:pt idx="1615" formatCode="0.0%">
                  <c:v>0.32041621578500751</c:v>
                </c:pt>
                <c:pt idx="1616" formatCode="0.0%">
                  <c:v>0.32041621578500751</c:v>
                </c:pt>
                <c:pt idx="1617" formatCode="0.0%">
                  <c:v>0.33172305781140038</c:v>
                </c:pt>
                <c:pt idx="1618" formatCode="0.0%">
                  <c:v>0.33172305781140038</c:v>
                </c:pt>
                <c:pt idx="1619" formatCode="0.0%">
                  <c:v>0.33172305781140038</c:v>
                </c:pt>
                <c:pt idx="1620" formatCode="0.0%">
                  <c:v>0.33172305781140038</c:v>
                </c:pt>
                <c:pt idx="1621" formatCode="0.0%">
                  <c:v>0.33172305781140038</c:v>
                </c:pt>
                <c:pt idx="1622" formatCode="0.0%">
                  <c:v>0.34354861796388347</c:v>
                </c:pt>
                <c:pt idx="1623" formatCode="0.0%">
                  <c:v>0.33950307150126974</c:v>
                </c:pt>
                <c:pt idx="1624" formatCode="0.0%">
                  <c:v>0.31989755181616603</c:v>
                </c:pt>
                <c:pt idx="1625" formatCode="0.0%">
                  <c:v>0.30402639104382073</c:v>
                </c:pt>
                <c:pt idx="1626" formatCode="0.0%">
                  <c:v>0.30402639104382073</c:v>
                </c:pt>
                <c:pt idx="1627" formatCode="0.0%">
                  <c:v>0.30402639104382073</c:v>
                </c:pt>
                <c:pt idx="1628" formatCode="0.0%">
                  <c:v>0.31730423197195906</c:v>
                </c:pt>
                <c:pt idx="1629" formatCode="0.0%">
                  <c:v>0.32249087166037299</c:v>
                </c:pt>
                <c:pt idx="1630" formatCode="0.0%">
                  <c:v>0.3118063505764414</c:v>
                </c:pt>
                <c:pt idx="1631" formatCode="0.0%">
                  <c:v>0.29718004831801409</c:v>
                </c:pt>
                <c:pt idx="1632" formatCode="0.0%">
                  <c:v>0.30599733578831745</c:v>
                </c:pt>
                <c:pt idx="1633" formatCode="0.0%">
                  <c:v>0.30599733578831745</c:v>
                </c:pt>
                <c:pt idx="1634" formatCode="0.0%">
                  <c:v>0.30599733578831745</c:v>
                </c:pt>
                <c:pt idx="1635" formatCode="0.0%">
                  <c:v>0.30433757859367605</c:v>
                </c:pt>
                <c:pt idx="1636" formatCode="0.0%">
                  <c:v>0.30433757859367605</c:v>
                </c:pt>
                <c:pt idx="1637" formatCode="0.0%">
                  <c:v>0.30433757859367605</c:v>
                </c:pt>
                <c:pt idx="1638" formatCode="0.0%">
                  <c:v>0.31824819281323558</c:v>
                </c:pt>
                <c:pt idx="1639" formatCode="0.0%">
                  <c:v>0.34012544660097999</c:v>
                </c:pt>
                <c:pt idx="1640" formatCode="0.0%">
                  <c:v>0.34012544660097999</c:v>
                </c:pt>
                <c:pt idx="1641" formatCode="0.0%">
                  <c:v>0.34012544660097999</c:v>
                </c:pt>
                <c:pt idx="1642" formatCode="0.0%">
                  <c:v>0.34313160715046792</c:v>
                </c:pt>
                <c:pt idx="1643" formatCode="0.0%">
                  <c:v>0.3415777273766355</c:v>
                </c:pt>
                <c:pt idx="1644" formatCode="0.0%">
                  <c:v>0.3415777273766355</c:v>
                </c:pt>
                <c:pt idx="1645" formatCode="0.0%">
                  <c:v>0.33836197827546954</c:v>
                </c:pt>
                <c:pt idx="1646" formatCode="0.0%">
                  <c:v>0.32715884737994544</c:v>
                </c:pt>
                <c:pt idx="1647" formatCode="0.0%">
                  <c:v>0.32715884737994544</c:v>
                </c:pt>
                <c:pt idx="1648" formatCode="0.0%">
                  <c:v>0.32715884737994544</c:v>
                </c:pt>
                <c:pt idx="1649" formatCode="0.0%">
                  <c:v>0.34116277453866273</c:v>
                </c:pt>
                <c:pt idx="1650" formatCode="0.0%">
                  <c:v>0.3466606017769317</c:v>
                </c:pt>
                <c:pt idx="1651" formatCode="0.0%">
                  <c:v>0.34583075025823518</c:v>
                </c:pt>
                <c:pt idx="1652" formatCode="0.0%">
                  <c:v>0.33960678263213878</c:v>
                </c:pt>
                <c:pt idx="1653" formatCode="0.0%">
                  <c:v>0.33286415103720057</c:v>
                </c:pt>
                <c:pt idx="1654" formatCode="0.0%">
                  <c:v>0.33286415103720057</c:v>
                </c:pt>
                <c:pt idx="1655" formatCode="0.0%">
                  <c:v>0.33286415103720057</c:v>
                </c:pt>
                <c:pt idx="1656" formatCode="0.0%">
                  <c:v>0.33006335477400739</c:v>
                </c:pt>
                <c:pt idx="1657" formatCode="0.0%">
                  <c:v>0.33006335477400739</c:v>
                </c:pt>
                <c:pt idx="1658" formatCode="0.0%">
                  <c:v>0.32912973796719369</c:v>
                </c:pt>
                <c:pt idx="1659" formatCode="0.0%">
                  <c:v>0.34168143850750426</c:v>
                </c:pt>
                <c:pt idx="1660" formatCode="0.0%">
                  <c:v>0.34168143850750426</c:v>
                </c:pt>
                <c:pt idx="1661" formatCode="0.0%">
                  <c:v>0.34168143850750426</c:v>
                </c:pt>
                <c:pt idx="1662" formatCode="0.0%">
                  <c:v>0.34168143850750426</c:v>
                </c:pt>
                <c:pt idx="1663" formatCode="0.0%">
                  <c:v>0.33991797018199377</c:v>
                </c:pt>
                <c:pt idx="1664" formatCode="0.0%">
                  <c:v>0.32300953562921447</c:v>
                </c:pt>
                <c:pt idx="1665" formatCode="0.0%">
                  <c:v>0.32881855041733843</c:v>
                </c:pt>
                <c:pt idx="1666" formatCode="0.0%">
                  <c:v>0.33929559508228352</c:v>
                </c:pt>
                <c:pt idx="1667" formatCode="0.0%">
                  <c:v>0.33576865843126258</c:v>
                </c:pt>
                <c:pt idx="1668" formatCode="0.0%">
                  <c:v>0.33576865843126258</c:v>
                </c:pt>
                <c:pt idx="1669" formatCode="0.0%">
                  <c:v>0.33576865843126258</c:v>
                </c:pt>
                <c:pt idx="1670" formatCode="0.0%">
                  <c:v>0.35174353033447658</c:v>
                </c:pt>
                <c:pt idx="1671" formatCode="0.0%">
                  <c:v>0.34780169500273189</c:v>
                </c:pt>
                <c:pt idx="1672" formatCode="0.0%">
                  <c:v>0.34012544660097999</c:v>
                </c:pt>
                <c:pt idx="1673" formatCode="0.0%">
                  <c:v>0.34391688725365299</c:v>
                </c:pt>
                <c:pt idx="1674" formatCode="0.0%">
                  <c:v>0.29271949486017917</c:v>
                </c:pt>
                <c:pt idx="1675" formatCode="0.0%">
                  <c:v>0.29271949486017917</c:v>
                </c:pt>
                <c:pt idx="1676" formatCode="0.0%">
                  <c:v>0.29271949486017917</c:v>
                </c:pt>
                <c:pt idx="1677" formatCode="0.0%">
                  <c:v>0.31471091212775237</c:v>
                </c:pt>
                <c:pt idx="1678" formatCode="0.0%">
                  <c:v>0.31854898217137956</c:v>
                </c:pt>
                <c:pt idx="1679" formatCode="0.0%">
                  <c:v>0.30641223446904148</c:v>
                </c:pt>
                <c:pt idx="1680" formatCode="0.0%">
                  <c:v>0.32705508209182793</c:v>
                </c:pt>
                <c:pt idx="1681" formatCode="0.0%">
                  <c:v>0.31346610777108308</c:v>
                </c:pt>
                <c:pt idx="1682" formatCode="0.0%">
                  <c:v>0.31346610777108308</c:v>
                </c:pt>
                <c:pt idx="1683" formatCode="0.0%">
                  <c:v>0.31346610777108308</c:v>
                </c:pt>
                <c:pt idx="1684" formatCode="0.0%">
                  <c:v>0.31668180271500035</c:v>
                </c:pt>
                <c:pt idx="1685" formatCode="0.0%">
                  <c:v>0.30859065563252441</c:v>
                </c:pt>
                <c:pt idx="1686" formatCode="0.0%">
                  <c:v>0.31512581080847613</c:v>
                </c:pt>
                <c:pt idx="1687" formatCode="0.0%">
                  <c:v>0.31626690403427632</c:v>
                </c:pt>
                <c:pt idx="1688" formatCode="0.0%">
                  <c:v>0.31045783508890368</c:v>
                </c:pt>
                <c:pt idx="1689" formatCode="0.0%">
                  <c:v>0.31045783508890368</c:v>
                </c:pt>
                <c:pt idx="1690" formatCode="0.0%">
                  <c:v>0.31045783508890368</c:v>
                </c:pt>
                <c:pt idx="1691" formatCode="0.0%">
                  <c:v>0.32217962995326926</c:v>
                </c:pt>
                <c:pt idx="1692" formatCode="0.0%">
                  <c:v>0.33089320629270391</c:v>
                </c:pt>
                <c:pt idx="1693" formatCode="0.0%">
                  <c:v>0.30900555431324844</c:v>
                </c:pt>
                <c:pt idx="1694" formatCode="0.0%">
                  <c:v>0.30827946808266915</c:v>
                </c:pt>
                <c:pt idx="1695" formatCode="0.0%">
                  <c:v>0.30506371898150347</c:v>
                </c:pt>
                <c:pt idx="1696" formatCode="0.0%">
                  <c:v>0.30506371898150347</c:v>
                </c:pt>
                <c:pt idx="1697" formatCode="0.0%">
                  <c:v>0.30506371898150347</c:v>
                </c:pt>
                <c:pt idx="1698" formatCode="0.0%">
                  <c:v>0.32747003492980042</c:v>
                </c:pt>
                <c:pt idx="1699" formatCode="0.0%">
                  <c:v>0.32290577034109702</c:v>
                </c:pt>
                <c:pt idx="1700" formatCode="0.0%">
                  <c:v>0.32757585819336071</c:v>
                </c:pt>
                <c:pt idx="1701" formatCode="0.0%">
                  <c:v>0.32757374606066947</c:v>
                </c:pt>
                <c:pt idx="1702" formatCode="0.0%">
                  <c:v>0.31554076364644856</c:v>
                </c:pt>
                <c:pt idx="1703" formatCode="0.0%">
                  <c:v>0.31554076364644856</c:v>
                </c:pt>
                <c:pt idx="1704" formatCode="0.0%">
                  <c:v>0.31550653626539943</c:v>
                </c:pt>
                <c:pt idx="1705" formatCode="0.0%">
                  <c:v>0.31740794310282783</c:v>
                </c:pt>
                <c:pt idx="1706" formatCode="0.0%">
                  <c:v>0.30496000785063471</c:v>
                </c:pt>
                <c:pt idx="1707" formatCode="0.0%">
                  <c:v>0.30765703882571044</c:v>
                </c:pt>
                <c:pt idx="1708" formatCode="0.0%">
                  <c:v>0.31211753812629695</c:v>
                </c:pt>
                <c:pt idx="1709" formatCode="0.0%">
                  <c:v>0.31585195119630383</c:v>
                </c:pt>
                <c:pt idx="1710" formatCode="0.0%">
                  <c:v>0.31585195119630383</c:v>
                </c:pt>
                <c:pt idx="1711" formatCode="0.0%">
                  <c:v>0.31585195119630383</c:v>
                </c:pt>
                <c:pt idx="1712" formatCode="0.0%">
                  <c:v>0.31709675555297279</c:v>
                </c:pt>
                <c:pt idx="1713" formatCode="0.0%">
                  <c:v>0.32861107399835221</c:v>
                </c:pt>
                <c:pt idx="1714" formatCode="0.0%">
                  <c:v>0.33110068271169013</c:v>
                </c:pt>
                <c:pt idx="1715" formatCode="0.0%">
                  <c:v>0.33327910387517334</c:v>
                </c:pt>
                <c:pt idx="1716" formatCode="0.0%">
                  <c:v>0.33255296348734531</c:v>
                </c:pt>
                <c:pt idx="1717" formatCode="0.0%">
                  <c:v>0.33255296348734531</c:v>
                </c:pt>
                <c:pt idx="1718" formatCode="0.0%">
                  <c:v>0.33255296348734531</c:v>
                </c:pt>
                <c:pt idx="1719" formatCode="0.0%">
                  <c:v>0.34344490683301443</c:v>
                </c:pt>
                <c:pt idx="1720" formatCode="0.0%">
                  <c:v>0.33514628333155227</c:v>
                </c:pt>
                <c:pt idx="1721" formatCode="0.0%">
                  <c:v>0.34313371928315944</c:v>
                </c:pt>
                <c:pt idx="1722" formatCode="0.0%">
                  <c:v>0.36792587865667714</c:v>
                </c:pt>
                <c:pt idx="1723" formatCode="0.0%">
                  <c:v>0.37051919850088411</c:v>
                </c:pt>
                <c:pt idx="1724" formatCode="0.0%">
                  <c:v>0.37051919850088411</c:v>
                </c:pt>
                <c:pt idx="1725" formatCode="0.0%">
                  <c:v>0.37051919850088411</c:v>
                </c:pt>
                <c:pt idx="1726" formatCode="0.0%">
                  <c:v>0.36315413764898724</c:v>
                </c:pt>
                <c:pt idx="1727" formatCode="0.0%">
                  <c:v>0.36097577064275271</c:v>
                </c:pt>
                <c:pt idx="1728" formatCode="0.0%">
                  <c:v>0.35672269360390457</c:v>
                </c:pt>
                <c:pt idx="1729" formatCode="0.0%">
                  <c:v>0.33981425905112472</c:v>
                </c:pt>
                <c:pt idx="1730" formatCode="0.0%">
                  <c:v>0.34614193780809044</c:v>
                </c:pt>
                <c:pt idx="1731" formatCode="0.0%">
                  <c:v>0.34614193780809044</c:v>
                </c:pt>
                <c:pt idx="1732" formatCode="0.0%">
                  <c:v>0.34614193780809044</c:v>
                </c:pt>
                <c:pt idx="1733" formatCode="0.0%">
                  <c:v>0.35485551414752509</c:v>
                </c:pt>
                <c:pt idx="1734" formatCode="0.0%">
                  <c:v>0.34211919154709336</c:v>
                </c:pt>
                <c:pt idx="1735" formatCode="0.0%">
                  <c:v>0.3373246503377868</c:v>
                </c:pt>
                <c:pt idx="1736" formatCode="0.0%">
                  <c:v>0.34251129002620073</c:v>
                </c:pt>
                <c:pt idx="1737" formatCode="0.0%">
                  <c:v>0.35205471788433185</c:v>
                </c:pt>
                <c:pt idx="1738" formatCode="0.0%">
                  <c:v>0.35205471788433185</c:v>
                </c:pt>
                <c:pt idx="1739" formatCode="0.0%">
                  <c:v>0.35205471788433185</c:v>
                </c:pt>
                <c:pt idx="1740" formatCode="0.0%">
                  <c:v>0.34998006200896642</c:v>
                </c:pt>
                <c:pt idx="1741" formatCode="0.0%">
                  <c:v>0.36118324706173921</c:v>
                </c:pt>
                <c:pt idx="1742" formatCode="0.0%">
                  <c:v>0.36315413764898724</c:v>
                </c:pt>
                <c:pt idx="1743" formatCode="0.0%">
                  <c:v>0.36460641842464242</c:v>
                </c:pt>
                <c:pt idx="1744" formatCode="0.0%">
                  <c:v>0.36585122278131166</c:v>
                </c:pt>
                <c:pt idx="1745" formatCode="0.0%">
                  <c:v>0.36585122278131166</c:v>
                </c:pt>
                <c:pt idx="1746" formatCode="0.0%">
                  <c:v>0.36585122278131166</c:v>
                </c:pt>
                <c:pt idx="1747" formatCode="0.0%">
                  <c:v>0.34583075025823518</c:v>
                </c:pt>
                <c:pt idx="1748" formatCode="0.0%">
                  <c:v>0.33120439384255917</c:v>
                </c:pt>
                <c:pt idx="1749" formatCode="0.0%">
                  <c:v>0.3568264588920218</c:v>
                </c:pt>
                <c:pt idx="1750" formatCode="0.0%">
                  <c:v>0.35298833469114582</c:v>
                </c:pt>
                <c:pt idx="1751" formatCode="0.0%">
                  <c:v>0.33286415103720057</c:v>
                </c:pt>
                <c:pt idx="1752" formatCode="0.0%">
                  <c:v>0.33286415103720057</c:v>
                </c:pt>
                <c:pt idx="1753" formatCode="0.0%">
                  <c:v>0.33286415103720057</c:v>
                </c:pt>
                <c:pt idx="1754" formatCode="0.0%">
                  <c:v>0.35018753842795264</c:v>
                </c:pt>
                <c:pt idx="1755" formatCode="0.0%">
                  <c:v>0.35931601344811126</c:v>
                </c:pt>
                <c:pt idx="1756" formatCode="0.0%">
                  <c:v>0.35910859118637345</c:v>
                </c:pt>
                <c:pt idx="1757" formatCode="0.0%">
                  <c:v>0.36056081780478022</c:v>
                </c:pt>
                <c:pt idx="1758" formatCode="0.0%">
                  <c:v>0.37020801095102884</c:v>
                </c:pt>
                <c:pt idx="1759" formatCode="0.0%">
                  <c:v>0.37020801095102884</c:v>
                </c:pt>
                <c:pt idx="1760" formatCode="0.0%">
                  <c:v>0.37020801095102884</c:v>
                </c:pt>
                <c:pt idx="1761" formatCode="0.0%">
                  <c:v>0.38224099336524942</c:v>
                </c:pt>
                <c:pt idx="1762" formatCode="0.0%">
                  <c:v>0.3792327748403187</c:v>
                </c:pt>
                <c:pt idx="1763" formatCode="0.0%">
                  <c:v>0.37736554122669103</c:v>
                </c:pt>
                <c:pt idx="1764" formatCode="0.0%">
                  <c:v>0.36782211336855963</c:v>
                </c:pt>
                <c:pt idx="1765" formatCode="0.0%">
                  <c:v>0.36714996775748204</c:v>
                </c:pt>
                <c:pt idx="1766" formatCode="0.0%">
                  <c:v>0.36714996775748204</c:v>
                </c:pt>
                <c:pt idx="1767" formatCode="0.0%">
                  <c:v>0.36714996775748204</c:v>
                </c:pt>
                <c:pt idx="1768" formatCode="0.0%">
                  <c:v>0.36429523087478743</c:v>
                </c:pt>
                <c:pt idx="1769" formatCode="0.0%">
                  <c:v>0.3496688744591111</c:v>
                </c:pt>
                <c:pt idx="1770" formatCode="0.0%">
                  <c:v>0.34230381360721424</c:v>
                </c:pt>
                <c:pt idx="1771" formatCode="0.0%">
                  <c:v>0.30516748426962098</c:v>
                </c:pt>
                <c:pt idx="1772" formatCode="0.0%">
                  <c:v>0.285354488165531</c:v>
                </c:pt>
                <c:pt idx="1773" formatCode="0.0%">
                  <c:v>0.285354488165531</c:v>
                </c:pt>
                <c:pt idx="1774" formatCode="0.0%">
                  <c:v>0.285354488165531</c:v>
                </c:pt>
                <c:pt idx="1775" formatCode="0.0%">
                  <c:v>0.30931679602035189</c:v>
                </c:pt>
                <c:pt idx="1776" formatCode="0.0%">
                  <c:v>0.30942050715122094</c:v>
                </c:pt>
                <c:pt idx="1777" formatCode="0.0%">
                  <c:v>0.31969007539717947</c:v>
                </c:pt>
                <c:pt idx="1778" formatCode="0.0%">
                  <c:v>0.30599733578831745</c:v>
                </c:pt>
                <c:pt idx="1779" formatCode="0.0%">
                  <c:v>0.2876366204598827</c:v>
                </c:pt>
                <c:pt idx="1780" formatCode="0.0%">
                  <c:v>0.2876366204598827</c:v>
                </c:pt>
                <c:pt idx="1781" formatCode="0.0%">
                  <c:v>0.2876366204598827</c:v>
                </c:pt>
                <c:pt idx="1782" formatCode="0.0%">
                  <c:v>0.28680671478393777</c:v>
                </c:pt>
                <c:pt idx="1783" formatCode="0.0%">
                  <c:v>0.26450416412375816</c:v>
                </c:pt>
                <c:pt idx="1784" formatCode="0.0%">
                  <c:v>0.27632972427624097</c:v>
                </c:pt>
                <c:pt idx="1785" formatCode="0.0%">
                  <c:v>0.28130888754566885</c:v>
                </c:pt>
                <c:pt idx="1786" formatCode="0.0%">
                  <c:v>0.23867467681255761</c:v>
                </c:pt>
                <c:pt idx="1787" formatCode="0.0%">
                  <c:v>0.23867467681255761</c:v>
                </c:pt>
                <c:pt idx="1788" formatCode="0.0%">
                  <c:v>0.23867467681255761</c:v>
                </c:pt>
                <c:pt idx="1789" formatCode="0.0%">
                  <c:v>0.25288608039026145</c:v>
                </c:pt>
                <c:pt idx="1790" formatCode="0.0%">
                  <c:v>0.2594212355662131</c:v>
                </c:pt>
                <c:pt idx="1791" formatCode="0.0%">
                  <c:v>0.27996037205813068</c:v>
                </c:pt>
                <c:pt idx="1792" formatCode="0.0%">
                  <c:v>0.28016784847711707</c:v>
                </c:pt>
                <c:pt idx="1793" formatCode="0.0%">
                  <c:v>0.2872216676219102</c:v>
                </c:pt>
                <c:pt idx="1794" formatCode="0.0%">
                  <c:v>0.2872216676219102</c:v>
                </c:pt>
                <c:pt idx="1795" formatCode="0.0%">
                  <c:v>0.28726315207425757</c:v>
                </c:pt>
                <c:pt idx="1796" formatCode="0.0%">
                  <c:v>0.28452463664683447</c:v>
                </c:pt>
                <c:pt idx="1797" formatCode="0.0%">
                  <c:v>0.28659929252219996</c:v>
                </c:pt>
                <c:pt idx="1798" formatCode="0.0%">
                  <c:v>0.29147469050351021</c:v>
                </c:pt>
                <c:pt idx="1799" formatCode="0.0%">
                  <c:v>0.29313444769815189</c:v>
                </c:pt>
                <c:pt idx="1800" formatCode="0.0%">
                  <c:v>0.3097316947010762</c:v>
                </c:pt>
                <c:pt idx="1801" formatCode="0.0%">
                  <c:v>0.3097316947010762</c:v>
                </c:pt>
                <c:pt idx="1802" formatCode="0.0%">
                  <c:v>0.3097316947010762</c:v>
                </c:pt>
                <c:pt idx="1803" formatCode="0.0%">
                  <c:v>0.30900555431324844</c:v>
                </c:pt>
                <c:pt idx="1804" formatCode="0.0%">
                  <c:v>0.30288535197526928</c:v>
                </c:pt>
                <c:pt idx="1805" formatCode="0.0%">
                  <c:v>0.29583147867322734</c:v>
                </c:pt>
                <c:pt idx="1806" formatCode="0.0%">
                  <c:v>0.29012617501597221</c:v>
                </c:pt>
                <c:pt idx="1807" formatCode="0.0%">
                  <c:v>0.30620481220730367</c:v>
                </c:pt>
                <c:pt idx="1808" formatCode="0.0%">
                  <c:v>0.30620481220730367</c:v>
                </c:pt>
                <c:pt idx="1809" formatCode="0.0%">
                  <c:v>0.30620481220730367</c:v>
                </c:pt>
                <c:pt idx="1810" formatCode="0.0%">
                  <c:v>0.28213873906436532</c:v>
                </c:pt>
                <c:pt idx="1811" formatCode="0.0%">
                  <c:v>0.27996037205813068</c:v>
                </c:pt>
                <c:pt idx="1812" formatCode="0.0%">
                  <c:v>0.27477373236971703</c:v>
                </c:pt>
                <c:pt idx="1813" formatCode="0.0%">
                  <c:v>0.28327983229016523</c:v>
                </c:pt>
                <c:pt idx="1814" formatCode="0.0%">
                  <c:v>0.28929632349727569</c:v>
                </c:pt>
                <c:pt idx="1815" formatCode="0.0%">
                  <c:v>0.28929632349727569</c:v>
                </c:pt>
                <c:pt idx="1816" formatCode="0.0%">
                  <c:v>0.28929632349727569</c:v>
                </c:pt>
                <c:pt idx="1817" formatCode="0.0%">
                  <c:v>0.29085231540379991</c:v>
                </c:pt>
                <c:pt idx="1818" formatCode="0.0%">
                  <c:v>0.29085231540379991</c:v>
                </c:pt>
                <c:pt idx="1819" formatCode="0.0%">
                  <c:v>0.29085231540379991</c:v>
                </c:pt>
                <c:pt idx="1820" formatCode="0.0%">
                  <c:v>0.29085231540379991</c:v>
                </c:pt>
                <c:pt idx="1821" formatCode="0.0%">
                  <c:v>0.286703003653069</c:v>
                </c:pt>
                <c:pt idx="1822" formatCode="0.0%">
                  <c:v>0.286703003653069</c:v>
                </c:pt>
                <c:pt idx="1823" formatCode="0.0%">
                  <c:v>0.286703003653069</c:v>
                </c:pt>
                <c:pt idx="1824" formatCode="0.0%">
                  <c:v>0.29707628302989664</c:v>
                </c:pt>
                <c:pt idx="1825" formatCode="0.0%">
                  <c:v>0.29707628302989664</c:v>
                </c:pt>
                <c:pt idx="1826" formatCode="0.0%">
                  <c:v>0.29404001105024491</c:v>
                </c:pt>
              </c:numCache>
            </c:numRef>
          </c:val>
          <c:smooth val="0"/>
          <c:extLst>
            <c:ext xmlns:c16="http://schemas.microsoft.com/office/drawing/2014/chart" uri="{C3380CC4-5D6E-409C-BE32-E72D297353CC}">
              <c16:uniqueId val="{00000001-6AA3-45F4-9640-0B27923112F6}"/>
            </c:ext>
          </c:extLst>
        </c:ser>
        <c:ser>
          <c:idx val="5"/>
          <c:order val="5"/>
          <c:tx>
            <c:strRef>
              <c:f>Sheet1!$G$1</c:f>
              <c:strCache>
                <c:ptCount val="1"/>
                <c:pt idx="0">
                  <c:v>MSCI ACWI NR USD (77.7%)</c:v>
                </c:pt>
              </c:strCache>
            </c:strRef>
          </c:tx>
          <c:spPr>
            <a:ln w="28575" cap="rnd">
              <a:solidFill>
                <a:schemeClr val="accent1"/>
              </a:solidFill>
              <a:round/>
            </a:ln>
            <a:effectLst/>
          </c:spPr>
          <c:marker>
            <c:symbol val="none"/>
          </c:marker>
          <c:cat>
            <c:numRef>
              <c:f>Sheet1!$A$2:$A$2069</c:f>
              <c:numCache>
                <c:formatCode>d\-mmm\-yy</c:formatCode>
                <c:ptCount val="2068"/>
                <c:pt idx="0">
                  <c:v>44196</c:v>
                </c:pt>
                <c:pt idx="1">
                  <c:v>44197</c:v>
                </c:pt>
                <c:pt idx="2">
                  <c:v>44198</c:v>
                </c:pt>
                <c:pt idx="3">
                  <c:v>44199</c:v>
                </c:pt>
                <c:pt idx="4">
                  <c:v>44200</c:v>
                </c:pt>
                <c:pt idx="5">
                  <c:v>44201</c:v>
                </c:pt>
                <c:pt idx="6">
                  <c:v>44202</c:v>
                </c:pt>
                <c:pt idx="7">
                  <c:v>44203</c:v>
                </c:pt>
                <c:pt idx="8">
                  <c:v>44204</c:v>
                </c:pt>
                <c:pt idx="9">
                  <c:v>44205</c:v>
                </c:pt>
                <c:pt idx="10">
                  <c:v>44206</c:v>
                </c:pt>
                <c:pt idx="11">
                  <c:v>44207</c:v>
                </c:pt>
                <c:pt idx="12">
                  <c:v>44208</c:v>
                </c:pt>
                <c:pt idx="13">
                  <c:v>44209</c:v>
                </c:pt>
                <c:pt idx="14">
                  <c:v>44210</c:v>
                </c:pt>
                <c:pt idx="15">
                  <c:v>44211</c:v>
                </c:pt>
                <c:pt idx="16">
                  <c:v>44212</c:v>
                </c:pt>
                <c:pt idx="17">
                  <c:v>44213</c:v>
                </c:pt>
                <c:pt idx="18">
                  <c:v>44214</c:v>
                </c:pt>
                <c:pt idx="19">
                  <c:v>44215</c:v>
                </c:pt>
                <c:pt idx="20">
                  <c:v>44216</c:v>
                </c:pt>
                <c:pt idx="21">
                  <c:v>44217</c:v>
                </c:pt>
                <c:pt idx="22">
                  <c:v>44218</c:v>
                </c:pt>
                <c:pt idx="23">
                  <c:v>44219</c:v>
                </c:pt>
                <c:pt idx="24">
                  <c:v>44220</c:v>
                </c:pt>
                <c:pt idx="25">
                  <c:v>44221</c:v>
                </c:pt>
                <c:pt idx="26">
                  <c:v>44222</c:v>
                </c:pt>
                <c:pt idx="27">
                  <c:v>44223</c:v>
                </c:pt>
                <c:pt idx="28">
                  <c:v>44224</c:v>
                </c:pt>
                <c:pt idx="29">
                  <c:v>44225</c:v>
                </c:pt>
                <c:pt idx="30">
                  <c:v>44226</c:v>
                </c:pt>
                <c:pt idx="31">
                  <c:v>44227</c:v>
                </c:pt>
                <c:pt idx="32">
                  <c:v>44228</c:v>
                </c:pt>
                <c:pt idx="33">
                  <c:v>44229</c:v>
                </c:pt>
                <c:pt idx="34">
                  <c:v>44230</c:v>
                </c:pt>
                <c:pt idx="35">
                  <c:v>44231</c:v>
                </c:pt>
                <c:pt idx="36">
                  <c:v>44232</c:v>
                </c:pt>
                <c:pt idx="37">
                  <c:v>44233</c:v>
                </c:pt>
                <c:pt idx="38">
                  <c:v>44234</c:v>
                </c:pt>
                <c:pt idx="39">
                  <c:v>44235</c:v>
                </c:pt>
                <c:pt idx="40">
                  <c:v>44236</c:v>
                </c:pt>
                <c:pt idx="41">
                  <c:v>44237</c:v>
                </c:pt>
                <c:pt idx="42">
                  <c:v>44238</c:v>
                </c:pt>
                <c:pt idx="43">
                  <c:v>44239</c:v>
                </c:pt>
                <c:pt idx="44">
                  <c:v>44240</c:v>
                </c:pt>
                <c:pt idx="45">
                  <c:v>44241</c:v>
                </c:pt>
                <c:pt idx="46">
                  <c:v>44242</c:v>
                </c:pt>
                <c:pt idx="47">
                  <c:v>44243</c:v>
                </c:pt>
                <c:pt idx="48">
                  <c:v>44244</c:v>
                </c:pt>
                <c:pt idx="49">
                  <c:v>44245</c:v>
                </c:pt>
                <c:pt idx="50">
                  <c:v>44246</c:v>
                </c:pt>
                <c:pt idx="51">
                  <c:v>44247</c:v>
                </c:pt>
                <c:pt idx="52">
                  <c:v>44248</c:v>
                </c:pt>
                <c:pt idx="53">
                  <c:v>44249</c:v>
                </c:pt>
                <c:pt idx="54">
                  <c:v>44250</c:v>
                </c:pt>
                <c:pt idx="55">
                  <c:v>44251</c:v>
                </c:pt>
                <c:pt idx="56">
                  <c:v>44252</c:v>
                </c:pt>
                <c:pt idx="57">
                  <c:v>44253</c:v>
                </c:pt>
                <c:pt idx="58">
                  <c:v>44254</c:v>
                </c:pt>
                <c:pt idx="59">
                  <c:v>44255</c:v>
                </c:pt>
                <c:pt idx="60">
                  <c:v>44256</c:v>
                </c:pt>
                <c:pt idx="61">
                  <c:v>44257</c:v>
                </c:pt>
                <c:pt idx="62">
                  <c:v>44258</c:v>
                </c:pt>
                <c:pt idx="63">
                  <c:v>44259</c:v>
                </c:pt>
                <c:pt idx="64">
                  <c:v>44260</c:v>
                </c:pt>
                <c:pt idx="65">
                  <c:v>44261</c:v>
                </c:pt>
                <c:pt idx="66">
                  <c:v>44262</c:v>
                </c:pt>
                <c:pt idx="67">
                  <c:v>44263</c:v>
                </c:pt>
                <c:pt idx="68">
                  <c:v>44264</c:v>
                </c:pt>
                <c:pt idx="69">
                  <c:v>44265</c:v>
                </c:pt>
                <c:pt idx="70">
                  <c:v>44266</c:v>
                </c:pt>
                <c:pt idx="71">
                  <c:v>44267</c:v>
                </c:pt>
                <c:pt idx="72">
                  <c:v>44268</c:v>
                </c:pt>
                <c:pt idx="73">
                  <c:v>44269</c:v>
                </c:pt>
                <c:pt idx="74">
                  <c:v>44270</c:v>
                </c:pt>
                <c:pt idx="75">
                  <c:v>44271</c:v>
                </c:pt>
                <c:pt idx="76">
                  <c:v>44272</c:v>
                </c:pt>
                <c:pt idx="77">
                  <c:v>44273</c:v>
                </c:pt>
                <c:pt idx="78">
                  <c:v>44274</c:v>
                </c:pt>
                <c:pt idx="79">
                  <c:v>44275</c:v>
                </c:pt>
                <c:pt idx="80">
                  <c:v>44276</c:v>
                </c:pt>
                <c:pt idx="81">
                  <c:v>44277</c:v>
                </c:pt>
                <c:pt idx="82">
                  <c:v>44278</c:v>
                </c:pt>
                <c:pt idx="83">
                  <c:v>44279</c:v>
                </c:pt>
                <c:pt idx="84">
                  <c:v>44280</c:v>
                </c:pt>
                <c:pt idx="85">
                  <c:v>44281</c:v>
                </c:pt>
                <c:pt idx="86">
                  <c:v>44282</c:v>
                </c:pt>
                <c:pt idx="87">
                  <c:v>44283</c:v>
                </c:pt>
                <c:pt idx="88">
                  <c:v>44284</c:v>
                </c:pt>
                <c:pt idx="89">
                  <c:v>44285</c:v>
                </c:pt>
                <c:pt idx="90">
                  <c:v>44286</c:v>
                </c:pt>
                <c:pt idx="91">
                  <c:v>44287</c:v>
                </c:pt>
                <c:pt idx="92">
                  <c:v>44288</c:v>
                </c:pt>
                <c:pt idx="93">
                  <c:v>44289</c:v>
                </c:pt>
                <c:pt idx="94">
                  <c:v>44290</c:v>
                </c:pt>
                <c:pt idx="95">
                  <c:v>44291</c:v>
                </c:pt>
                <c:pt idx="96">
                  <c:v>44292</c:v>
                </c:pt>
                <c:pt idx="97">
                  <c:v>44293</c:v>
                </c:pt>
                <c:pt idx="98">
                  <c:v>44294</c:v>
                </c:pt>
                <c:pt idx="99">
                  <c:v>44295</c:v>
                </c:pt>
                <c:pt idx="100">
                  <c:v>44296</c:v>
                </c:pt>
                <c:pt idx="101">
                  <c:v>44297</c:v>
                </c:pt>
                <c:pt idx="102">
                  <c:v>44298</c:v>
                </c:pt>
                <c:pt idx="103">
                  <c:v>44299</c:v>
                </c:pt>
                <c:pt idx="104">
                  <c:v>44300</c:v>
                </c:pt>
                <c:pt idx="105">
                  <c:v>44301</c:v>
                </c:pt>
                <c:pt idx="106">
                  <c:v>44302</c:v>
                </c:pt>
                <c:pt idx="107">
                  <c:v>44303</c:v>
                </c:pt>
                <c:pt idx="108">
                  <c:v>44304</c:v>
                </c:pt>
                <c:pt idx="109">
                  <c:v>44305</c:v>
                </c:pt>
                <c:pt idx="110">
                  <c:v>44306</c:v>
                </c:pt>
                <c:pt idx="111">
                  <c:v>44307</c:v>
                </c:pt>
                <c:pt idx="112">
                  <c:v>44308</c:v>
                </c:pt>
                <c:pt idx="113">
                  <c:v>44309</c:v>
                </c:pt>
                <c:pt idx="114">
                  <c:v>44310</c:v>
                </c:pt>
                <c:pt idx="115">
                  <c:v>44311</c:v>
                </c:pt>
                <c:pt idx="116">
                  <c:v>44312</c:v>
                </c:pt>
                <c:pt idx="117">
                  <c:v>44313</c:v>
                </c:pt>
                <c:pt idx="118">
                  <c:v>44314</c:v>
                </c:pt>
                <c:pt idx="119">
                  <c:v>44315</c:v>
                </c:pt>
                <c:pt idx="120">
                  <c:v>44316</c:v>
                </c:pt>
                <c:pt idx="121">
                  <c:v>44317</c:v>
                </c:pt>
                <c:pt idx="122">
                  <c:v>44318</c:v>
                </c:pt>
                <c:pt idx="123">
                  <c:v>44319</c:v>
                </c:pt>
                <c:pt idx="124">
                  <c:v>44320</c:v>
                </c:pt>
                <c:pt idx="125">
                  <c:v>44321</c:v>
                </c:pt>
                <c:pt idx="126">
                  <c:v>44322</c:v>
                </c:pt>
                <c:pt idx="127">
                  <c:v>44323</c:v>
                </c:pt>
                <c:pt idx="128">
                  <c:v>44324</c:v>
                </c:pt>
                <c:pt idx="129">
                  <c:v>44325</c:v>
                </c:pt>
                <c:pt idx="130">
                  <c:v>44326</c:v>
                </c:pt>
                <c:pt idx="131">
                  <c:v>44327</c:v>
                </c:pt>
                <c:pt idx="132">
                  <c:v>44328</c:v>
                </c:pt>
                <c:pt idx="133">
                  <c:v>44329</c:v>
                </c:pt>
                <c:pt idx="134">
                  <c:v>44330</c:v>
                </c:pt>
                <c:pt idx="135">
                  <c:v>44331</c:v>
                </c:pt>
                <c:pt idx="136">
                  <c:v>44332</c:v>
                </c:pt>
                <c:pt idx="137">
                  <c:v>44333</c:v>
                </c:pt>
                <c:pt idx="138">
                  <c:v>44334</c:v>
                </c:pt>
                <c:pt idx="139">
                  <c:v>44335</c:v>
                </c:pt>
                <c:pt idx="140">
                  <c:v>44336</c:v>
                </c:pt>
                <c:pt idx="141">
                  <c:v>44337</c:v>
                </c:pt>
                <c:pt idx="142">
                  <c:v>44338</c:v>
                </c:pt>
                <c:pt idx="143">
                  <c:v>44339</c:v>
                </c:pt>
                <c:pt idx="144">
                  <c:v>44340</c:v>
                </c:pt>
                <c:pt idx="145">
                  <c:v>44341</c:v>
                </c:pt>
                <c:pt idx="146">
                  <c:v>44342</c:v>
                </c:pt>
                <c:pt idx="147">
                  <c:v>44343</c:v>
                </c:pt>
                <c:pt idx="148">
                  <c:v>44344</c:v>
                </c:pt>
                <c:pt idx="149">
                  <c:v>44345</c:v>
                </c:pt>
                <c:pt idx="150">
                  <c:v>44346</c:v>
                </c:pt>
                <c:pt idx="151">
                  <c:v>44347</c:v>
                </c:pt>
                <c:pt idx="152">
                  <c:v>44348</c:v>
                </c:pt>
                <c:pt idx="153">
                  <c:v>44349</c:v>
                </c:pt>
                <c:pt idx="154">
                  <c:v>44350</c:v>
                </c:pt>
                <c:pt idx="155">
                  <c:v>44351</c:v>
                </c:pt>
                <c:pt idx="156">
                  <c:v>44352</c:v>
                </c:pt>
                <c:pt idx="157">
                  <c:v>44353</c:v>
                </c:pt>
                <c:pt idx="158">
                  <c:v>44354</c:v>
                </c:pt>
                <c:pt idx="159">
                  <c:v>44355</c:v>
                </c:pt>
                <c:pt idx="160">
                  <c:v>44356</c:v>
                </c:pt>
                <c:pt idx="161">
                  <c:v>44357</c:v>
                </c:pt>
                <c:pt idx="162">
                  <c:v>44358</c:v>
                </c:pt>
                <c:pt idx="163">
                  <c:v>44359</c:v>
                </c:pt>
                <c:pt idx="164">
                  <c:v>44360</c:v>
                </c:pt>
                <c:pt idx="165">
                  <c:v>44361</c:v>
                </c:pt>
                <c:pt idx="166">
                  <c:v>44362</c:v>
                </c:pt>
                <c:pt idx="167">
                  <c:v>44363</c:v>
                </c:pt>
                <c:pt idx="168">
                  <c:v>44364</c:v>
                </c:pt>
                <c:pt idx="169">
                  <c:v>44365</c:v>
                </c:pt>
                <c:pt idx="170">
                  <c:v>44366</c:v>
                </c:pt>
                <c:pt idx="171">
                  <c:v>44367</c:v>
                </c:pt>
                <c:pt idx="172">
                  <c:v>44368</c:v>
                </c:pt>
                <c:pt idx="173">
                  <c:v>44369</c:v>
                </c:pt>
                <c:pt idx="174">
                  <c:v>44370</c:v>
                </c:pt>
                <c:pt idx="175">
                  <c:v>44371</c:v>
                </c:pt>
                <c:pt idx="176">
                  <c:v>44372</c:v>
                </c:pt>
                <c:pt idx="177">
                  <c:v>44373</c:v>
                </c:pt>
                <c:pt idx="178">
                  <c:v>44374</c:v>
                </c:pt>
                <c:pt idx="179">
                  <c:v>44375</c:v>
                </c:pt>
                <c:pt idx="180">
                  <c:v>44376</c:v>
                </c:pt>
                <c:pt idx="181">
                  <c:v>44377</c:v>
                </c:pt>
                <c:pt idx="182">
                  <c:v>44378</c:v>
                </c:pt>
                <c:pt idx="183">
                  <c:v>44379</c:v>
                </c:pt>
                <c:pt idx="184">
                  <c:v>44380</c:v>
                </c:pt>
                <c:pt idx="185">
                  <c:v>44381</c:v>
                </c:pt>
                <c:pt idx="186">
                  <c:v>44382</c:v>
                </c:pt>
                <c:pt idx="187">
                  <c:v>44383</c:v>
                </c:pt>
                <c:pt idx="188">
                  <c:v>44384</c:v>
                </c:pt>
                <c:pt idx="189">
                  <c:v>44385</c:v>
                </c:pt>
                <c:pt idx="190">
                  <c:v>44386</c:v>
                </c:pt>
                <c:pt idx="191">
                  <c:v>44387</c:v>
                </c:pt>
                <c:pt idx="192">
                  <c:v>44388</c:v>
                </c:pt>
                <c:pt idx="193">
                  <c:v>44389</c:v>
                </c:pt>
                <c:pt idx="194">
                  <c:v>44390</c:v>
                </c:pt>
                <c:pt idx="195">
                  <c:v>44391</c:v>
                </c:pt>
                <c:pt idx="196">
                  <c:v>44392</c:v>
                </c:pt>
                <c:pt idx="197">
                  <c:v>44393</c:v>
                </c:pt>
                <c:pt idx="198">
                  <c:v>44394</c:v>
                </c:pt>
                <c:pt idx="199">
                  <c:v>44395</c:v>
                </c:pt>
                <c:pt idx="200">
                  <c:v>44396</c:v>
                </c:pt>
                <c:pt idx="201">
                  <c:v>44397</c:v>
                </c:pt>
                <c:pt idx="202">
                  <c:v>44398</c:v>
                </c:pt>
                <c:pt idx="203">
                  <c:v>44399</c:v>
                </c:pt>
                <c:pt idx="204">
                  <c:v>44400</c:v>
                </c:pt>
                <c:pt idx="205">
                  <c:v>44401</c:v>
                </c:pt>
                <c:pt idx="206">
                  <c:v>44402</c:v>
                </c:pt>
                <c:pt idx="207">
                  <c:v>44403</c:v>
                </c:pt>
                <c:pt idx="208">
                  <c:v>44404</c:v>
                </c:pt>
                <c:pt idx="209">
                  <c:v>44405</c:v>
                </c:pt>
                <c:pt idx="210">
                  <c:v>44406</c:v>
                </c:pt>
                <c:pt idx="211">
                  <c:v>44407</c:v>
                </c:pt>
                <c:pt idx="212">
                  <c:v>44408</c:v>
                </c:pt>
                <c:pt idx="213">
                  <c:v>44409</c:v>
                </c:pt>
                <c:pt idx="214">
                  <c:v>44410</c:v>
                </c:pt>
                <c:pt idx="215">
                  <c:v>44411</c:v>
                </c:pt>
                <c:pt idx="216">
                  <c:v>44412</c:v>
                </c:pt>
                <c:pt idx="217">
                  <c:v>44413</c:v>
                </c:pt>
                <c:pt idx="218">
                  <c:v>44414</c:v>
                </c:pt>
                <c:pt idx="219">
                  <c:v>44415</c:v>
                </c:pt>
                <c:pt idx="220">
                  <c:v>44416</c:v>
                </c:pt>
                <c:pt idx="221">
                  <c:v>44417</c:v>
                </c:pt>
                <c:pt idx="222">
                  <c:v>44418</c:v>
                </c:pt>
                <c:pt idx="223">
                  <c:v>44419</c:v>
                </c:pt>
                <c:pt idx="224">
                  <c:v>44420</c:v>
                </c:pt>
                <c:pt idx="225">
                  <c:v>44421</c:v>
                </c:pt>
                <c:pt idx="226">
                  <c:v>44422</c:v>
                </c:pt>
                <c:pt idx="227">
                  <c:v>44423</c:v>
                </c:pt>
                <c:pt idx="228">
                  <c:v>44424</c:v>
                </c:pt>
                <c:pt idx="229">
                  <c:v>44425</c:v>
                </c:pt>
                <c:pt idx="230">
                  <c:v>44426</c:v>
                </c:pt>
                <c:pt idx="231">
                  <c:v>44427</c:v>
                </c:pt>
                <c:pt idx="232">
                  <c:v>44428</c:v>
                </c:pt>
                <c:pt idx="233">
                  <c:v>44429</c:v>
                </c:pt>
                <c:pt idx="234">
                  <c:v>44430</c:v>
                </c:pt>
                <c:pt idx="235">
                  <c:v>44431</c:v>
                </c:pt>
                <c:pt idx="236">
                  <c:v>44432</c:v>
                </c:pt>
                <c:pt idx="237">
                  <c:v>44433</c:v>
                </c:pt>
                <c:pt idx="238">
                  <c:v>44434</c:v>
                </c:pt>
                <c:pt idx="239">
                  <c:v>44435</c:v>
                </c:pt>
                <c:pt idx="240">
                  <c:v>44436</c:v>
                </c:pt>
                <c:pt idx="241">
                  <c:v>44437</c:v>
                </c:pt>
                <c:pt idx="242">
                  <c:v>44438</c:v>
                </c:pt>
                <c:pt idx="243">
                  <c:v>44439</c:v>
                </c:pt>
                <c:pt idx="244">
                  <c:v>44440</c:v>
                </c:pt>
                <c:pt idx="245">
                  <c:v>44441</c:v>
                </c:pt>
                <c:pt idx="246">
                  <c:v>44442</c:v>
                </c:pt>
                <c:pt idx="247">
                  <c:v>44443</c:v>
                </c:pt>
                <c:pt idx="248">
                  <c:v>44444</c:v>
                </c:pt>
                <c:pt idx="249">
                  <c:v>44445</c:v>
                </c:pt>
                <c:pt idx="250">
                  <c:v>44446</c:v>
                </c:pt>
                <c:pt idx="251">
                  <c:v>44447</c:v>
                </c:pt>
                <c:pt idx="252">
                  <c:v>44448</c:v>
                </c:pt>
                <c:pt idx="253">
                  <c:v>44449</c:v>
                </c:pt>
                <c:pt idx="254">
                  <c:v>44450</c:v>
                </c:pt>
                <c:pt idx="255">
                  <c:v>44451</c:v>
                </c:pt>
                <c:pt idx="256">
                  <c:v>44452</c:v>
                </c:pt>
                <c:pt idx="257">
                  <c:v>44453</c:v>
                </c:pt>
                <c:pt idx="258">
                  <c:v>44454</c:v>
                </c:pt>
                <c:pt idx="259">
                  <c:v>44455</c:v>
                </c:pt>
                <c:pt idx="260">
                  <c:v>44456</c:v>
                </c:pt>
                <c:pt idx="261">
                  <c:v>44457</c:v>
                </c:pt>
                <c:pt idx="262">
                  <c:v>44458</c:v>
                </c:pt>
                <c:pt idx="263">
                  <c:v>44459</c:v>
                </c:pt>
                <c:pt idx="264">
                  <c:v>44460</c:v>
                </c:pt>
                <c:pt idx="265">
                  <c:v>44461</c:v>
                </c:pt>
                <c:pt idx="266">
                  <c:v>44462</c:v>
                </c:pt>
                <c:pt idx="267">
                  <c:v>44463</c:v>
                </c:pt>
                <c:pt idx="268">
                  <c:v>44464</c:v>
                </c:pt>
                <c:pt idx="269">
                  <c:v>44465</c:v>
                </c:pt>
                <c:pt idx="270">
                  <c:v>44466</c:v>
                </c:pt>
                <c:pt idx="271">
                  <c:v>44467</c:v>
                </c:pt>
                <c:pt idx="272">
                  <c:v>44468</c:v>
                </c:pt>
                <c:pt idx="273">
                  <c:v>44469</c:v>
                </c:pt>
                <c:pt idx="274">
                  <c:v>44470</c:v>
                </c:pt>
                <c:pt idx="275">
                  <c:v>44471</c:v>
                </c:pt>
                <c:pt idx="276">
                  <c:v>44472</c:v>
                </c:pt>
                <c:pt idx="277">
                  <c:v>44473</c:v>
                </c:pt>
                <c:pt idx="278">
                  <c:v>44474</c:v>
                </c:pt>
                <c:pt idx="279">
                  <c:v>44475</c:v>
                </c:pt>
                <c:pt idx="280">
                  <c:v>44476</c:v>
                </c:pt>
                <c:pt idx="281">
                  <c:v>44477</c:v>
                </c:pt>
                <c:pt idx="282">
                  <c:v>44478</c:v>
                </c:pt>
                <c:pt idx="283">
                  <c:v>44479</c:v>
                </c:pt>
                <c:pt idx="284">
                  <c:v>44480</c:v>
                </c:pt>
                <c:pt idx="285">
                  <c:v>44481</c:v>
                </c:pt>
                <c:pt idx="286">
                  <c:v>44482</c:v>
                </c:pt>
                <c:pt idx="287">
                  <c:v>44483</c:v>
                </c:pt>
                <c:pt idx="288">
                  <c:v>44484</c:v>
                </c:pt>
                <c:pt idx="289">
                  <c:v>44485</c:v>
                </c:pt>
                <c:pt idx="290">
                  <c:v>44486</c:v>
                </c:pt>
                <c:pt idx="291">
                  <c:v>44487</c:v>
                </c:pt>
                <c:pt idx="292">
                  <c:v>44488</c:v>
                </c:pt>
                <c:pt idx="293">
                  <c:v>44489</c:v>
                </c:pt>
                <c:pt idx="294">
                  <c:v>44490</c:v>
                </c:pt>
                <c:pt idx="295">
                  <c:v>44491</c:v>
                </c:pt>
                <c:pt idx="296">
                  <c:v>44492</c:v>
                </c:pt>
                <c:pt idx="297">
                  <c:v>44493</c:v>
                </c:pt>
                <c:pt idx="298">
                  <c:v>44494</c:v>
                </c:pt>
                <c:pt idx="299">
                  <c:v>44495</c:v>
                </c:pt>
                <c:pt idx="300">
                  <c:v>44496</c:v>
                </c:pt>
                <c:pt idx="301">
                  <c:v>44497</c:v>
                </c:pt>
                <c:pt idx="302">
                  <c:v>44498</c:v>
                </c:pt>
                <c:pt idx="303">
                  <c:v>44499</c:v>
                </c:pt>
                <c:pt idx="304">
                  <c:v>44500</c:v>
                </c:pt>
                <c:pt idx="305">
                  <c:v>44501</c:v>
                </c:pt>
                <c:pt idx="306">
                  <c:v>44502</c:v>
                </c:pt>
                <c:pt idx="307">
                  <c:v>44503</c:v>
                </c:pt>
                <c:pt idx="308">
                  <c:v>44504</c:v>
                </c:pt>
                <c:pt idx="309">
                  <c:v>44505</c:v>
                </c:pt>
                <c:pt idx="310">
                  <c:v>44506</c:v>
                </c:pt>
                <c:pt idx="311">
                  <c:v>44507</c:v>
                </c:pt>
                <c:pt idx="312">
                  <c:v>44508</c:v>
                </c:pt>
                <c:pt idx="313">
                  <c:v>44509</c:v>
                </c:pt>
                <c:pt idx="314">
                  <c:v>44510</c:v>
                </c:pt>
                <c:pt idx="315">
                  <c:v>44511</c:v>
                </c:pt>
                <c:pt idx="316">
                  <c:v>44512</c:v>
                </c:pt>
                <c:pt idx="317">
                  <c:v>44513</c:v>
                </c:pt>
                <c:pt idx="318">
                  <c:v>44514</c:v>
                </c:pt>
                <c:pt idx="319">
                  <c:v>44515</c:v>
                </c:pt>
                <c:pt idx="320">
                  <c:v>44516</c:v>
                </c:pt>
                <c:pt idx="321">
                  <c:v>44517</c:v>
                </c:pt>
                <c:pt idx="322">
                  <c:v>44518</c:v>
                </c:pt>
                <c:pt idx="323">
                  <c:v>44519</c:v>
                </c:pt>
                <c:pt idx="324">
                  <c:v>44520</c:v>
                </c:pt>
                <c:pt idx="325">
                  <c:v>44521</c:v>
                </c:pt>
                <c:pt idx="326">
                  <c:v>44522</c:v>
                </c:pt>
                <c:pt idx="327">
                  <c:v>44523</c:v>
                </c:pt>
                <c:pt idx="328">
                  <c:v>44524</c:v>
                </c:pt>
                <c:pt idx="329">
                  <c:v>44525</c:v>
                </c:pt>
                <c:pt idx="330">
                  <c:v>44526</c:v>
                </c:pt>
                <c:pt idx="331">
                  <c:v>44527</c:v>
                </c:pt>
                <c:pt idx="332">
                  <c:v>44528</c:v>
                </c:pt>
                <c:pt idx="333">
                  <c:v>44529</c:v>
                </c:pt>
                <c:pt idx="334">
                  <c:v>44530</c:v>
                </c:pt>
                <c:pt idx="335">
                  <c:v>44531</c:v>
                </c:pt>
                <c:pt idx="336">
                  <c:v>44532</c:v>
                </c:pt>
                <c:pt idx="337">
                  <c:v>44533</c:v>
                </c:pt>
                <c:pt idx="338">
                  <c:v>44534</c:v>
                </c:pt>
                <c:pt idx="339">
                  <c:v>44535</c:v>
                </c:pt>
                <c:pt idx="340">
                  <c:v>44536</c:v>
                </c:pt>
                <c:pt idx="341">
                  <c:v>44537</c:v>
                </c:pt>
                <c:pt idx="342">
                  <c:v>44538</c:v>
                </c:pt>
                <c:pt idx="343">
                  <c:v>44539</c:v>
                </c:pt>
                <c:pt idx="344">
                  <c:v>44540</c:v>
                </c:pt>
                <c:pt idx="345">
                  <c:v>44541</c:v>
                </c:pt>
                <c:pt idx="346">
                  <c:v>44542</c:v>
                </c:pt>
                <c:pt idx="347">
                  <c:v>44543</c:v>
                </c:pt>
                <c:pt idx="348">
                  <c:v>44544</c:v>
                </c:pt>
                <c:pt idx="349">
                  <c:v>44545</c:v>
                </c:pt>
                <c:pt idx="350">
                  <c:v>44546</c:v>
                </c:pt>
                <c:pt idx="351">
                  <c:v>44547</c:v>
                </c:pt>
                <c:pt idx="352">
                  <c:v>44548</c:v>
                </c:pt>
                <c:pt idx="353">
                  <c:v>44549</c:v>
                </c:pt>
                <c:pt idx="354">
                  <c:v>44550</c:v>
                </c:pt>
                <c:pt idx="355">
                  <c:v>44551</c:v>
                </c:pt>
                <c:pt idx="356">
                  <c:v>44552</c:v>
                </c:pt>
                <c:pt idx="357">
                  <c:v>44553</c:v>
                </c:pt>
                <c:pt idx="358">
                  <c:v>44554</c:v>
                </c:pt>
                <c:pt idx="359">
                  <c:v>44555</c:v>
                </c:pt>
                <c:pt idx="360">
                  <c:v>44556</c:v>
                </c:pt>
                <c:pt idx="361">
                  <c:v>44557</c:v>
                </c:pt>
                <c:pt idx="362">
                  <c:v>44558</c:v>
                </c:pt>
                <c:pt idx="363">
                  <c:v>44559</c:v>
                </c:pt>
                <c:pt idx="364">
                  <c:v>44560</c:v>
                </c:pt>
                <c:pt idx="365">
                  <c:v>44561</c:v>
                </c:pt>
                <c:pt idx="366">
                  <c:v>44562</c:v>
                </c:pt>
                <c:pt idx="367">
                  <c:v>44563</c:v>
                </c:pt>
                <c:pt idx="368">
                  <c:v>44564</c:v>
                </c:pt>
                <c:pt idx="369">
                  <c:v>44565</c:v>
                </c:pt>
                <c:pt idx="370">
                  <c:v>44566</c:v>
                </c:pt>
                <c:pt idx="371">
                  <c:v>44567</c:v>
                </c:pt>
                <c:pt idx="372">
                  <c:v>44568</c:v>
                </c:pt>
                <c:pt idx="373">
                  <c:v>44569</c:v>
                </c:pt>
                <c:pt idx="374">
                  <c:v>44570</c:v>
                </c:pt>
                <c:pt idx="375">
                  <c:v>44571</c:v>
                </c:pt>
                <c:pt idx="376">
                  <c:v>44572</c:v>
                </c:pt>
                <c:pt idx="377">
                  <c:v>44573</c:v>
                </c:pt>
                <c:pt idx="378">
                  <c:v>44574</c:v>
                </c:pt>
                <c:pt idx="379">
                  <c:v>44575</c:v>
                </c:pt>
                <c:pt idx="380">
                  <c:v>44576</c:v>
                </c:pt>
                <c:pt idx="381">
                  <c:v>44577</c:v>
                </c:pt>
                <c:pt idx="382">
                  <c:v>44578</c:v>
                </c:pt>
                <c:pt idx="383">
                  <c:v>44579</c:v>
                </c:pt>
                <c:pt idx="384">
                  <c:v>44580</c:v>
                </c:pt>
                <c:pt idx="385">
                  <c:v>44581</c:v>
                </c:pt>
                <c:pt idx="386">
                  <c:v>44582</c:v>
                </c:pt>
                <c:pt idx="387">
                  <c:v>44583</c:v>
                </c:pt>
                <c:pt idx="388">
                  <c:v>44584</c:v>
                </c:pt>
                <c:pt idx="389">
                  <c:v>44585</c:v>
                </c:pt>
                <c:pt idx="390">
                  <c:v>44586</c:v>
                </c:pt>
                <c:pt idx="391">
                  <c:v>44587</c:v>
                </c:pt>
                <c:pt idx="392">
                  <c:v>44588</c:v>
                </c:pt>
                <c:pt idx="393">
                  <c:v>44589</c:v>
                </c:pt>
                <c:pt idx="394">
                  <c:v>44590</c:v>
                </c:pt>
                <c:pt idx="395">
                  <c:v>44591</c:v>
                </c:pt>
                <c:pt idx="396">
                  <c:v>44592</c:v>
                </c:pt>
                <c:pt idx="397">
                  <c:v>44593</c:v>
                </c:pt>
                <c:pt idx="398">
                  <c:v>44594</c:v>
                </c:pt>
                <c:pt idx="399">
                  <c:v>44595</c:v>
                </c:pt>
                <c:pt idx="400">
                  <c:v>44596</c:v>
                </c:pt>
                <c:pt idx="401">
                  <c:v>44597</c:v>
                </c:pt>
                <c:pt idx="402">
                  <c:v>44598</c:v>
                </c:pt>
                <c:pt idx="403">
                  <c:v>44599</c:v>
                </c:pt>
                <c:pt idx="404">
                  <c:v>44600</c:v>
                </c:pt>
                <c:pt idx="405">
                  <c:v>44601</c:v>
                </c:pt>
                <c:pt idx="406">
                  <c:v>44602</c:v>
                </c:pt>
                <c:pt idx="407">
                  <c:v>44603</c:v>
                </c:pt>
                <c:pt idx="408">
                  <c:v>44604</c:v>
                </c:pt>
                <c:pt idx="409">
                  <c:v>44605</c:v>
                </c:pt>
                <c:pt idx="410">
                  <c:v>44606</c:v>
                </c:pt>
                <c:pt idx="411">
                  <c:v>44607</c:v>
                </c:pt>
                <c:pt idx="412">
                  <c:v>44608</c:v>
                </c:pt>
                <c:pt idx="413">
                  <c:v>44609</c:v>
                </c:pt>
                <c:pt idx="414">
                  <c:v>44610</c:v>
                </c:pt>
                <c:pt idx="415">
                  <c:v>44611</c:v>
                </c:pt>
                <c:pt idx="416">
                  <c:v>44612</c:v>
                </c:pt>
                <c:pt idx="417">
                  <c:v>44613</c:v>
                </c:pt>
                <c:pt idx="418">
                  <c:v>44614</c:v>
                </c:pt>
                <c:pt idx="419">
                  <c:v>44615</c:v>
                </c:pt>
                <c:pt idx="420">
                  <c:v>44616</c:v>
                </c:pt>
                <c:pt idx="421">
                  <c:v>44617</c:v>
                </c:pt>
                <c:pt idx="422">
                  <c:v>44618</c:v>
                </c:pt>
                <c:pt idx="423">
                  <c:v>44619</c:v>
                </c:pt>
                <c:pt idx="424">
                  <c:v>44620</c:v>
                </c:pt>
                <c:pt idx="425">
                  <c:v>44621</c:v>
                </c:pt>
                <c:pt idx="426">
                  <c:v>44622</c:v>
                </c:pt>
                <c:pt idx="427">
                  <c:v>44623</c:v>
                </c:pt>
                <c:pt idx="428">
                  <c:v>44624</c:v>
                </c:pt>
                <c:pt idx="429">
                  <c:v>44625</c:v>
                </c:pt>
                <c:pt idx="430">
                  <c:v>44626</c:v>
                </c:pt>
                <c:pt idx="431">
                  <c:v>44627</c:v>
                </c:pt>
                <c:pt idx="432">
                  <c:v>44628</c:v>
                </c:pt>
                <c:pt idx="433">
                  <c:v>44629</c:v>
                </c:pt>
                <c:pt idx="434">
                  <c:v>44630</c:v>
                </c:pt>
                <c:pt idx="435">
                  <c:v>44631</c:v>
                </c:pt>
                <c:pt idx="436">
                  <c:v>44632</c:v>
                </c:pt>
                <c:pt idx="437">
                  <c:v>44633</c:v>
                </c:pt>
                <c:pt idx="438">
                  <c:v>44634</c:v>
                </c:pt>
                <c:pt idx="439">
                  <c:v>44635</c:v>
                </c:pt>
                <c:pt idx="440">
                  <c:v>44636</c:v>
                </c:pt>
                <c:pt idx="441">
                  <c:v>44637</c:v>
                </c:pt>
                <c:pt idx="442">
                  <c:v>44638</c:v>
                </c:pt>
                <c:pt idx="443">
                  <c:v>44639</c:v>
                </c:pt>
                <c:pt idx="444">
                  <c:v>44640</c:v>
                </c:pt>
                <c:pt idx="445">
                  <c:v>44641</c:v>
                </c:pt>
                <c:pt idx="446">
                  <c:v>44642</c:v>
                </c:pt>
                <c:pt idx="447">
                  <c:v>44643</c:v>
                </c:pt>
                <c:pt idx="448">
                  <c:v>44644</c:v>
                </c:pt>
                <c:pt idx="449">
                  <c:v>44645</c:v>
                </c:pt>
                <c:pt idx="450">
                  <c:v>44646</c:v>
                </c:pt>
                <c:pt idx="451">
                  <c:v>44647</c:v>
                </c:pt>
                <c:pt idx="452">
                  <c:v>44648</c:v>
                </c:pt>
                <c:pt idx="453">
                  <c:v>44649</c:v>
                </c:pt>
                <c:pt idx="454">
                  <c:v>44650</c:v>
                </c:pt>
                <c:pt idx="455">
                  <c:v>44651</c:v>
                </c:pt>
                <c:pt idx="456">
                  <c:v>44652</c:v>
                </c:pt>
                <c:pt idx="457">
                  <c:v>44653</c:v>
                </c:pt>
                <c:pt idx="458">
                  <c:v>44654</c:v>
                </c:pt>
                <c:pt idx="459">
                  <c:v>44655</c:v>
                </c:pt>
                <c:pt idx="460">
                  <c:v>44656</c:v>
                </c:pt>
                <c:pt idx="461">
                  <c:v>44657</c:v>
                </c:pt>
                <c:pt idx="462">
                  <c:v>44658</c:v>
                </c:pt>
                <c:pt idx="463">
                  <c:v>44659</c:v>
                </c:pt>
                <c:pt idx="464">
                  <c:v>44660</c:v>
                </c:pt>
                <c:pt idx="465">
                  <c:v>44661</c:v>
                </c:pt>
                <c:pt idx="466">
                  <c:v>44662</c:v>
                </c:pt>
                <c:pt idx="467">
                  <c:v>44663</c:v>
                </c:pt>
                <c:pt idx="468">
                  <c:v>44664</c:v>
                </c:pt>
                <c:pt idx="469">
                  <c:v>44665</c:v>
                </c:pt>
                <c:pt idx="470">
                  <c:v>44666</c:v>
                </c:pt>
                <c:pt idx="471">
                  <c:v>44667</c:v>
                </c:pt>
                <c:pt idx="472">
                  <c:v>44668</c:v>
                </c:pt>
                <c:pt idx="473">
                  <c:v>44669</c:v>
                </c:pt>
                <c:pt idx="474">
                  <c:v>44670</c:v>
                </c:pt>
                <c:pt idx="475">
                  <c:v>44671</c:v>
                </c:pt>
                <c:pt idx="476">
                  <c:v>44672</c:v>
                </c:pt>
                <c:pt idx="477">
                  <c:v>44673</c:v>
                </c:pt>
                <c:pt idx="478">
                  <c:v>44674</c:v>
                </c:pt>
                <c:pt idx="479">
                  <c:v>44675</c:v>
                </c:pt>
                <c:pt idx="480">
                  <c:v>44676</c:v>
                </c:pt>
                <c:pt idx="481">
                  <c:v>44677</c:v>
                </c:pt>
                <c:pt idx="482">
                  <c:v>44678</c:v>
                </c:pt>
                <c:pt idx="483">
                  <c:v>44679</c:v>
                </c:pt>
                <c:pt idx="484">
                  <c:v>44680</c:v>
                </c:pt>
                <c:pt idx="485">
                  <c:v>44681</c:v>
                </c:pt>
                <c:pt idx="486">
                  <c:v>44682</c:v>
                </c:pt>
                <c:pt idx="487">
                  <c:v>44683</c:v>
                </c:pt>
                <c:pt idx="488">
                  <c:v>44684</c:v>
                </c:pt>
                <c:pt idx="489">
                  <c:v>44685</c:v>
                </c:pt>
                <c:pt idx="490">
                  <c:v>44686</c:v>
                </c:pt>
                <c:pt idx="491">
                  <c:v>44687</c:v>
                </c:pt>
                <c:pt idx="492">
                  <c:v>44688</c:v>
                </c:pt>
                <c:pt idx="493">
                  <c:v>44689</c:v>
                </c:pt>
                <c:pt idx="494">
                  <c:v>44690</c:v>
                </c:pt>
                <c:pt idx="495">
                  <c:v>44691</c:v>
                </c:pt>
                <c:pt idx="496">
                  <c:v>44692</c:v>
                </c:pt>
                <c:pt idx="497">
                  <c:v>44693</c:v>
                </c:pt>
                <c:pt idx="498">
                  <c:v>44694</c:v>
                </c:pt>
                <c:pt idx="499">
                  <c:v>44695</c:v>
                </c:pt>
                <c:pt idx="500">
                  <c:v>44696</c:v>
                </c:pt>
                <c:pt idx="501">
                  <c:v>44697</c:v>
                </c:pt>
                <c:pt idx="502">
                  <c:v>44698</c:v>
                </c:pt>
                <c:pt idx="503">
                  <c:v>44699</c:v>
                </c:pt>
                <c:pt idx="504">
                  <c:v>44700</c:v>
                </c:pt>
                <c:pt idx="505">
                  <c:v>44701</c:v>
                </c:pt>
                <c:pt idx="506">
                  <c:v>44702</c:v>
                </c:pt>
                <c:pt idx="507">
                  <c:v>44703</c:v>
                </c:pt>
                <c:pt idx="508">
                  <c:v>44704</c:v>
                </c:pt>
                <c:pt idx="509">
                  <c:v>44705</c:v>
                </c:pt>
                <c:pt idx="510">
                  <c:v>44706</c:v>
                </c:pt>
                <c:pt idx="511">
                  <c:v>44707</c:v>
                </c:pt>
                <c:pt idx="512">
                  <c:v>44708</c:v>
                </c:pt>
                <c:pt idx="513">
                  <c:v>44709</c:v>
                </c:pt>
                <c:pt idx="514">
                  <c:v>44710</c:v>
                </c:pt>
                <c:pt idx="515">
                  <c:v>44711</c:v>
                </c:pt>
                <c:pt idx="516">
                  <c:v>44712</c:v>
                </c:pt>
                <c:pt idx="517">
                  <c:v>44713</c:v>
                </c:pt>
                <c:pt idx="518">
                  <c:v>44714</c:v>
                </c:pt>
                <c:pt idx="519">
                  <c:v>44715</c:v>
                </c:pt>
                <c:pt idx="520">
                  <c:v>44716</c:v>
                </c:pt>
                <c:pt idx="521">
                  <c:v>44717</c:v>
                </c:pt>
                <c:pt idx="522">
                  <c:v>44718</c:v>
                </c:pt>
                <c:pt idx="523">
                  <c:v>44719</c:v>
                </c:pt>
                <c:pt idx="524">
                  <c:v>44720</c:v>
                </c:pt>
                <c:pt idx="525">
                  <c:v>44721</c:v>
                </c:pt>
                <c:pt idx="526">
                  <c:v>44722</c:v>
                </c:pt>
                <c:pt idx="527">
                  <c:v>44723</c:v>
                </c:pt>
                <c:pt idx="528">
                  <c:v>44724</c:v>
                </c:pt>
                <c:pt idx="529">
                  <c:v>44725</c:v>
                </c:pt>
                <c:pt idx="530">
                  <c:v>44726</c:v>
                </c:pt>
                <c:pt idx="531">
                  <c:v>44727</c:v>
                </c:pt>
                <c:pt idx="532">
                  <c:v>44728</c:v>
                </c:pt>
                <c:pt idx="533">
                  <c:v>44729</c:v>
                </c:pt>
                <c:pt idx="534">
                  <c:v>44730</c:v>
                </c:pt>
                <c:pt idx="535">
                  <c:v>44731</c:v>
                </c:pt>
                <c:pt idx="536">
                  <c:v>44732</c:v>
                </c:pt>
                <c:pt idx="537">
                  <c:v>44733</c:v>
                </c:pt>
                <c:pt idx="538">
                  <c:v>44734</c:v>
                </c:pt>
                <c:pt idx="539">
                  <c:v>44735</c:v>
                </c:pt>
                <c:pt idx="540">
                  <c:v>44736</c:v>
                </c:pt>
                <c:pt idx="541">
                  <c:v>44737</c:v>
                </c:pt>
                <c:pt idx="542">
                  <c:v>44738</c:v>
                </c:pt>
                <c:pt idx="543">
                  <c:v>44739</c:v>
                </c:pt>
                <c:pt idx="544">
                  <c:v>44740</c:v>
                </c:pt>
                <c:pt idx="545">
                  <c:v>44741</c:v>
                </c:pt>
                <c:pt idx="546">
                  <c:v>44742</c:v>
                </c:pt>
                <c:pt idx="547">
                  <c:v>44743</c:v>
                </c:pt>
                <c:pt idx="548">
                  <c:v>44744</c:v>
                </c:pt>
                <c:pt idx="549">
                  <c:v>44745</c:v>
                </c:pt>
                <c:pt idx="550">
                  <c:v>44746</c:v>
                </c:pt>
                <c:pt idx="551">
                  <c:v>44747</c:v>
                </c:pt>
                <c:pt idx="552">
                  <c:v>44748</c:v>
                </c:pt>
                <c:pt idx="553">
                  <c:v>44749</c:v>
                </c:pt>
                <c:pt idx="554">
                  <c:v>44750</c:v>
                </c:pt>
                <c:pt idx="555">
                  <c:v>44751</c:v>
                </c:pt>
                <c:pt idx="556">
                  <c:v>44752</c:v>
                </c:pt>
                <c:pt idx="557">
                  <c:v>44753</c:v>
                </c:pt>
                <c:pt idx="558">
                  <c:v>44754</c:v>
                </c:pt>
                <c:pt idx="559">
                  <c:v>44755</c:v>
                </c:pt>
                <c:pt idx="560">
                  <c:v>44756</c:v>
                </c:pt>
                <c:pt idx="561">
                  <c:v>44757</c:v>
                </c:pt>
                <c:pt idx="562">
                  <c:v>44758</c:v>
                </c:pt>
                <c:pt idx="563">
                  <c:v>44759</c:v>
                </c:pt>
                <c:pt idx="564">
                  <c:v>44760</c:v>
                </c:pt>
                <c:pt idx="565">
                  <c:v>44761</c:v>
                </c:pt>
                <c:pt idx="566">
                  <c:v>44762</c:v>
                </c:pt>
                <c:pt idx="567">
                  <c:v>44763</c:v>
                </c:pt>
                <c:pt idx="568">
                  <c:v>44764</c:v>
                </c:pt>
                <c:pt idx="569">
                  <c:v>44765</c:v>
                </c:pt>
                <c:pt idx="570">
                  <c:v>44766</c:v>
                </c:pt>
                <c:pt idx="571">
                  <c:v>44767</c:v>
                </c:pt>
                <c:pt idx="572">
                  <c:v>44768</c:v>
                </c:pt>
                <c:pt idx="573">
                  <c:v>44769</c:v>
                </c:pt>
                <c:pt idx="574">
                  <c:v>44770</c:v>
                </c:pt>
                <c:pt idx="575">
                  <c:v>44771</c:v>
                </c:pt>
                <c:pt idx="576">
                  <c:v>44772</c:v>
                </c:pt>
                <c:pt idx="577">
                  <c:v>44773</c:v>
                </c:pt>
                <c:pt idx="578">
                  <c:v>44774</c:v>
                </c:pt>
                <c:pt idx="579">
                  <c:v>44775</c:v>
                </c:pt>
                <c:pt idx="580">
                  <c:v>44776</c:v>
                </c:pt>
                <c:pt idx="581">
                  <c:v>44777</c:v>
                </c:pt>
                <c:pt idx="582">
                  <c:v>44778</c:v>
                </c:pt>
                <c:pt idx="583">
                  <c:v>44779</c:v>
                </c:pt>
                <c:pt idx="584">
                  <c:v>44780</c:v>
                </c:pt>
                <c:pt idx="585">
                  <c:v>44781</c:v>
                </c:pt>
                <c:pt idx="586">
                  <c:v>44782</c:v>
                </c:pt>
                <c:pt idx="587">
                  <c:v>44783</c:v>
                </c:pt>
                <c:pt idx="588">
                  <c:v>44784</c:v>
                </c:pt>
                <c:pt idx="589">
                  <c:v>44785</c:v>
                </c:pt>
                <c:pt idx="590">
                  <c:v>44786</c:v>
                </c:pt>
                <c:pt idx="591">
                  <c:v>44787</c:v>
                </c:pt>
                <c:pt idx="592">
                  <c:v>44788</c:v>
                </c:pt>
                <c:pt idx="593">
                  <c:v>44789</c:v>
                </c:pt>
                <c:pt idx="594">
                  <c:v>44790</c:v>
                </c:pt>
                <c:pt idx="595">
                  <c:v>44791</c:v>
                </c:pt>
                <c:pt idx="596">
                  <c:v>44792</c:v>
                </c:pt>
                <c:pt idx="597">
                  <c:v>44793</c:v>
                </c:pt>
                <c:pt idx="598">
                  <c:v>44794</c:v>
                </c:pt>
                <c:pt idx="599">
                  <c:v>44795</c:v>
                </c:pt>
                <c:pt idx="600">
                  <c:v>44796</c:v>
                </c:pt>
                <c:pt idx="601">
                  <c:v>44797</c:v>
                </c:pt>
                <c:pt idx="602">
                  <c:v>44798</c:v>
                </c:pt>
                <c:pt idx="603">
                  <c:v>44799</c:v>
                </c:pt>
                <c:pt idx="604">
                  <c:v>44800</c:v>
                </c:pt>
                <c:pt idx="605">
                  <c:v>44801</c:v>
                </c:pt>
                <c:pt idx="606">
                  <c:v>44802</c:v>
                </c:pt>
                <c:pt idx="607">
                  <c:v>44803</c:v>
                </c:pt>
                <c:pt idx="608">
                  <c:v>44804</c:v>
                </c:pt>
                <c:pt idx="609">
                  <c:v>44805</c:v>
                </c:pt>
                <c:pt idx="610">
                  <c:v>44806</c:v>
                </c:pt>
                <c:pt idx="611">
                  <c:v>44807</c:v>
                </c:pt>
                <c:pt idx="612">
                  <c:v>44808</c:v>
                </c:pt>
                <c:pt idx="613">
                  <c:v>44809</c:v>
                </c:pt>
                <c:pt idx="614">
                  <c:v>44810</c:v>
                </c:pt>
                <c:pt idx="615">
                  <c:v>44811</c:v>
                </c:pt>
                <c:pt idx="616">
                  <c:v>44812</c:v>
                </c:pt>
                <c:pt idx="617">
                  <c:v>44813</c:v>
                </c:pt>
                <c:pt idx="618">
                  <c:v>44814</c:v>
                </c:pt>
                <c:pt idx="619">
                  <c:v>44815</c:v>
                </c:pt>
                <c:pt idx="620">
                  <c:v>44816</c:v>
                </c:pt>
                <c:pt idx="621">
                  <c:v>44817</c:v>
                </c:pt>
                <c:pt idx="622">
                  <c:v>44818</c:v>
                </c:pt>
                <c:pt idx="623">
                  <c:v>44819</c:v>
                </c:pt>
                <c:pt idx="624">
                  <c:v>44820</c:v>
                </c:pt>
                <c:pt idx="625">
                  <c:v>44821</c:v>
                </c:pt>
                <c:pt idx="626">
                  <c:v>44822</c:v>
                </c:pt>
                <c:pt idx="627">
                  <c:v>44823</c:v>
                </c:pt>
                <c:pt idx="628">
                  <c:v>44824</c:v>
                </c:pt>
                <c:pt idx="629">
                  <c:v>44825</c:v>
                </c:pt>
                <c:pt idx="630">
                  <c:v>44826</c:v>
                </c:pt>
                <c:pt idx="631">
                  <c:v>44827</c:v>
                </c:pt>
                <c:pt idx="632">
                  <c:v>44828</c:v>
                </c:pt>
                <c:pt idx="633">
                  <c:v>44829</c:v>
                </c:pt>
                <c:pt idx="634">
                  <c:v>44830</c:v>
                </c:pt>
                <c:pt idx="635">
                  <c:v>44831</c:v>
                </c:pt>
                <c:pt idx="636">
                  <c:v>44832</c:v>
                </c:pt>
                <c:pt idx="637">
                  <c:v>44833</c:v>
                </c:pt>
                <c:pt idx="638">
                  <c:v>44834</c:v>
                </c:pt>
                <c:pt idx="639">
                  <c:v>44835</c:v>
                </c:pt>
                <c:pt idx="640">
                  <c:v>44836</c:v>
                </c:pt>
                <c:pt idx="641">
                  <c:v>44837</c:v>
                </c:pt>
                <c:pt idx="642">
                  <c:v>44838</c:v>
                </c:pt>
                <c:pt idx="643">
                  <c:v>44839</c:v>
                </c:pt>
                <c:pt idx="644">
                  <c:v>44840</c:v>
                </c:pt>
                <c:pt idx="645">
                  <c:v>44841</c:v>
                </c:pt>
                <c:pt idx="646">
                  <c:v>44842</c:v>
                </c:pt>
                <c:pt idx="647">
                  <c:v>44843</c:v>
                </c:pt>
                <c:pt idx="648">
                  <c:v>44844</c:v>
                </c:pt>
                <c:pt idx="649">
                  <c:v>44845</c:v>
                </c:pt>
                <c:pt idx="650">
                  <c:v>44846</c:v>
                </c:pt>
                <c:pt idx="651">
                  <c:v>44847</c:v>
                </c:pt>
                <c:pt idx="652">
                  <c:v>44848</c:v>
                </c:pt>
                <c:pt idx="653">
                  <c:v>44849</c:v>
                </c:pt>
                <c:pt idx="654">
                  <c:v>44850</c:v>
                </c:pt>
                <c:pt idx="655">
                  <c:v>44851</c:v>
                </c:pt>
                <c:pt idx="656">
                  <c:v>44852</c:v>
                </c:pt>
                <c:pt idx="657">
                  <c:v>44853</c:v>
                </c:pt>
                <c:pt idx="658">
                  <c:v>44854</c:v>
                </c:pt>
                <c:pt idx="659">
                  <c:v>44855</c:v>
                </c:pt>
                <c:pt idx="660">
                  <c:v>44856</c:v>
                </c:pt>
                <c:pt idx="661">
                  <c:v>44857</c:v>
                </c:pt>
                <c:pt idx="662">
                  <c:v>44858</c:v>
                </c:pt>
                <c:pt idx="663">
                  <c:v>44859</c:v>
                </c:pt>
                <c:pt idx="664">
                  <c:v>44860</c:v>
                </c:pt>
                <c:pt idx="665">
                  <c:v>44861</c:v>
                </c:pt>
                <c:pt idx="666">
                  <c:v>44862</c:v>
                </c:pt>
                <c:pt idx="667">
                  <c:v>44863</c:v>
                </c:pt>
                <c:pt idx="668">
                  <c:v>44864</c:v>
                </c:pt>
                <c:pt idx="669">
                  <c:v>44865</c:v>
                </c:pt>
                <c:pt idx="670">
                  <c:v>44866</c:v>
                </c:pt>
                <c:pt idx="671">
                  <c:v>44867</c:v>
                </c:pt>
                <c:pt idx="672">
                  <c:v>44868</c:v>
                </c:pt>
                <c:pt idx="673">
                  <c:v>44869</c:v>
                </c:pt>
                <c:pt idx="674">
                  <c:v>44870</c:v>
                </c:pt>
                <c:pt idx="675">
                  <c:v>44871</c:v>
                </c:pt>
                <c:pt idx="676">
                  <c:v>44872</c:v>
                </c:pt>
                <c:pt idx="677">
                  <c:v>44873</c:v>
                </c:pt>
                <c:pt idx="678">
                  <c:v>44874</c:v>
                </c:pt>
                <c:pt idx="679">
                  <c:v>44875</c:v>
                </c:pt>
                <c:pt idx="680">
                  <c:v>44876</c:v>
                </c:pt>
                <c:pt idx="681">
                  <c:v>44877</c:v>
                </c:pt>
                <c:pt idx="682">
                  <c:v>44878</c:v>
                </c:pt>
                <c:pt idx="683">
                  <c:v>44879</c:v>
                </c:pt>
                <c:pt idx="684">
                  <c:v>44880</c:v>
                </c:pt>
                <c:pt idx="685">
                  <c:v>44881</c:v>
                </c:pt>
                <c:pt idx="686">
                  <c:v>44882</c:v>
                </c:pt>
                <c:pt idx="687">
                  <c:v>44883</c:v>
                </c:pt>
                <c:pt idx="688">
                  <c:v>44884</c:v>
                </c:pt>
                <c:pt idx="689">
                  <c:v>44885</c:v>
                </c:pt>
                <c:pt idx="690">
                  <c:v>44886</c:v>
                </c:pt>
                <c:pt idx="691">
                  <c:v>44887</c:v>
                </c:pt>
                <c:pt idx="692">
                  <c:v>44888</c:v>
                </c:pt>
                <c:pt idx="693">
                  <c:v>44889</c:v>
                </c:pt>
                <c:pt idx="694">
                  <c:v>44890</c:v>
                </c:pt>
                <c:pt idx="695">
                  <c:v>44891</c:v>
                </c:pt>
                <c:pt idx="696">
                  <c:v>44892</c:v>
                </c:pt>
                <c:pt idx="697">
                  <c:v>44893</c:v>
                </c:pt>
                <c:pt idx="698">
                  <c:v>44894</c:v>
                </c:pt>
                <c:pt idx="699">
                  <c:v>44895</c:v>
                </c:pt>
                <c:pt idx="700">
                  <c:v>44896</c:v>
                </c:pt>
                <c:pt idx="701">
                  <c:v>44897</c:v>
                </c:pt>
                <c:pt idx="702">
                  <c:v>44898</c:v>
                </c:pt>
                <c:pt idx="703">
                  <c:v>44899</c:v>
                </c:pt>
                <c:pt idx="704">
                  <c:v>44900</c:v>
                </c:pt>
                <c:pt idx="705">
                  <c:v>44901</c:v>
                </c:pt>
                <c:pt idx="706">
                  <c:v>44902</c:v>
                </c:pt>
                <c:pt idx="707">
                  <c:v>44903</c:v>
                </c:pt>
                <c:pt idx="708">
                  <c:v>44904</c:v>
                </c:pt>
                <c:pt idx="709">
                  <c:v>44905</c:v>
                </c:pt>
                <c:pt idx="710">
                  <c:v>44906</c:v>
                </c:pt>
                <c:pt idx="711">
                  <c:v>44907</c:v>
                </c:pt>
                <c:pt idx="712">
                  <c:v>44908</c:v>
                </c:pt>
                <c:pt idx="713">
                  <c:v>44909</c:v>
                </c:pt>
                <c:pt idx="714">
                  <c:v>44910</c:v>
                </c:pt>
                <c:pt idx="715">
                  <c:v>44911</c:v>
                </c:pt>
                <c:pt idx="716">
                  <c:v>44912</c:v>
                </c:pt>
                <c:pt idx="717">
                  <c:v>44913</c:v>
                </c:pt>
                <c:pt idx="718">
                  <c:v>44914</c:v>
                </c:pt>
                <c:pt idx="719">
                  <c:v>44915</c:v>
                </c:pt>
                <c:pt idx="720">
                  <c:v>44916</c:v>
                </c:pt>
                <c:pt idx="721">
                  <c:v>44917</c:v>
                </c:pt>
                <c:pt idx="722">
                  <c:v>44918</c:v>
                </c:pt>
                <c:pt idx="723">
                  <c:v>44919</c:v>
                </c:pt>
                <c:pt idx="724">
                  <c:v>44920</c:v>
                </c:pt>
                <c:pt idx="725">
                  <c:v>44921</c:v>
                </c:pt>
                <c:pt idx="726">
                  <c:v>44922</c:v>
                </c:pt>
                <c:pt idx="727">
                  <c:v>44923</c:v>
                </c:pt>
                <c:pt idx="728">
                  <c:v>44924</c:v>
                </c:pt>
                <c:pt idx="729">
                  <c:v>44925</c:v>
                </c:pt>
                <c:pt idx="730">
                  <c:v>44926</c:v>
                </c:pt>
                <c:pt idx="731">
                  <c:v>44927</c:v>
                </c:pt>
                <c:pt idx="732">
                  <c:v>44928</c:v>
                </c:pt>
                <c:pt idx="733">
                  <c:v>44929</c:v>
                </c:pt>
                <c:pt idx="734">
                  <c:v>44930</c:v>
                </c:pt>
                <c:pt idx="735">
                  <c:v>44931</c:v>
                </c:pt>
                <c:pt idx="736">
                  <c:v>44932</c:v>
                </c:pt>
                <c:pt idx="737">
                  <c:v>44933</c:v>
                </c:pt>
                <c:pt idx="738">
                  <c:v>44934</c:v>
                </c:pt>
                <c:pt idx="739">
                  <c:v>44935</c:v>
                </c:pt>
                <c:pt idx="740">
                  <c:v>44936</c:v>
                </c:pt>
                <c:pt idx="741">
                  <c:v>44937</c:v>
                </c:pt>
                <c:pt idx="742">
                  <c:v>44938</c:v>
                </c:pt>
                <c:pt idx="743">
                  <c:v>44939</c:v>
                </c:pt>
                <c:pt idx="744">
                  <c:v>44940</c:v>
                </c:pt>
                <c:pt idx="745">
                  <c:v>44941</c:v>
                </c:pt>
                <c:pt idx="746">
                  <c:v>44942</c:v>
                </c:pt>
                <c:pt idx="747">
                  <c:v>44943</c:v>
                </c:pt>
                <c:pt idx="748">
                  <c:v>44944</c:v>
                </c:pt>
                <c:pt idx="749">
                  <c:v>44945</c:v>
                </c:pt>
                <c:pt idx="750">
                  <c:v>44946</c:v>
                </c:pt>
                <c:pt idx="751">
                  <c:v>44947</c:v>
                </c:pt>
                <c:pt idx="752">
                  <c:v>44948</c:v>
                </c:pt>
                <c:pt idx="753">
                  <c:v>44949</c:v>
                </c:pt>
                <c:pt idx="754">
                  <c:v>44950</c:v>
                </c:pt>
                <c:pt idx="755">
                  <c:v>44951</c:v>
                </c:pt>
                <c:pt idx="756">
                  <c:v>44952</c:v>
                </c:pt>
                <c:pt idx="757">
                  <c:v>44953</c:v>
                </c:pt>
                <c:pt idx="758">
                  <c:v>44954</c:v>
                </c:pt>
                <c:pt idx="759">
                  <c:v>44955</c:v>
                </c:pt>
                <c:pt idx="760">
                  <c:v>44956</c:v>
                </c:pt>
                <c:pt idx="761">
                  <c:v>44957</c:v>
                </c:pt>
                <c:pt idx="762">
                  <c:v>44958</c:v>
                </c:pt>
                <c:pt idx="763">
                  <c:v>44959</c:v>
                </c:pt>
                <c:pt idx="764">
                  <c:v>44960</c:v>
                </c:pt>
                <c:pt idx="765">
                  <c:v>44961</c:v>
                </c:pt>
                <c:pt idx="766">
                  <c:v>44962</c:v>
                </c:pt>
                <c:pt idx="767">
                  <c:v>44963</c:v>
                </c:pt>
                <c:pt idx="768">
                  <c:v>44964</c:v>
                </c:pt>
                <c:pt idx="769">
                  <c:v>44965</c:v>
                </c:pt>
                <c:pt idx="770">
                  <c:v>44966</c:v>
                </c:pt>
                <c:pt idx="771">
                  <c:v>44967</c:v>
                </c:pt>
                <c:pt idx="772">
                  <c:v>44968</c:v>
                </c:pt>
                <c:pt idx="773">
                  <c:v>44969</c:v>
                </c:pt>
                <c:pt idx="774">
                  <c:v>44970</c:v>
                </c:pt>
                <c:pt idx="775">
                  <c:v>44971</c:v>
                </c:pt>
                <c:pt idx="776">
                  <c:v>44972</c:v>
                </c:pt>
                <c:pt idx="777">
                  <c:v>44973</c:v>
                </c:pt>
                <c:pt idx="778">
                  <c:v>44974</c:v>
                </c:pt>
                <c:pt idx="779">
                  <c:v>44975</c:v>
                </c:pt>
                <c:pt idx="780">
                  <c:v>44976</c:v>
                </c:pt>
                <c:pt idx="781">
                  <c:v>44977</c:v>
                </c:pt>
                <c:pt idx="782">
                  <c:v>44978</c:v>
                </c:pt>
                <c:pt idx="783">
                  <c:v>44979</c:v>
                </c:pt>
                <c:pt idx="784">
                  <c:v>44980</c:v>
                </c:pt>
                <c:pt idx="785">
                  <c:v>44981</c:v>
                </c:pt>
                <c:pt idx="786">
                  <c:v>44982</c:v>
                </c:pt>
                <c:pt idx="787">
                  <c:v>44983</c:v>
                </c:pt>
                <c:pt idx="788">
                  <c:v>44984</c:v>
                </c:pt>
                <c:pt idx="789">
                  <c:v>44985</c:v>
                </c:pt>
                <c:pt idx="790">
                  <c:v>44986</c:v>
                </c:pt>
                <c:pt idx="791">
                  <c:v>44987</c:v>
                </c:pt>
                <c:pt idx="792">
                  <c:v>44988</c:v>
                </c:pt>
                <c:pt idx="793">
                  <c:v>44989</c:v>
                </c:pt>
                <c:pt idx="794">
                  <c:v>44990</c:v>
                </c:pt>
                <c:pt idx="795">
                  <c:v>44991</c:v>
                </c:pt>
                <c:pt idx="796">
                  <c:v>44992</c:v>
                </c:pt>
                <c:pt idx="797">
                  <c:v>44993</c:v>
                </c:pt>
                <c:pt idx="798">
                  <c:v>44994</c:v>
                </c:pt>
                <c:pt idx="799">
                  <c:v>44995</c:v>
                </c:pt>
                <c:pt idx="800">
                  <c:v>44996</c:v>
                </c:pt>
                <c:pt idx="801">
                  <c:v>44997</c:v>
                </c:pt>
                <c:pt idx="802">
                  <c:v>44998</c:v>
                </c:pt>
                <c:pt idx="803">
                  <c:v>44999</c:v>
                </c:pt>
                <c:pt idx="804">
                  <c:v>45000</c:v>
                </c:pt>
                <c:pt idx="805">
                  <c:v>45001</c:v>
                </c:pt>
                <c:pt idx="806">
                  <c:v>45002</c:v>
                </c:pt>
                <c:pt idx="807">
                  <c:v>45003</c:v>
                </c:pt>
                <c:pt idx="808">
                  <c:v>45004</c:v>
                </c:pt>
                <c:pt idx="809">
                  <c:v>45005</c:v>
                </c:pt>
                <c:pt idx="810">
                  <c:v>45006</c:v>
                </c:pt>
                <c:pt idx="811">
                  <c:v>45007</c:v>
                </c:pt>
                <c:pt idx="812">
                  <c:v>45008</c:v>
                </c:pt>
                <c:pt idx="813">
                  <c:v>45009</c:v>
                </c:pt>
                <c:pt idx="814">
                  <c:v>45010</c:v>
                </c:pt>
                <c:pt idx="815">
                  <c:v>45011</c:v>
                </c:pt>
                <c:pt idx="816">
                  <c:v>45012</c:v>
                </c:pt>
                <c:pt idx="817">
                  <c:v>45013</c:v>
                </c:pt>
                <c:pt idx="818">
                  <c:v>45014</c:v>
                </c:pt>
                <c:pt idx="819">
                  <c:v>45015</c:v>
                </c:pt>
                <c:pt idx="820">
                  <c:v>45016</c:v>
                </c:pt>
                <c:pt idx="821">
                  <c:v>45017</c:v>
                </c:pt>
                <c:pt idx="822">
                  <c:v>45018</c:v>
                </c:pt>
                <c:pt idx="823">
                  <c:v>45019</c:v>
                </c:pt>
                <c:pt idx="824">
                  <c:v>45020</c:v>
                </c:pt>
                <c:pt idx="825">
                  <c:v>45021</c:v>
                </c:pt>
                <c:pt idx="826">
                  <c:v>45022</c:v>
                </c:pt>
                <c:pt idx="827">
                  <c:v>45023</c:v>
                </c:pt>
                <c:pt idx="828">
                  <c:v>45024</c:v>
                </c:pt>
                <c:pt idx="829">
                  <c:v>45025</c:v>
                </c:pt>
                <c:pt idx="830">
                  <c:v>45026</c:v>
                </c:pt>
                <c:pt idx="831">
                  <c:v>45027</c:v>
                </c:pt>
                <c:pt idx="832">
                  <c:v>45028</c:v>
                </c:pt>
                <c:pt idx="833">
                  <c:v>45029</c:v>
                </c:pt>
                <c:pt idx="834">
                  <c:v>45030</c:v>
                </c:pt>
                <c:pt idx="835">
                  <c:v>45031</c:v>
                </c:pt>
                <c:pt idx="836">
                  <c:v>45032</c:v>
                </c:pt>
                <c:pt idx="837">
                  <c:v>45033</c:v>
                </c:pt>
                <c:pt idx="838">
                  <c:v>45034</c:v>
                </c:pt>
                <c:pt idx="839">
                  <c:v>45035</c:v>
                </c:pt>
                <c:pt idx="840">
                  <c:v>45036</c:v>
                </c:pt>
                <c:pt idx="841">
                  <c:v>45037</c:v>
                </c:pt>
                <c:pt idx="842">
                  <c:v>45038</c:v>
                </c:pt>
                <c:pt idx="843">
                  <c:v>45039</c:v>
                </c:pt>
                <c:pt idx="844">
                  <c:v>45040</c:v>
                </c:pt>
                <c:pt idx="845">
                  <c:v>45041</c:v>
                </c:pt>
                <c:pt idx="846">
                  <c:v>45042</c:v>
                </c:pt>
                <c:pt idx="847">
                  <c:v>45043</c:v>
                </c:pt>
                <c:pt idx="848">
                  <c:v>45044</c:v>
                </c:pt>
                <c:pt idx="849">
                  <c:v>45045</c:v>
                </c:pt>
                <c:pt idx="850">
                  <c:v>45046</c:v>
                </c:pt>
                <c:pt idx="851">
                  <c:v>45047</c:v>
                </c:pt>
                <c:pt idx="852">
                  <c:v>45048</c:v>
                </c:pt>
                <c:pt idx="853">
                  <c:v>45049</c:v>
                </c:pt>
                <c:pt idx="854">
                  <c:v>45050</c:v>
                </c:pt>
                <c:pt idx="855">
                  <c:v>45051</c:v>
                </c:pt>
                <c:pt idx="856">
                  <c:v>45052</c:v>
                </c:pt>
                <c:pt idx="857">
                  <c:v>45053</c:v>
                </c:pt>
                <c:pt idx="858">
                  <c:v>45054</c:v>
                </c:pt>
                <c:pt idx="859">
                  <c:v>45055</c:v>
                </c:pt>
                <c:pt idx="860">
                  <c:v>45056</c:v>
                </c:pt>
                <c:pt idx="861">
                  <c:v>45057</c:v>
                </c:pt>
                <c:pt idx="862">
                  <c:v>45058</c:v>
                </c:pt>
                <c:pt idx="863">
                  <c:v>45059</c:v>
                </c:pt>
                <c:pt idx="864">
                  <c:v>45060</c:v>
                </c:pt>
                <c:pt idx="865">
                  <c:v>45061</c:v>
                </c:pt>
                <c:pt idx="866">
                  <c:v>45062</c:v>
                </c:pt>
                <c:pt idx="867">
                  <c:v>45063</c:v>
                </c:pt>
                <c:pt idx="868">
                  <c:v>45064</c:v>
                </c:pt>
                <c:pt idx="869">
                  <c:v>45065</c:v>
                </c:pt>
                <c:pt idx="870">
                  <c:v>45066</c:v>
                </c:pt>
                <c:pt idx="871">
                  <c:v>45067</c:v>
                </c:pt>
                <c:pt idx="872">
                  <c:v>45068</c:v>
                </c:pt>
                <c:pt idx="873">
                  <c:v>45069</c:v>
                </c:pt>
                <c:pt idx="874">
                  <c:v>45070</c:v>
                </c:pt>
                <c:pt idx="875">
                  <c:v>45071</c:v>
                </c:pt>
                <c:pt idx="876">
                  <c:v>45072</c:v>
                </c:pt>
                <c:pt idx="877">
                  <c:v>45073</c:v>
                </c:pt>
                <c:pt idx="878">
                  <c:v>45074</c:v>
                </c:pt>
                <c:pt idx="879">
                  <c:v>45075</c:v>
                </c:pt>
                <c:pt idx="880">
                  <c:v>45076</c:v>
                </c:pt>
                <c:pt idx="881">
                  <c:v>45077</c:v>
                </c:pt>
                <c:pt idx="882">
                  <c:v>45078</c:v>
                </c:pt>
                <c:pt idx="883">
                  <c:v>45079</c:v>
                </c:pt>
                <c:pt idx="884">
                  <c:v>45080</c:v>
                </c:pt>
                <c:pt idx="885">
                  <c:v>45081</c:v>
                </c:pt>
                <c:pt idx="886">
                  <c:v>45082</c:v>
                </c:pt>
                <c:pt idx="887">
                  <c:v>45083</c:v>
                </c:pt>
                <c:pt idx="888">
                  <c:v>45084</c:v>
                </c:pt>
                <c:pt idx="889">
                  <c:v>45085</c:v>
                </c:pt>
                <c:pt idx="890">
                  <c:v>45086</c:v>
                </c:pt>
                <c:pt idx="891">
                  <c:v>45087</c:v>
                </c:pt>
                <c:pt idx="892">
                  <c:v>45088</c:v>
                </c:pt>
                <c:pt idx="893">
                  <c:v>45089</c:v>
                </c:pt>
                <c:pt idx="894">
                  <c:v>45090</c:v>
                </c:pt>
                <c:pt idx="895">
                  <c:v>45091</c:v>
                </c:pt>
                <c:pt idx="896">
                  <c:v>45092</c:v>
                </c:pt>
                <c:pt idx="897">
                  <c:v>45093</c:v>
                </c:pt>
                <c:pt idx="898">
                  <c:v>45094</c:v>
                </c:pt>
                <c:pt idx="899">
                  <c:v>45095</c:v>
                </c:pt>
                <c:pt idx="900">
                  <c:v>45096</c:v>
                </c:pt>
                <c:pt idx="901">
                  <c:v>45097</c:v>
                </c:pt>
                <c:pt idx="902">
                  <c:v>45098</c:v>
                </c:pt>
                <c:pt idx="903">
                  <c:v>45099</c:v>
                </c:pt>
                <c:pt idx="904">
                  <c:v>45100</c:v>
                </c:pt>
                <c:pt idx="905">
                  <c:v>45101</c:v>
                </c:pt>
                <c:pt idx="906">
                  <c:v>45102</c:v>
                </c:pt>
                <c:pt idx="907">
                  <c:v>45103</c:v>
                </c:pt>
                <c:pt idx="908">
                  <c:v>45104</c:v>
                </c:pt>
                <c:pt idx="909">
                  <c:v>45105</c:v>
                </c:pt>
                <c:pt idx="910">
                  <c:v>45106</c:v>
                </c:pt>
                <c:pt idx="911">
                  <c:v>45107</c:v>
                </c:pt>
                <c:pt idx="912">
                  <c:v>45108</c:v>
                </c:pt>
                <c:pt idx="913">
                  <c:v>45109</c:v>
                </c:pt>
                <c:pt idx="914">
                  <c:v>45110</c:v>
                </c:pt>
                <c:pt idx="915">
                  <c:v>45111</c:v>
                </c:pt>
                <c:pt idx="916">
                  <c:v>45112</c:v>
                </c:pt>
                <c:pt idx="917">
                  <c:v>45113</c:v>
                </c:pt>
                <c:pt idx="918">
                  <c:v>45114</c:v>
                </c:pt>
                <c:pt idx="919">
                  <c:v>45115</c:v>
                </c:pt>
                <c:pt idx="920">
                  <c:v>45116</c:v>
                </c:pt>
                <c:pt idx="921">
                  <c:v>45117</c:v>
                </c:pt>
                <c:pt idx="922">
                  <c:v>45118</c:v>
                </c:pt>
                <c:pt idx="923">
                  <c:v>45119</c:v>
                </c:pt>
                <c:pt idx="924">
                  <c:v>45120</c:v>
                </c:pt>
                <c:pt idx="925">
                  <c:v>45121</c:v>
                </c:pt>
                <c:pt idx="926">
                  <c:v>45122</c:v>
                </c:pt>
                <c:pt idx="927">
                  <c:v>45123</c:v>
                </c:pt>
                <c:pt idx="928">
                  <c:v>45124</c:v>
                </c:pt>
                <c:pt idx="929">
                  <c:v>45125</c:v>
                </c:pt>
                <c:pt idx="930">
                  <c:v>45126</c:v>
                </c:pt>
                <c:pt idx="931">
                  <c:v>45127</c:v>
                </c:pt>
                <c:pt idx="932">
                  <c:v>45128</c:v>
                </c:pt>
                <c:pt idx="933">
                  <c:v>45129</c:v>
                </c:pt>
                <c:pt idx="934">
                  <c:v>45130</c:v>
                </c:pt>
                <c:pt idx="935">
                  <c:v>45131</c:v>
                </c:pt>
                <c:pt idx="936">
                  <c:v>45132</c:v>
                </c:pt>
                <c:pt idx="937">
                  <c:v>45133</c:v>
                </c:pt>
                <c:pt idx="938">
                  <c:v>45134</c:v>
                </c:pt>
                <c:pt idx="939">
                  <c:v>45135</c:v>
                </c:pt>
                <c:pt idx="940">
                  <c:v>45136</c:v>
                </c:pt>
                <c:pt idx="941">
                  <c:v>45137</c:v>
                </c:pt>
                <c:pt idx="942">
                  <c:v>45138</c:v>
                </c:pt>
                <c:pt idx="943">
                  <c:v>45139</c:v>
                </c:pt>
                <c:pt idx="944">
                  <c:v>45140</c:v>
                </c:pt>
                <c:pt idx="945">
                  <c:v>45141</c:v>
                </c:pt>
                <c:pt idx="946">
                  <c:v>45142</c:v>
                </c:pt>
                <c:pt idx="947">
                  <c:v>45143</c:v>
                </c:pt>
                <c:pt idx="948">
                  <c:v>45144</c:v>
                </c:pt>
                <c:pt idx="949">
                  <c:v>45145</c:v>
                </c:pt>
                <c:pt idx="950">
                  <c:v>45146</c:v>
                </c:pt>
                <c:pt idx="951">
                  <c:v>45147</c:v>
                </c:pt>
                <c:pt idx="952">
                  <c:v>45148</c:v>
                </c:pt>
                <c:pt idx="953">
                  <c:v>45149</c:v>
                </c:pt>
                <c:pt idx="954">
                  <c:v>45150</c:v>
                </c:pt>
                <c:pt idx="955">
                  <c:v>45151</c:v>
                </c:pt>
                <c:pt idx="956">
                  <c:v>45152</c:v>
                </c:pt>
                <c:pt idx="957">
                  <c:v>45153</c:v>
                </c:pt>
                <c:pt idx="958">
                  <c:v>45154</c:v>
                </c:pt>
                <c:pt idx="959">
                  <c:v>45155</c:v>
                </c:pt>
                <c:pt idx="960">
                  <c:v>45156</c:v>
                </c:pt>
                <c:pt idx="961">
                  <c:v>45157</c:v>
                </c:pt>
                <c:pt idx="962">
                  <c:v>45158</c:v>
                </c:pt>
                <c:pt idx="963">
                  <c:v>45159</c:v>
                </c:pt>
                <c:pt idx="964">
                  <c:v>45160</c:v>
                </c:pt>
                <c:pt idx="965">
                  <c:v>45161</c:v>
                </c:pt>
                <c:pt idx="966">
                  <c:v>45162</c:v>
                </c:pt>
                <c:pt idx="967">
                  <c:v>45163</c:v>
                </c:pt>
                <c:pt idx="968">
                  <c:v>45164</c:v>
                </c:pt>
                <c:pt idx="969">
                  <c:v>45165</c:v>
                </c:pt>
                <c:pt idx="970">
                  <c:v>45166</c:v>
                </c:pt>
                <c:pt idx="971">
                  <c:v>45167</c:v>
                </c:pt>
                <c:pt idx="972">
                  <c:v>45168</c:v>
                </c:pt>
                <c:pt idx="973">
                  <c:v>45169</c:v>
                </c:pt>
                <c:pt idx="974">
                  <c:v>45170</c:v>
                </c:pt>
                <c:pt idx="975">
                  <c:v>45171</c:v>
                </c:pt>
                <c:pt idx="976">
                  <c:v>45172</c:v>
                </c:pt>
                <c:pt idx="977">
                  <c:v>45173</c:v>
                </c:pt>
                <c:pt idx="978">
                  <c:v>45174</c:v>
                </c:pt>
                <c:pt idx="979">
                  <c:v>45175</c:v>
                </c:pt>
                <c:pt idx="980">
                  <c:v>45176</c:v>
                </c:pt>
                <c:pt idx="981">
                  <c:v>45177</c:v>
                </c:pt>
                <c:pt idx="982">
                  <c:v>45178</c:v>
                </c:pt>
                <c:pt idx="983">
                  <c:v>45179</c:v>
                </c:pt>
                <c:pt idx="984">
                  <c:v>45180</c:v>
                </c:pt>
                <c:pt idx="985">
                  <c:v>45181</c:v>
                </c:pt>
                <c:pt idx="986">
                  <c:v>45182</c:v>
                </c:pt>
                <c:pt idx="987">
                  <c:v>45183</c:v>
                </c:pt>
                <c:pt idx="988">
                  <c:v>45184</c:v>
                </c:pt>
                <c:pt idx="989">
                  <c:v>45185</c:v>
                </c:pt>
                <c:pt idx="990">
                  <c:v>45186</c:v>
                </c:pt>
                <c:pt idx="991">
                  <c:v>45187</c:v>
                </c:pt>
                <c:pt idx="992">
                  <c:v>45188</c:v>
                </c:pt>
                <c:pt idx="993">
                  <c:v>45189</c:v>
                </c:pt>
                <c:pt idx="994">
                  <c:v>45190</c:v>
                </c:pt>
                <c:pt idx="995">
                  <c:v>45191</c:v>
                </c:pt>
                <c:pt idx="996">
                  <c:v>45192</c:v>
                </c:pt>
                <c:pt idx="997">
                  <c:v>45193</c:v>
                </c:pt>
                <c:pt idx="998">
                  <c:v>45194</c:v>
                </c:pt>
                <c:pt idx="999">
                  <c:v>45195</c:v>
                </c:pt>
                <c:pt idx="1000">
                  <c:v>45196</c:v>
                </c:pt>
                <c:pt idx="1001">
                  <c:v>45197</c:v>
                </c:pt>
                <c:pt idx="1002">
                  <c:v>45198</c:v>
                </c:pt>
                <c:pt idx="1003">
                  <c:v>45199</c:v>
                </c:pt>
                <c:pt idx="1004">
                  <c:v>45200</c:v>
                </c:pt>
                <c:pt idx="1005">
                  <c:v>45201</c:v>
                </c:pt>
                <c:pt idx="1006">
                  <c:v>45202</c:v>
                </c:pt>
                <c:pt idx="1007">
                  <c:v>45203</c:v>
                </c:pt>
                <c:pt idx="1008">
                  <c:v>45204</c:v>
                </c:pt>
                <c:pt idx="1009">
                  <c:v>45205</c:v>
                </c:pt>
                <c:pt idx="1010">
                  <c:v>45206</c:v>
                </c:pt>
                <c:pt idx="1011">
                  <c:v>45207</c:v>
                </c:pt>
                <c:pt idx="1012">
                  <c:v>45208</c:v>
                </c:pt>
                <c:pt idx="1013">
                  <c:v>45209</c:v>
                </c:pt>
                <c:pt idx="1014">
                  <c:v>45210</c:v>
                </c:pt>
                <c:pt idx="1015">
                  <c:v>45211</c:v>
                </c:pt>
                <c:pt idx="1016">
                  <c:v>45212</c:v>
                </c:pt>
                <c:pt idx="1017">
                  <c:v>45213</c:v>
                </c:pt>
                <c:pt idx="1018">
                  <c:v>45214</c:v>
                </c:pt>
                <c:pt idx="1019">
                  <c:v>45215</c:v>
                </c:pt>
                <c:pt idx="1020">
                  <c:v>45216</c:v>
                </c:pt>
                <c:pt idx="1021">
                  <c:v>45217</c:v>
                </c:pt>
                <c:pt idx="1022">
                  <c:v>45218</c:v>
                </c:pt>
                <c:pt idx="1023">
                  <c:v>45219</c:v>
                </c:pt>
                <c:pt idx="1024">
                  <c:v>45220</c:v>
                </c:pt>
                <c:pt idx="1025">
                  <c:v>45221</c:v>
                </c:pt>
                <c:pt idx="1026">
                  <c:v>45222</c:v>
                </c:pt>
                <c:pt idx="1027">
                  <c:v>45223</c:v>
                </c:pt>
                <c:pt idx="1028">
                  <c:v>45224</c:v>
                </c:pt>
                <c:pt idx="1029">
                  <c:v>45225</c:v>
                </c:pt>
                <c:pt idx="1030">
                  <c:v>45226</c:v>
                </c:pt>
                <c:pt idx="1031">
                  <c:v>45227</c:v>
                </c:pt>
                <c:pt idx="1032">
                  <c:v>45228</c:v>
                </c:pt>
                <c:pt idx="1033">
                  <c:v>45229</c:v>
                </c:pt>
                <c:pt idx="1034">
                  <c:v>45230</c:v>
                </c:pt>
                <c:pt idx="1035">
                  <c:v>45231</c:v>
                </c:pt>
                <c:pt idx="1036">
                  <c:v>45232</c:v>
                </c:pt>
                <c:pt idx="1037">
                  <c:v>45233</c:v>
                </c:pt>
                <c:pt idx="1038">
                  <c:v>45234</c:v>
                </c:pt>
                <c:pt idx="1039">
                  <c:v>45235</c:v>
                </c:pt>
                <c:pt idx="1040">
                  <c:v>45236</c:v>
                </c:pt>
                <c:pt idx="1041">
                  <c:v>45237</c:v>
                </c:pt>
                <c:pt idx="1042">
                  <c:v>45238</c:v>
                </c:pt>
                <c:pt idx="1043">
                  <c:v>45239</c:v>
                </c:pt>
                <c:pt idx="1044">
                  <c:v>45240</c:v>
                </c:pt>
                <c:pt idx="1045">
                  <c:v>45241</c:v>
                </c:pt>
                <c:pt idx="1046">
                  <c:v>45242</c:v>
                </c:pt>
                <c:pt idx="1047">
                  <c:v>45243</c:v>
                </c:pt>
                <c:pt idx="1048">
                  <c:v>45244</c:v>
                </c:pt>
                <c:pt idx="1049">
                  <c:v>45245</c:v>
                </c:pt>
                <c:pt idx="1050">
                  <c:v>45246</c:v>
                </c:pt>
                <c:pt idx="1051">
                  <c:v>45247</c:v>
                </c:pt>
                <c:pt idx="1052">
                  <c:v>45248</c:v>
                </c:pt>
                <c:pt idx="1053">
                  <c:v>45249</c:v>
                </c:pt>
                <c:pt idx="1054">
                  <c:v>45250</c:v>
                </c:pt>
                <c:pt idx="1055">
                  <c:v>45251</c:v>
                </c:pt>
                <c:pt idx="1056">
                  <c:v>45252</c:v>
                </c:pt>
                <c:pt idx="1057">
                  <c:v>45253</c:v>
                </c:pt>
                <c:pt idx="1058">
                  <c:v>45254</c:v>
                </c:pt>
                <c:pt idx="1059">
                  <c:v>45255</c:v>
                </c:pt>
                <c:pt idx="1060">
                  <c:v>45256</c:v>
                </c:pt>
                <c:pt idx="1061">
                  <c:v>45257</c:v>
                </c:pt>
                <c:pt idx="1062">
                  <c:v>45258</c:v>
                </c:pt>
                <c:pt idx="1063">
                  <c:v>45259</c:v>
                </c:pt>
                <c:pt idx="1064">
                  <c:v>45260</c:v>
                </c:pt>
                <c:pt idx="1065">
                  <c:v>45261</c:v>
                </c:pt>
                <c:pt idx="1066">
                  <c:v>45262</c:v>
                </c:pt>
                <c:pt idx="1067">
                  <c:v>45263</c:v>
                </c:pt>
                <c:pt idx="1068">
                  <c:v>45264</c:v>
                </c:pt>
                <c:pt idx="1069">
                  <c:v>45265</c:v>
                </c:pt>
                <c:pt idx="1070">
                  <c:v>45266</c:v>
                </c:pt>
                <c:pt idx="1071">
                  <c:v>45267</c:v>
                </c:pt>
                <c:pt idx="1072">
                  <c:v>45268</c:v>
                </c:pt>
                <c:pt idx="1073">
                  <c:v>45269</c:v>
                </c:pt>
                <c:pt idx="1074">
                  <c:v>45270</c:v>
                </c:pt>
                <c:pt idx="1075">
                  <c:v>45271</c:v>
                </c:pt>
                <c:pt idx="1076">
                  <c:v>45272</c:v>
                </c:pt>
                <c:pt idx="1077">
                  <c:v>45273</c:v>
                </c:pt>
                <c:pt idx="1078">
                  <c:v>45274</c:v>
                </c:pt>
                <c:pt idx="1079">
                  <c:v>45275</c:v>
                </c:pt>
                <c:pt idx="1080">
                  <c:v>45276</c:v>
                </c:pt>
                <c:pt idx="1081">
                  <c:v>45277</c:v>
                </c:pt>
                <c:pt idx="1082">
                  <c:v>45278</c:v>
                </c:pt>
                <c:pt idx="1083">
                  <c:v>45279</c:v>
                </c:pt>
                <c:pt idx="1084">
                  <c:v>45280</c:v>
                </c:pt>
                <c:pt idx="1085">
                  <c:v>45281</c:v>
                </c:pt>
                <c:pt idx="1086">
                  <c:v>45282</c:v>
                </c:pt>
                <c:pt idx="1087">
                  <c:v>45283</c:v>
                </c:pt>
                <c:pt idx="1088">
                  <c:v>45284</c:v>
                </c:pt>
                <c:pt idx="1089">
                  <c:v>45285</c:v>
                </c:pt>
                <c:pt idx="1090">
                  <c:v>45286</c:v>
                </c:pt>
                <c:pt idx="1091">
                  <c:v>45287</c:v>
                </c:pt>
                <c:pt idx="1092">
                  <c:v>45288</c:v>
                </c:pt>
                <c:pt idx="1093">
                  <c:v>45289</c:v>
                </c:pt>
                <c:pt idx="1094">
                  <c:v>45290</c:v>
                </c:pt>
                <c:pt idx="1095">
                  <c:v>45291</c:v>
                </c:pt>
                <c:pt idx="1096">
                  <c:v>45292</c:v>
                </c:pt>
                <c:pt idx="1097">
                  <c:v>45293</c:v>
                </c:pt>
                <c:pt idx="1098">
                  <c:v>45294</c:v>
                </c:pt>
                <c:pt idx="1099">
                  <c:v>45295</c:v>
                </c:pt>
                <c:pt idx="1100">
                  <c:v>45296</c:v>
                </c:pt>
                <c:pt idx="1101">
                  <c:v>45297</c:v>
                </c:pt>
                <c:pt idx="1102">
                  <c:v>45298</c:v>
                </c:pt>
                <c:pt idx="1103">
                  <c:v>45299</c:v>
                </c:pt>
                <c:pt idx="1104">
                  <c:v>45300</c:v>
                </c:pt>
                <c:pt idx="1105">
                  <c:v>45301</c:v>
                </c:pt>
                <c:pt idx="1106">
                  <c:v>45302</c:v>
                </c:pt>
                <c:pt idx="1107">
                  <c:v>45303</c:v>
                </c:pt>
                <c:pt idx="1108">
                  <c:v>45304</c:v>
                </c:pt>
                <c:pt idx="1109">
                  <c:v>45305</c:v>
                </c:pt>
                <c:pt idx="1110">
                  <c:v>45306</c:v>
                </c:pt>
                <c:pt idx="1111">
                  <c:v>45307</c:v>
                </c:pt>
                <c:pt idx="1112">
                  <c:v>45308</c:v>
                </c:pt>
                <c:pt idx="1113">
                  <c:v>45309</c:v>
                </c:pt>
                <c:pt idx="1114">
                  <c:v>45310</c:v>
                </c:pt>
                <c:pt idx="1115">
                  <c:v>45311</c:v>
                </c:pt>
                <c:pt idx="1116">
                  <c:v>45312</c:v>
                </c:pt>
                <c:pt idx="1117">
                  <c:v>45313</c:v>
                </c:pt>
                <c:pt idx="1118">
                  <c:v>45314</c:v>
                </c:pt>
                <c:pt idx="1119">
                  <c:v>45315</c:v>
                </c:pt>
                <c:pt idx="1120">
                  <c:v>45316</c:v>
                </c:pt>
                <c:pt idx="1121">
                  <c:v>45317</c:v>
                </c:pt>
                <c:pt idx="1122">
                  <c:v>45318</c:v>
                </c:pt>
                <c:pt idx="1123">
                  <c:v>45319</c:v>
                </c:pt>
                <c:pt idx="1124">
                  <c:v>45320</c:v>
                </c:pt>
                <c:pt idx="1125">
                  <c:v>45321</c:v>
                </c:pt>
                <c:pt idx="1126">
                  <c:v>45322</c:v>
                </c:pt>
                <c:pt idx="1127">
                  <c:v>45323</c:v>
                </c:pt>
                <c:pt idx="1128">
                  <c:v>45324</c:v>
                </c:pt>
                <c:pt idx="1129">
                  <c:v>45325</c:v>
                </c:pt>
                <c:pt idx="1130">
                  <c:v>45326</c:v>
                </c:pt>
                <c:pt idx="1131">
                  <c:v>45327</c:v>
                </c:pt>
                <c:pt idx="1132">
                  <c:v>45328</c:v>
                </c:pt>
                <c:pt idx="1133">
                  <c:v>45329</c:v>
                </c:pt>
                <c:pt idx="1134">
                  <c:v>45330</c:v>
                </c:pt>
                <c:pt idx="1135">
                  <c:v>45331</c:v>
                </c:pt>
                <c:pt idx="1136">
                  <c:v>45332</c:v>
                </c:pt>
                <c:pt idx="1137">
                  <c:v>45333</c:v>
                </c:pt>
                <c:pt idx="1138">
                  <c:v>45334</c:v>
                </c:pt>
                <c:pt idx="1139">
                  <c:v>45335</c:v>
                </c:pt>
                <c:pt idx="1140">
                  <c:v>45336</c:v>
                </c:pt>
                <c:pt idx="1141">
                  <c:v>45337</c:v>
                </c:pt>
                <c:pt idx="1142">
                  <c:v>45338</c:v>
                </c:pt>
                <c:pt idx="1143">
                  <c:v>45339</c:v>
                </c:pt>
                <c:pt idx="1144">
                  <c:v>45340</c:v>
                </c:pt>
                <c:pt idx="1145">
                  <c:v>45341</c:v>
                </c:pt>
                <c:pt idx="1146">
                  <c:v>45342</c:v>
                </c:pt>
                <c:pt idx="1147">
                  <c:v>45343</c:v>
                </c:pt>
                <c:pt idx="1148">
                  <c:v>45344</c:v>
                </c:pt>
                <c:pt idx="1149">
                  <c:v>45345</c:v>
                </c:pt>
                <c:pt idx="1150">
                  <c:v>45346</c:v>
                </c:pt>
                <c:pt idx="1151">
                  <c:v>45347</c:v>
                </c:pt>
                <c:pt idx="1152">
                  <c:v>45348</c:v>
                </c:pt>
                <c:pt idx="1153">
                  <c:v>45349</c:v>
                </c:pt>
                <c:pt idx="1154">
                  <c:v>45350</c:v>
                </c:pt>
                <c:pt idx="1155">
                  <c:v>45351</c:v>
                </c:pt>
                <c:pt idx="1156">
                  <c:v>45352</c:v>
                </c:pt>
                <c:pt idx="1157">
                  <c:v>45353</c:v>
                </c:pt>
                <c:pt idx="1158">
                  <c:v>45354</c:v>
                </c:pt>
                <c:pt idx="1159">
                  <c:v>45355</c:v>
                </c:pt>
                <c:pt idx="1160">
                  <c:v>45356</c:v>
                </c:pt>
                <c:pt idx="1161">
                  <c:v>45357</c:v>
                </c:pt>
                <c:pt idx="1162">
                  <c:v>45358</c:v>
                </c:pt>
                <c:pt idx="1163">
                  <c:v>45359</c:v>
                </c:pt>
                <c:pt idx="1164">
                  <c:v>45360</c:v>
                </c:pt>
                <c:pt idx="1165">
                  <c:v>45361</c:v>
                </c:pt>
                <c:pt idx="1166">
                  <c:v>45362</c:v>
                </c:pt>
                <c:pt idx="1167">
                  <c:v>45363</c:v>
                </c:pt>
                <c:pt idx="1168">
                  <c:v>45364</c:v>
                </c:pt>
                <c:pt idx="1169">
                  <c:v>45365</c:v>
                </c:pt>
                <c:pt idx="1170">
                  <c:v>45366</c:v>
                </c:pt>
                <c:pt idx="1171">
                  <c:v>45367</c:v>
                </c:pt>
                <c:pt idx="1172">
                  <c:v>45368</c:v>
                </c:pt>
                <c:pt idx="1173">
                  <c:v>45369</c:v>
                </c:pt>
                <c:pt idx="1174">
                  <c:v>45370</c:v>
                </c:pt>
                <c:pt idx="1175">
                  <c:v>45371</c:v>
                </c:pt>
                <c:pt idx="1176">
                  <c:v>45372</c:v>
                </c:pt>
                <c:pt idx="1177">
                  <c:v>45373</c:v>
                </c:pt>
                <c:pt idx="1178">
                  <c:v>45374</c:v>
                </c:pt>
                <c:pt idx="1179">
                  <c:v>45375</c:v>
                </c:pt>
                <c:pt idx="1180">
                  <c:v>45376</c:v>
                </c:pt>
                <c:pt idx="1181">
                  <c:v>45377</c:v>
                </c:pt>
                <c:pt idx="1182">
                  <c:v>45378</c:v>
                </c:pt>
                <c:pt idx="1183">
                  <c:v>45379</c:v>
                </c:pt>
                <c:pt idx="1184">
                  <c:v>45380</c:v>
                </c:pt>
                <c:pt idx="1185">
                  <c:v>45381</c:v>
                </c:pt>
                <c:pt idx="1186">
                  <c:v>45382</c:v>
                </c:pt>
                <c:pt idx="1187">
                  <c:v>45383</c:v>
                </c:pt>
                <c:pt idx="1188">
                  <c:v>45384</c:v>
                </c:pt>
                <c:pt idx="1189">
                  <c:v>45385</c:v>
                </c:pt>
                <c:pt idx="1190">
                  <c:v>45386</c:v>
                </c:pt>
                <c:pt idx="1191">
                  <c:v>45387</c:v>
                </c:pt>
                <c:pt idx="1192">
                  <c:v>45388</c:v>
                </c:pt>
                <c:pt idx="1193">
                  <c:v>45389</c:v>
                </c:pt>
                <c:pt idx="1194">
                  <c:v>45390</c:v>
                </c:pt>
                <c:pt idx="1195">
                  <c:v>45391</c:v>
                </c:pt>
                <c:pt idx="1196">
                  <c:v>45392</c:v>
                </c:pt>
                <c:pt idx="1197">
                  <c:v>45393</c:v>
                </c:pt>
                <c:pt idx="1198">
                  <c:v>45394</c:v>
                </c:pt>
                <c:pt idx="1199">
                  <c:v>45395</c:v>
                </c:pt>
                <c:pt idx="1200">
                  <c:v>45396</c:v>
                </c:pt>
                <c:pt idx="1201">
                  <c:v>45397</c:v>
                </c:pt>
                <c:pt idx="1202">
                  <c:v>45398</c:v>
                </c:pt>
                <c:pt idx="1203">
                  <c:v>45399</c:v>
                </c:pt>
                <c:pt idx="1204">
                  <c:v>45400</c:v>
                </c:pt>
                <c:pt idx="1205">
                  <c:v>45401</c:v>
                </c:pt>
                <c:pt idx="1206">
                  <c:v>45402</c:v>
                </c:pt>
                <c:pt idx="1207">
                  <c:v>45403</c:v>
                </c:pt>
                <c:pt idx="1208">
                  <c:v>45404</c:v>
                </c:pt>
                <c:pt idx="1209">
                  <c:v>45405</c:v>
                </c:pt>
                <c:pt idx="1210">
                  <c:v>45406</c:v>
                </c:pt>
                <c:pt idx="1211">
                  <c:v>45407</c:v>
                </c:pt>
                <c:pt idx="1212">
                  <c:v>45408</c:v>
                </c:pt>
                <c:pt idx="1213">
                  <c:v>45409</c:v>
                </c:pt>
                <c:pt idx="1214">
                  <c:v>45410</c:v>
                </c:pt>
                <c:pt idx="1215">
                  <c:v>45411</c:v>
                </c:pt>
                <c:pt idx="1216">
                  <c:v>45412</c:v>
                </c:pt>
                <c:pt idx="1217">
                  <c:v>45413</c:v>
                </c:pt>
                <c:pt idx="1218">
                  <c:v>45414</c:v>
                </c:pt>
                <c:pt idx="1219">
                  <c:v>45415</c:v>
                </c:pt>
                <c:pt idx="1220">
                  <c:v>45416</c:v>
                </c:pt>
                <c:pt idx="1221">
                  <c:v>45417</c:v>
                </c:pt>
                <c:pt idx="1222">
                  <c:v>45418</c:v>
                </c:pt>
                <c:pt idx="1223">
                  <c:v>45419</c:v>
                </c:pt>
                <c:pt idx="1224">
                  <c:v>45420</c:v>
                </c:pt>
                <c:pt idx="1225">
                  <c:v>45421</c:v>
                </c:pt>
                <c:pt idx="1226">
                  <c:v>45422</c:v>
                </c:pt>
                <c:pt idx="1227">
                  <c:v>45423</c:v>
                </c:pt>
                <c:pt idx="1228">
                  <c:v>45424</c:v>
                </c:pt>
                <c:pt idx="1229">
                  <c:v>45425</c:v>
                </c:pt>
                <c:pt idx="1230">
                  <c:v>45426</c:v>
                </c:pt>
                <c:pt idx="1231">
                  <c:v>45427</c:v>
                </c:pt>
                <c:pt idx="1232">
                  <c:v>45428</c:v>
                </c:pt>
                <c:pt idx="1233">
                  <c:v>45429</c:v>
                </c:pt>
                <c:pt idx="1234">
                  <c:v>45430</c:v>
                </c:pt>
                <c:pt idx="1235">
                  <c:v>45431</c:v>
                </c:pt>
                <c:pt idx="1236">
                  <c:v>45432</c:v>
                </c:pt>
                <c:pt idx="1237">
                  <c:v>45433</c:v>
                </c:pt>
                <c:pt idx="1238">
                  <c:v>45434</c:v>
                </c:pt>
                <c:pt idx="1239">
                  <c:v>45435</c:v>
                </c:pt>
                <c:pt idx="1240">
                  <c:v>45436</c:v>
                </c:pt>
                <c:pt idx="1241">
                  <c:v>45437</c:v>
                </c:pt>
                <c:pt idx="1242">
                  <c:v>45438</c:v>
                </c:pt>
                <c:pt idx="1243">
                  <c:v>45439</c:v>
                </c:pt>
                <c:pt idx="1244">
                  <c:v>45440</c:v>
                </c:pt>
                <c:pt idx="1245">
                  <c:v>45441</c:v>
                </c:pt>
                <c:pt idx="1246">
                  <c:v>45442</c:v>
                </c:pt>
                <c:pt idx="1247">
                  <c:v>45443</c:v>
                </c:pt>
                <c:pt idx="1248">
                  <c:v>45444</c:v>
                </c:pt>
                <c:pt idx="1249">
                  <c:v>45445</c:v>
                </c:pt>
                <c:pt idx="1250">
                  <c:v>45446</c:v>
                </c:pt>
                <c:pt idx="1251">
                  <c:v>45447</c:v>
                </c:pt>
                <c:pt idx="1252">
                  <c:v>45448</c:v>
                </c:pt>
                <c:pt idx="1253">
                  <c:v>45449</c:v>
                </c:pt>
                <c:pt idx="1254">
                  <c:v>45450</c:v>
                </c:pt>
                <c:pt idx="1255">
                  <c:v>45451</c:v>
                </c:pt>
                <c:pt idx="1256">
                  <c:v>45452</c:v>
                </c:pt>
                <c:pt idx="1257">
                  <c:v>45453</c:v>
                </c:pt>
                <c:pt idx="1258">
                  <c:v>45454</c:v>
                </c:pt>
                <c:pt idx="1259">
                  <c:v>45455</c:v>
                </c:pt>
                <c:pt idx="1260">
                  <c:v>45456</c:v>
                </c:pt>
                <c:pt idx="1261">
                  <c:v>45457</c:v>
                </c:pt>
                <c:pt idx="1262">
                  <c:v>45458</c:v>
                </c:pt>
                <c:pt idx="1263">
                  <c:v>45459</c:v>
                </c:pt>
                <c:pt idx="1264">
                  <c:v>45460</c:v>
                </c:pt>
                <c:pt idx="1265">
                  <c:v>45461</c:v>
                </c:pt>
                <c:pt idx="1266">
                  <c:v>45462</c:v>
                </c:pt>
                <c:pt idx="1267">
                  <c:v>45463</c:v>
                </c:pt>
                <c:pt idx="1268">
                  <c:v>45464</c:v>
                </c:pt>
                <c:pt idx="1269">
                  <c:v>45465</c:v>
                </c:pt>
                <c:pt idx="1270">
                  <c:v>45466</c:v>
                </c:pt>
                <c:pt idx="1271">
                  <c:v>45467</c:v>
                </c:pt>
                <c:pt idx="1272">
                  <c:v>45468</c:v>
                </c:pt>
                <c:pt idx="1273">
                  <c:v>45469</c:v>
                </c:pt>
                <c:pt idx="1274">
                  <c:v>45470</c:v>
                </c:pt>
                <c:pt idx="1275">
                  <c:v>45471</c:v>
                </c:pt>
                <c:pt idx="1276">
                  <c:v>45472</c:v>
                </c:pt>
                <c:pt idx="1277">
                  <c:v>45473</c:v>
                </c:pt>
                <c:pt idx="1278">
                  <c:v>45474</c:v>
                </c:pt>
                <c:pt idx="1279">
                  <c:v>45475</c:v>
                </c:pt>
                <c:pt idx="1280">
                  <c:v>45476</c:v>
                </c:pt>
                <c:pt idx="1281">
                  <c:v>45477</c:v>
                </c:pt>
                <c:pt idx="1282">
                  <c:v>45478</c:v>
                </c:pt>
                <c:pt idx="1283">
                  <c:v>45479</c:v>
                </c:pt>
                <c:pt idx="1284">
                  <c:v>45480</c:v>
                </c:pt>
                <c:pt idx="1285">
                  <c:v>45481</c:v>
                </c:pt>
                <c:pt idx="1286">
                  <c:v>45482</c:v>
                </c:pt>
                <c:pt idx="1287">
                  <c:v>45483</c:v>
                </c:pt>
                <c:pt idx="1288">
                  <c:v>45484</c:v>
                </c:pt>
                <c:pt idx="1289">
                  <c:v>45485</c:v>
                </c:pt>
                <c:pt idx="1290">
                  <c:v>45486</c:v>
                </c:pt>
                <c:pt idx="1291">
                  <c:v>45487</c:v>
                </c:pt>
                <c:pt idx="1292">
                  <c:v>45488</c:v>
                </c:pt>
                <c:pt idx="1293">
                  <c:v>45489</c:v>
                </c:pt>
                <c:pt idx="1294">
                  <c:v>45490</c:v>
                </c:pt>
                <c:pt idx="1295">
                  <c:v>45491</c:v>
                </c:pt>
                <c:pt idx="1296">
                  <c:v>45492</c:v>
                </c:pt>
                <c:pt idx="1297">
                  <c:v>45493</c:v>
                </c:pt>
                <c:pt idx="1298">
                  <c:v>45494</c:v>
                </c:pt>
                <c:pt idx="1299">
                  <c:v>45495</c:v>
                </c:pt>
                <c:pt idx="1300">
                  <c:v>45496</c:v>
                </c:pt>
                <c:pt idx="1301">
                  <c:v>45497</c:v>
                </c:pt>
                <c:pt idx="1302">
                  <c:v>45498</c:v>
                </c:pt>
                <c:pt idx="1303">
                  <c:v>45499</c:v>
                </c:pt>
                <c:pt idx="1304">
                  <c:v>45500</c:v>
                </c:pt>
                <c:pt idx="1305">
                  <c:v>45501</c:v>
                </c:pt>
                <c:pt idx="1306">
                  <c:v>45502</c:v>
                </c:pt>
                <c:pt idx="1307">
                  <c:v>45503</c:v>
                </c:pt>
                <c:pt idx="1308">
                  <c:v>45504</c:v>
                </c:pt>
                <c:pt idx="1309">
                  <c:v>45505</c:v>
                </c:pt>
                <c:pt idx="1310">
                  <c:v>45506</c:v>
                </c:pt>
                <c:pt idx="1311">
                  <c:v>45507</c:v>
                </c:pt>
                <c:pt idx="1312">
                  <c:v>45508</c:v>
                </c:pt>
                <c:pt idx="1313">
                  <c:v>45509</c:v>
                </c:pt>
                <c:pt idx="1314">
                  <c:v>45510</c:v>
                </c:pt>
                <c:pt idx="1315">
                  <c:v>45511</c:v>
                </c:pt>
                <c:pt idx="1316">
                  <c:v>45512</c:v>
                </c:pt>
                <c:pt idx="1317">
                  <c:v>45513</c:v>
                </c:pt>
                <c:pt idx="1318">
                  <c:v>45514</c:v>
                </c:pt>
                <c:pt idx="1319">
                  <c:v>45515</c:v>
                </c:pt>
                <c:pt idx="1320">
                  <c:v>45516</c:v>
                </c:pt>
                <c:pt idx="1321">
                  <c:v>45517</c:v>
                </c:pt>
                <c:pt idx="1322">
                  <c:v>45518</c:v>
                </c:pt>
                <c:pt idx="1323">
                  <c:v>45519</c:v>
                </c:pt>
                <c:pt idx="1324">
                  <c:v>45520</c:v>
                </c:pt>
                <c:pt idx="1325">
                  <c:v>45521</c:v>
                </c:pt>
                <c:pt idx="1326">
                  <c:v>45522</c:v>
                </c:pt>
                <c:pt idx="1327">
                  <c:v>45523</c:v>
                </c:pt>
                <c:pt idx="1328">
                  <c:v>45524</c:v>
                </c:pt>
                <c:pt idx="1329">
                  <c:v>45525</c:v>
                </c:pt>
                <c:pt idx="1330">
                  <c:v>45526</c:v>
                </c:pt>
                <c:pt idx="1331">
                  <c:v>45527</c:v>
                </c:pt>
                <c:pt idx="1332">
                  <c:v>45528</c:v>
                </c:pt>
                <c:pt idx="1333">
                  <c:v>45529</c:v>
                </c:pt>
                <c:pt idx="1334">
                  <c:v>45530</c:v>
                </c:pt>
                <c:pt idx="1335">
                  <c:v>45531</c:v>
                </c:pt>
                <c:pt idx="1336">
                  <c:v>45532</c:v>
                </c:pt>
                <c:pt idx="1337">
                  <c:v>45533</c:v>
                </c:pt>
                <c:pt idx="1338">
                  <c:v>45534</c:v>
                </c:pt>
                <c:pt idx="1339">
                  <c:v>45535</c:v>
                </c:pt>
                <c:pt idx="1340">
                  <c:v>45536</c:v>
                </c:pt>
                <c:pt idx="1341">
                  <c:v>45537</c:v>
                </c:pt>
                <c:pt idx="1342">
                  <c:v>45538</c:v>
                </c:pt>
                <c:pt idx="1343">
                  <c:v>45539</c:v>
                </c:pt>
                <c:pt idx="1344">
                  <c:v>45540</c:v>
                </c:pt>
                <c:pt idx="1345">
                  <c:v>45541</c:v>
                </c:pt>
                <c:pt idx="1346">
                  <c:v>45542</c:v>
                </c:pt>
                <c:pt idx="1347">
                  <c:v>45543</c:v>
                </c:pt>
                <c:pt idx="1348">
                  <c:v>45544</c:v>
                </c:pt>
                <c:pt idx="1349">
                  <c:v>45545</c:v>
                </c:pt>
                <c:pt idx="1350">
                  <c:v>45546</c:v>
                </c:pt>
                <c:pt idx="1351">
                  <c:v>45547</c:v>
                </c:pt>
                <c:pt idx="1352">
                  <c:v>45548</c:v>
                </c:pt>
                <c:pt idx="1353">
                  <c:v>45549</c:v>
                </c:pt>
                <c:pt idx="1354">
                  <c:v>45550</c:v>
                </c:pt>
                <c:pt idx="1355">
                  <c:v>45551</c:v>
                </c:pt>
                <c:pt idx="1356">
                  <c:v>45552</c:v>
                </c:pt>
                <c:pt idx="1357">
                  <c:v>45553</c:v>
                </c:pt>
                <c:pt idx="1358">
                  <c:v>45554</c:v>
                </c:pt>
                <c:pt idx="1359">
                  <c:v>45555</c:v>
                </c:pt>
                <c:pt idx="1360">
                  <c:v>45556</c:v>
                </c:pt>
                <c:pt idx="1361">
                  <c:v>45557</c:v>
                </c:pt>
                <c:pt idx="1362">
                  <c:v>45558</c:v>
                </c:pt>
                <c:pt idx="1363">
                  <c:v>45559</c:v>
                </c:pt>
                <c:pt idx="1364">
                  <c:v>45560</c:v>
                </c:pt>
                <c:pt idx="1365">
                  <c:v>45561</c:v>
                </c:pt>
                <c:pt idx="1366">
                  <c:v>45562</c:v>
                </c:pt>
                <c:pt idx="1367">
                  <c:v>45563</c:v>
                </c:pt>
                <c:pt idx="1368">
                  <c:v>45564</c:v>
                </c:pt>
                <c:pt idx="1369">
                  <c:v>45565</c:v>
                </c:pt>
                <c:pt idx="1370">
                  <c:v>45566</c:v>
                </c:pt>
                <c:pt idx="1371">
                  <c:v>45567</c:v>
                </c:pt>
                <c:pt idx="1372">
                  <c:v>45568</c:v>
                </c:pt>
                <c:pt idx="1373">
                  <c:v>45569</c:v>
                </c:pt>
                <c:pt idx="1374">
                  <c:v>45570</c:v>
                </c:pt>
                <c:pt idx="1375">
                  <c:v>45571</c:v>
                </c:pt>
                <c:pt idx="1376">
                  <c:v>45572</c:v>
                </c:pt>
                <c:pt idx="1377">
                  <c:v>45573</c:v>
                </c:pt>
                <c:pt idx="1378">
                  <c:v>45574</c:v>
                </c:pt>
                <c:pt idx="1379">
                  <c:v>45575</c:v>
                </c:pt>
                <c:pt idx="1380">
                  <c:v>45576</c:v>
                </c:pt>
                <c:pt idx="1381">
                  <c:v>45577</c:v>
                </c:pt>
                <c:pt idx="1382">
                  <c:v>45578</c:v>
                </c:pt>
                <c:pt idx="1383">
                  <c:v>45579</c:v>
                </c:pt>
                <c:pt idx="1384">
                  <c:v>45580</c:v>
                </c:pt>
                <c:pt idx="1385">
                  <c:v>45581</c:v>
                </c:pt>
                <c:pt idx="1386">
                  <c:v>45582</c:v>
                </c:pt>
                <c:pt idx="1387">
                  <c:v>45583</c:v>
                </c:pt>
                <c:pt idx="1388">
                  <c:v>45584</c:v>
                </c:pt>
                <c:pt idx="1389">
                  <c:v>45585</c:v>
                </c:pt>
                <c:pt idx="1390">
                  <c:v>45586</c:v>
                </c:pt>
                <c:pt idx="1391">
                  <c:v>45587</c:v>
                </c:pt>
                <c:pt idx="1392">
                  <c:v>45588</c:v>
                </c:pt>
                <c:pt idx="1393">
                  <c:v>45589</c:v>
                </c:pt>
                <c:pt idx="1394">
                  <c:v>45590</c:v>
                </c:pt>
                <c:pt idx="1395">
                  <c:v>45591</c:v>
                </c:pt>
                <c:pt idx="1396">
                  <c:v>45592</c:v>
                </c:pt>
                <c:pt idx="1397">
                  <c:v>45593</c:v>
                </c:pt>
                <c:pt idx="1398">
                  <c:v>45594</c:v>
                </c:pt>
                <c:pt idx="1399">
                  <c:v>45595</c:v>
                </c:pt>
                <c:pt idx="1400">
                  <c:v>45596</c:v>
                </c:pt>
                <c:pt idx="1401">
                  <c:v>45597</c:v>
                </c:pt>
                <c:pt idx="1402">
                  <c:v>45598</c:v>
                </c:pt>
                <c:pt idx="1403">
                  <c:v>45599</c:v>
                </c:pt>
                <c:pt idx="1404">
                  <c:v>45600</c:v>
                </c:pt>
                <c:pt idx="1405">
                  <c:v>45601</c:v>
                </c:pt>
                <c:pt idx="1406">
                  <c:v>45602</c:v>
                </c:pt>
                <c:pt idx="1407">
                  <c:v>45603</c:v>
                </c:pt>
                <c:pt idx="1408">
                  <c:v>45604</c:v>
                </c:pt>
                <c:pt idx="1409">
                  <c:v>45605</c:v>
                </c:pt>
                <c:pt idx="1410">
                  <c:v>45606</c:v>
                </c:pt>
                <c:pt idx="1411">
                  <c:v>45607</c:v>
                </c:pt>
                <c:pt idx="1412">
                  <c:v>45608</c:v>
                </c:pt>
                <c:pt idx="1413">
                  <c:v>45609</c:v>
                </c:pt>
                <c:pt idx="1414">
                  <c:v>45610</c:v>
                </c:pt>
                <c:pt idx="1415">
                  <c:v>45611</c:v>
                </c:pt>
                <c:pt idx="1416">
                  <c:v>45612</c:v>
                </c:pt>
                <c:pt idx="1417">
                  <c:v>45613</c:v>
                </c:pt>
                <c:pt idx="1418">
                  <c:v>45614</c:v>
                </c:pt>
                <c:pt idx="1419">
                  <c:v>45615</c:v>
                </c:pt>
                <c:pt idx="1420">
                  <c:v>45616</c:v>
                </c:pt>
                <c:pt idx="1421">
                  <c:v>45617</c:v>
                </c:pt>
                <c:pt idx="1422">
                  <c:v>45618</c:v>
                </c:pt>
                <c:pt idx="1423">
                  <c:v>45619</c:v>
                </c:pt>
                <c:pt idx="1424">
                  <c:v>45620</c:v>
                </c:pt>
                <c:pt idx="1425">
                  <c:v>45621</c:v>
                </c:pt>
                <c:pt idx="1426">
                  <c:v>45622</c:v>
                </c:pt>
                <c:pt idx="1427">
                  <c:v>45623</c:v>
                </c:pt>
                <c:pt idx="1428">
                  <c:v>45624</c:v>
                </c:pt>
                <c:pt idx="1429">
                  <c:v>45625</c:v>
                </c:pt>
                <c:pt idx="1430">
                  <c:v>45626</c:v>
                </c:pt>
                <c:pt idx="1431">
                  <c:v>45627</c:v>
                </c:pt>
                <c:pt idx="1432">
                  <c:v>45628</c:v>
                </c:pt>
                <c:pt idx="1433">
                  <c:v>45629</c:v>
                </c:pt>
                <c:pt idx="1434">
                  <c:v>45630</c:v>
                </c:pt>
                <c:pt idx="1435">
                  <c:v>45631</c:v>
                </c:pt>
                <c:pt idx="1436">
                  <c:v>45632</c:v>
                </c:pt>
                <c:pt idx="1437">
                  <c:v>45633</c:v>
                </c:pt>
                <c:pt idx="1438">
                  <c:v>45634</c:v>
                </c:pt>
                <c:pt idx="1439">
                  <c:v>45635</c:v>
                </c:pt>
                <c:pt idx="1440">
                  <c:v>45636</c:v>
                </c:pt>
                <c:pt idx="1441">
                  <c:v>45637</c:v>
                </c:pt>
                <c:pt idx="1442">
                  <c:v>45638</c:v>
                </c:pt>
                <c:pt idx="1443">
                  <c:v>45639</c:v>
                </c:pt>
                <c:pt idx="1444">
                  <c:v>45640</c:v>
                </c:pt>
                <c:pt idx="1445">
                  <c:v>45641</c:v>
                </c:pt>
                <c:pt idx="1446">
                  <c:v>45642</c:v>
                </c:pt>
                <c:pt idx="1447">
                  <c:v>45643</c:v>
                </c:pt>
                <c:pt idx="1448">
                  <c:v>45644</c:v>
                </c:pt>
                <c:pt idx="1449">
                  <c:v>45645</c:v>
                </c:pt>
                <c:pt idx="1450">
                  <c:v>45646</c:v>
                </c:pt>
                <c:pt idx="1451">
                  <c:v>45647</c:v>
                </c:pt>
                <c:pt idx="1452">
                  <c:v>45648</c:v>
                </c:pt>
                <c:pt idx="1453">
                  <c:v>45649</c:v>
                </c:pt>
                <c:pt idx="1454">
                  <c:v>45650</c:v>
                </c:pt>
                <c:pt idx="1455">
                  <c:v>45651</c:v>
                </c:pt>
                <c:pt idx="1456">
                  <c:v>45652</c:v>
                </c:pt>
                <c:pt idx="1457">
                  <c:v>45653</c:v>
                </c:pt>
                <c:pt idx="1458">
                  <c:v>45654</c:v>
                </c:pt>
                <c:pt idx="1459">
                  <c:v>45655</c:v>
                </c:pt>
                <c:pt idx="1460">
                  <c:v>45656</c:v>
                </c:pt>
                <c:pt idx="1461">
                  <c:v>45657</c:v>
                </c:pt>
                <c:pt idx="1462">
                  <c:v>45658</c:v>
                </c:pt>
                <c:pt idx="1463">
                  <c:v>45659</c:v>
                </c:pt>
                <c:pt idx="1464">
                  <c:v>45660</c:v>
                </c:pt>
                <c:pt idx="1465">
                  <c:v>45661</c:v>
                </c:pt>
                <c:pt idx="1466">
                  <c:v>45662</c:v>
                </c:pt>
                <c:pt idx="1467">
                  <c:v>45663</c:v>
                </c:pt>
                <c:pt idx="1468">
                  <c:v>45664</c:v>
                </c:pt>
                <c:pt idx="1469">
                  <c:v>45665</c:v>
                </c:pt>
                <c:pt idx="1470">
                  <c:v>45666</c:v>
                </c:pt>
                <c:pt idx="1471">
                  <c:v>45667</c:v>
                </c:pt>
                <c:pt idx="1472">
                  <c:v>45668</c:v>
                </c:pt>
                <c:pt idx="1473">
                  <c:v>45669</c:v>
                </c:pt>
                <c:pt idx="1474">
                  <c:v>45670</c:v>
                </c:pt>
                <c:pt idx="1475">
                  <c:v>45671</c:v>
                </c:pt>
                <c:pt idx="1476">
                  <c:v>45672</c:v>
                </c:pt>
                <c:pt idx="1477">
                  <c:v>45673</c:v>
                </c:pt>
                <c:pt idx="1478">
                  <c:v>45674</c:v>
                </c:pt>
                <c:pt idx="1479">
                  <c:v>45675</c:v>
                </c:pt>
                <c:pt idx="1480">
                  <c:v>45676</c:v>
                </c:pt>
                <c:pt idx="1481">
                  <c:v>45677</c:v>
                </c:pt>
                <c:pt idx="1482">
                  <c:v>45678</c:v>
                </c:pt>
                <c:pt idx="1483">
                  <c:v>45679</c:v>
                </c:pt>
                <c:pt idx="1484">
                  <c:v>45680</c:v>
                </c:pt>
                <c:pt idx="1485">
                  <c:v>45681</c:v>
                </c:pt>
                <c:pt idx="1486">
                  <c:v>45682</c:v>
                </c:pt>
                <c:pt idx="1487">
                  <c:v>45683</c:v>
                </c:pt>
                <c:pt idx="1488">
                  <c:v>45684</c:v>
                </c:pt>
                <c:pt idx="1489">
                  <c:v>45685</c:v>
                </c:pt>
                <c:pt idx="1490">
                  <c:v>45686</c:v>
                </c:pt>
                <c:pt idx="1491">
                  <c:v>45687</c:v>
                </c:pt>
                <c:pt idx="1492">
                  <c:v>45688</c:v>
                </c:pt>
                <c:pt idx="1493">
                  <c:v>45689</c:v>
                </c:pt>
                <c:pt idx="1494">
                  <c:v>45690</c:v>
                </c:pt>
                <c:pt idx="1495">
                  <c:v>45691</c:v>
                </c:pt>
                <c:pt idx="1496">
                  <c:v>45692</c:v>
                </c:pt>
                <c:pt idx="1497">
                  <c:v>45693</c:v>
                </c:pt>
                <c:pt idx="1498">
                  <c:v>45694</c:v>
                </c:pt>
                <c:pt idx="1499">
                  <c:v>45695</c:v>
                </c:pt>
                <c:pt idx="1500">
                  <c:v>45696</c:v>
                </c:pt>
                <c:pt idx="1501">
                  <c:v>45697</c:v>
                </c:pt>
                <c:pt idx="1502">
                  <c:v>45698</c:v>
                </c:pt>
                <c:pt idx="1503">
                  <c:v>45699</c:v>
                </c:pt>
                <c:pt idx="1504">
                  <c:v>45700</c:v>
                </c:pt>
                <c:pt idx="1505">
                  <c:v>45701</c:v>
                </c:pt>
                <c:pt idx="1506">
                  <c:v>45702</c:v>
                </c:pt>
                <c:pt idx="1507">
                  <c:v>45703</c:v>
                </c:pt>
                <c:pt idx="1508">
                  <c:v>45704</c:v>
                </c:pt>
                <c:pt idx="1509">
                  <c:v>45705</c:v>
                </c:pt>
                <c:pt idx="1510">
                  <c:v>45706</c:v>
                </c:pt>
                <c:pt idx="1511">
                  <c:v>45707</c:v>
                </c:pt>
                <c:pt idx="1512">
                  <c:v>45708</c:v>
                </c:pt>
                <c:pt idx="1513">
                  <c:v>45709</c:v>
                </c:pt>
                <c:pt idx="1514">
                  <c:v>45710</c:v>
                </c:pt>
                <c:pt idx="1515">
                  <c:v>45711</c:v>
                </c:pt>
                <c:pt idx="1516">
                  <c:v>45712</c:v>
                </c:pt>
                <c:pt idx="1517">
                  <c:v>45713</c:v>
                </c:pt>
                <c:pt idx="1518">
                  <c:v>45714</c:v>
                </c:pt>
                <c:pt idx="1519">
                  <c:v>45715</c:v>
                </c:pt>
                <c:pt idx="1520">
                  <c:v>45716</c:v>
                </c:pt>
                <c:pt idx="1521">
                  <c:v>45717</c:v>
                </c:pt>
                <c:pt idx="1522">
                  <c:v>45718</c:v>
                </c:pt>
                <c:pt idx="1523">
                  <c:v>45719</c:v>
                </c:pt>
                <c:pt idx="1524">
                  <c:v>45720</c:v>
                </c:pt>
                <c:pt idx="1525">
                  <c:v>45721</c:v>
                </c:pt>
                <c:pt idx="1526">
                  <c:v>45722</c:v>
                </c:pt>
                <c:pt idx="1527">
                  <c:v>45723</c:v>
                </c:pt>
                <c:pt idx="1528">
                  <c:v>45724</c:v>
                </c:pt>
                <c:pt idx="1529">
                  <c:v>45725</c:v>
                </c:pt>
                <c:pt idx="1530">
                  <c:v>45726</c:v>
                </c:pt>
                <c:pt idx="1531">
                  <c:v>45727</c:v>
                </c:pt>
                <c:pt idx="1532">
                  <c:v>45728</c:v>
                </c:pt>
                <c:pt idx="1533">
                  <c:v>45729</c:v>
                </c:pt>
                <c:pt idx="1534">
                  <c:v>45730</c:v>
                </c:pt>
                <c:pt idx="1535">
                  <c:v>45731</c:v>
                </c:pt>
                <c:pt idx="1536">
                  <c:v>45732</c:v>
                </c:pt>
                <c:pt idx="1537">
                  <c:v>45733</c:v>
                </c:pt>
                <c:pt idx="1538">
                  <c:v>45734</c:v>
                </c:pt>
                <c:pt idx="1539">
                  <c:v>45735</c:v>
                </c:pt>
                <c:pt idx="1540">
                  <c:v>45736</c:v>
                </c:pt>
                <c:pt idx="1541">
                  <c:v>45737</c:v>
                </c:pt>
                <c:pt idx="1542">
                  <c:v>45738</c:v>
                </c:pt>
                <c:pt idx="1543">
                  <c:v>45739</c:v>
                </c:pt>
                <c:pt idx="1544">
                  <c:v>45740</c:v>
                </c:pt>
                <c:pt idx="1545">
                  <c:v>45741</c:v>
                </c:pt>
                <c:pt idx="1546">
                  <c:v>45742</c:v>
                </c:pt>
                <c:pt idx="1547">
                  <c:v>45743</c:v>
                </c:pt>
                <c:pt idx="1548">
                  <c:v>45744</c:v>
                </c:pt>
                <c:pt idx="1549">
                  <c:v>45745</c:v>
                </c:pt>
                <c:pt idx="1550">
                  <c:v>45746</c:v>
                </c:pt>
                <c:pt idx="1551">
                  <c:v>45747</c:v>
                </c:pt>
                <c:pt idx="1552">
                  <c:v>45748</c:v>
                </c:pt>
                <c:pt idx="1553">
                  <c:v>45749</c:v>
                </c:pt>
                <c:pt idx="1554">
                  <c:v>45750</c:v>
                </c:pt>
                <c:pt idx="1555">
                  <c:v>45751</c:v>
                </c:pt>
                <c:pt idx="1556">
                  <c:v>45752</c:v>
                </c:pt>
                <c:pt idx="1557">
                  <c:v>45753</c:v>
                </c:pt>
                <c:pt idx="1558">
                  <c:v>45754</c:v>
                </c:pt>
                <c:pt idx="1559">
                  <c:v>45755</c:v>
                </c:pt>
                <c:pt idx="1560">
                  <c:v>45756</c:v>
                </c:pt>
                <c:pt idx="1561">
                  <c:v>45757</c:v>
                </c:pt>
                <c:pt idx="1562">
                  <c:v>45758</c:v>
                </c:pt>
                <c:pt idx="1563">
                  <c:v>45759</c:v>
                </c:pt>
                <c:pt idx="1564">
                  <c:v>45760</c:v>
                </c:pt>
                <c:pt idx="1565">
                  <c:v>45761</c:v>
                </c:pt>
                <c:pt idx="1566">
                  <c:v>45762</c:v>
                </c:pt>
                <c:pt idx="1567">
                  <c:v>45763</c:v>
                </c:pt>
                <c:pt idx="1568">
                  <c:v>45764</c:v>
                </c:pt>
                <c:pt idx="1569">
                  <c:v>45765</c:v>
                </c:pt>
                <c:pt idx="1570">
                  <c:v>45766</c:v>
                </c:pt>
                <c:pt idx="1571">
                  <c:v>45767</c:v>
                </c:pt>
                <c:pt idx="1572">
                  <c:v>45768</c:v>
                </c:pt>
                <c:pt idx="1573">
                  <c:v>45769</c:v>
                </c:pt>
                <c:pt idx="1574">
                  <c:v>45770</c:v>
                </c:pt>
                <c:pt idx="1575">
                  <c:v>45771</c:v>
                </c:pt>
                <c:pt idx="1576">
                  <c:v>45772</c:v>
                </c:pt>
                <c:pt idx="1577">
                  <c:v>45773</c:v>
                </c:pt>
                <c:pt idx="1578">
                  <c:v>45774</c:v>
                </c:pt>
                <c:pt idx="1579">
                  <c:v>45775</c:v>
                </c:pt>
                <c:pt idx="1580">
                  <c:v>45776</c:v>
                </c:pt>
                <c:pt idx="1581">
                  <c:v>45777</c:v>
                </c:pt>
                <c:pt idx="1582">
                  <c:v>45778</c:v>
                </c:pt>
                <c:pt idx="1583">
                  <c:v>45779</c:v>
                </c:pt>
                <c:pt idx="1584">
                  <c:v>45780</c:v>
                </c:pt>
                <c:pt idx="1585">
                  <c:v>45781</c:v>
                </c:pt>
                <c:pt idx="1586">
                  <c:v>45782</c:v>
                </c:pt>
                <c:pt idx="1587">
                  <c:v>45783</c:v>
                </c:pt>
                <c:pt idx="1588">
                  <c:v>45784</c:v>
                </c:pt>
                <c:pt idx="1589">
                  <c:v>45785</c:v>
                </c:pt>
                <c:pt idx="1590">
                  <c:v>45786</c:v>
                </c:pt>
                <c:pt idx="1591">
                  <c:v>45787</c:v>
                </c:pt>
                <c:pt idx="1592">
                  <c:v>45788</c:v>
                </c:pt>
                <c:pt idx="1593">
                  <c:v>45789</c:v>
                </c:pt>
                <c:pt idx="1594">
                  <c:v>45790</c:v>
                </c:pt>
                <c:pt idx="1595">
                  <c:v>45791</c:v>
                </c:pt>
                <c:pt idx="1596">
                  <c:v>45792</c:v>
                </c:pt>
                <c:pt idx="1597">
                  <c:v>45793</c:v>
                </c:pt>
                <c:pt idx="1598">
                  <c:v>45794</c:v>
                </c:pt>
                <c:pt idx="1599">
                  <c:v>45795</c:v>
                </c:pt>
                <c:pt idx="1600">
                  <c:v>45796</c:v>
                </c:pt>
                <c:pt idx="1601">
                  <c:v>45797</c:v>
                </c:pt>
                <c:pt idx="1602">
                  <c:v>45798</c:v>
                </c:pt>
                <c:pt idx="1603">
                  <c:v>45799</c:v>
                </c:pt>
                <c:pt idx="1604">
                  <c:v>45800</c:v>
                </c:pt>
                <c:pt idx="1605">
                  <c:v>45801</c:v>
                </c:pt>
                <c:pt idx="1606">
                  <c:v>45802</c:v>
                </c:pt>
                <c:pt idx="1607">
                  <c:v>45803</c:v>
                </c:pt>
                <c:pt idx="1608">
                  <c:v>45804</c:v>
                </c:pt>
                <c:pt idx="1609">
                  <c:v>45805</c:v>
                </c:pt>
                <c:pt idx="1610">
                  <c:v>45806</c:v>
                </c:pt>
                <c:pt idx="1611">
                  <c:v>45807</c:v>
                </c:pt>
                <c:pt idx="1612">
                  <c:v>45808</c:v>
                </c:pt>
                <c:pt idx="1613">
                  <c:v>45809</c:v>
                </c:pt>
                <c:pt idx="1614">
                  <c:v>45810</c:v>
                </c:pt>
                <c:pt idx="1615">
                  <c:v>45811</c:v>
                </c:pt>
                <c:pt idx="1616">
                  <c:v>45812</c:v>
                </c:pt>
                <c:pt idx="1617">
                  <c:v>45813</c:v>
                </c:pt>
                <c:pt idx="1618">
                  <c:v>45814</c:v>
                </c:pt>
                <c:pt idx="1619">
                  <c:v>45815</c:v>
                </c:pt>
                <c:pt idx="1620">
                  <c:v>45816</c:v>
                </c:pt>
                <c:pt idx="1621">
                  <c:v>45817</c:v>
                </c:pt>
                <c:pt idx="1622">
                  <c:v>45818</c:v>
                </c:pt>
                <c:pt idx="1623">
                  <c:v>45819</c:v>
                </c:pt>
                <c:pt idx="1624">
                  <c:v>45820</c:v>
                </c:pt>
                <c:pt idx="1625">
                  <c:v>45821</c:v>
                </c:pt>
                <c:pt idx="1626">
                  <c:v>45822</c:v>
                </c:pt>
                <c:pt idx="1627">
                  <c:v>45823</c:v>
                </c:pt>
                <c:pt idx="1628">
                  <c:v>45824</c:v>
                </c:pt>
                <c:pt idx="1629">
                  <c:v>45825</c:v>
                </c:pt>
                <c:pt idx="1630">
                  <c:v>45826</c:v>
                </c:pt>
                <c:pt idx="1631">
                  <c:v>45827</c:v>
                </c:pt>
                <c:pt idx="1632">
                  <c:v>45828</c:v>
                </c:pt>
                <c:pt idx="1633">
                  <c:v>45829</c:v>
                </c:pt>
                <c:pt idx="1634">
                  <c:v>45830</c:v>
                </c:pt>
                <c:pt idx="1635">
                  <c:v>45831</c:v>
                </c:pt>
                <c:pt idx="1636">
                  <c:v>45832</c:v>
                </c:pt>
                <c:pt idx="1637">
                  <c:v>45833</c:v>
                </c:pt>
                <c:pt idx="1638">
                  <c:v>45834</c:v>
                </c:pt>
                <c:pt idx="1639">
                  <c:v>45835</c:v>
                </c:pt>
                <c:pt idx="1640">
                  <c:v>45836</c:v>
                </c:pt>
                <c:pt idx="1641">
                  <c:v>45837</c:v>
                </c:pt>
                <c:pt idx="1642">
                  <c:v>45838</c:v>
                </c:pt>
                <c:pt idx="1643">
                  <c:v>45839</c:v>
                </c:pt>
                <c:pt idx="1644">
                  <c:v>45840</c:v>
                </c:pt>
                <c:pt idx="1645">
                  <c:v>45841</c:v>
                </c:pt>
                <c:pt idx="1646">
                  <c:v>45842</c:v>
                </c:pt>
                <c:pt idx="1647">
                  <c:v>45843</c:v>
                </c:pt>
                <c:pt idx="1648">
                  <c:v>45844</c:v>
                </c:pt>
                <c:pt idx="1649">
                  <c:v>45845</c:v>
                </c:pt>
                <c:pt idx="1650">
                  <c:v>45846</c:v>
                </c:pt>
                <c:pt idx="1651">
                  <c:v>45847</c:v>
                </c:pt>
                <c:pt idx="1652">
                  <c:v>45848</c:v>
                </c:pt>
                <c:pt idx="1653">
                  <c:v>45849</c:v>
                </c:pt>
                <c:pt idx="1654">
                  <c:v>45850</c:v>
                </c:pt>
                <c:pt idx="1655">
                  <c:v>45851</c:v>
                </c:pt>
                <c:pt idx="1656">
                  <c:v>45852</c:v>
                </c:pt>
                <c:pt idx="1657">
                  <c:v>45853</c:v>
                </c:pt>
                <c:pt idx="1658">
                  <c:v>45854</c:v>
                </c:pt>
                <c:pt idx="1659">
                  <c:v>45855</c:v>
                </c:pt>
                <c:pt idx="1660">
                  <c:v>45856</c:v>
                </c:pt>
                <c:pt idx="1661">
                  <c:v>45857</c:v>
                </c:pt>
                <c:pt idx="1662">
                  <c:v>45858</c:v>
                </c:pt>
                <c:pt idx="1663">
                  <c:v>45859</c:v>
                </c:pt>
                <c:pt idx="1664">
                  <c:v>45860</c:v>
                </c:pt>
                <c:pt idx="1665">
                  <c:v>45861</c:v>
                </c:pt>
                <c:pt idx="1666">
                  <c:v>45862</c:v>
                </c:pt>
                <c:pt idx="1667">
                  <c:v>45863</c:v>
                </c:pt>
                <c:pt idx="1668">
                  <c:v>45864</c:v>
                </c:pt>
                <c:pt idx="1669">
                  <c:v>45865</c:v>
                </c:pt>
                <c:pt idx="1670">
                  <c:v>45866</c:v>
                </c:pt>
                <c:pt idx="1671">
                  <c:v>45867</c:v>
                </c:pt>
                <c:pt idx="1672">
                  <c:v>45868</c:v>
                </c:pt>
                <c:pt idx="1673">
                  <c:v>45869</c:v>
                </c:pt>
                <c:pt idx="1674">
                  <c:v>45870</c:v>
                </c:pt>
                <c:pt idx="1675">
                  <c:v>45871</c:v>
                </c:pt>
                <c:pt idx="1676">
                  <c:v>45872</c:v>
                </c:pt>
                <c:pt idx="1677">
                  <c:v>45873</c:v>
                </c:pt>
                <c:pt idx="1678">
                  <c:v>45874</c:v>
                </c:pt>
                <c:pt idx="1679">
                  <c:v>45875</c:v>
                </c:pt>
                <c:pt idx="1680">
                  <c:v>45876</c:v>
                </c:pt>
                <c:pt idx="1681">
                  <c:v>45877</c:v>
                </c:pt>
                <c:pt idx="1682">
                  <c:v>45878</c:v>
                </c:pt>
                <c:pt idx="1683">
                  <c:v>45879</c:v>
                </c:pt>
                <c:pt idx="1684">
                  <c:v>45880</c:v>
                </c:pt>
                <c:pt idx="1685">
                  <c:v>45881</c:v>
                </c:pt>
                <c:pt idx="1686">
                  <c:v>45882</c:v>
                </c:pt>
                <c:pt idx="1687">
                  <c:v>45883</c:v>
                </c:pt>
                <c:pt idx="1688">
                  <c:v>45884</c:v>
                </c:pt>
                <c:pt idx="1689">
                  <c:v>45885</c:v>
                </c:pt>
                <c:pt idx="1690">
                  <c:v>45886</c:v>
                </c:pt>
                <c:pt idx="1691">
                  <c:v>45887</c:v>
                </c:pt>
                <c:pt idx="1692">
                  <c:v>45888</c:v>
                </c:pt>
                <c:pt idx="1693">
                  <c:v>45889</c:v>
                </c:pt>
                <c:pt idx="1694">
                  <c:v>45890</c:v>
                </c:pt>
                <c:pt idx="1695">
                  <c:v>45891</c:v>
                </c:pt>
                <c:pt idx="1696">
                  <c:v>45892</c:v>
                </c:pt>
                <c:pt idx="1697">
                  <c:v>45893</c:v>
                </c:pt>
                <c:pt idx="1698">
                  <c:v>45894</c:v>
                </c:pt>
                <c:pt idx="1699">
                  <c:v>45895</c:v>
                </c:pt>
                <c:pt idx="1700">
                  <c:v>45896</c:v>
                </c:pt>
                <c:pt idx="1701">
                  <c:v>45897</c:v>
                </c:pt>
                <c:pt idx="1702">
                  <c:v>45898</c:v>
                </c:pt>
                <c:pt idx="1703">
                  <c:v>45899</c:v>
                </c:pt>
                <c:pt idx="1704">
                  <c:v>45900</c:v>
                </c:pt>
                <c:pt idx="1705">
                  <c:v>45901</c:v>
                </c:pt>
                <c:pt idx="1706">
                  <c:v>45902</c:v>
                </c:pt>
                <c:pt idx="1707">
                  <c:v>45903</c:v>
                </c:pt>
                <c:pt idx="1708">
                  <c:v>45904</c:v>
                </c:pt>
                <c:pt idx="1709">
                  <c:v>45905</c:v>
                </c:pt>
                <c:pt idx="1710">
                  <c:v>45906</c:v>
                </c:pt>
                <c:pt idx="1711">
                  <c:v>45907</c:v>
                </c:pt>
                <c:pt idx="1712">
                  <c:v>45908</c:v>
                </c:pt>
                <c:pt idx="1713">
                  <c:v>45909</c:v>
                </c:pt>
                <c:pt idx="1714">
                  <c:v>45910</c:v>
                </c:pt>
                <c:pt idx="1715">
                  <c:v>45911</c:v>
                </c:pt>
                <c:pt idx="1716">
                  <c:v>45912</c:v>
                </c:pt>
                <c:pt idx="1717">
                  <c:v>45913</c:v>
                </c:pt>
                <c:pt idx="1718">
                  <c:v>45914</c:v>
                </c:pt>
                <c:pt idx="1719">
                  <c:v>45915</c:v>
                </c:pt>
                <c:pt idx="1720">
                  <c:v>45916</c:v>
                </c:pt>
                <c:pt idx="1721">
                  <c:v>45917</c:v>
                </c:pt>
                <c:pt idx="1722">
                  <c:v>45918</c:v>
                </c:pt>
                <c:pt idx="1723">
                  <c:v>45919</c:v>
                </c:pt>
                <c:pt idx="1724">
                  <c:v>45920</c:v>
                </c:pt>
                <c:pt idx="1725">
                  <c:v>45921</c:v>
                </c:pt>
                <c:pt idx="1726">
                  <c:v>45922</c:v>
                </c:pt>
                <c:pt idx="1727">
                  <c:v>45923</c:v>
                </c:pt>
                <c:pt idx="1728">
                  <c:v>45924</c:v>
                </c:pt>
                <c:pt idx="1729">
                  <c:v>45925</c:v>
                </c:pt>
                <c:pt idx="1730">
                  <c:v>45926</c:v>
                </c:pt>
                <c:pt idx="1731">
                  <c:v>45927</c:v>
                </c:pt>
                <c:pt idx="1732">
                  <c:v>45928</c:v>
                </c:pt>
                <c:pt idx="1733">
                  <c:v>45929</c:v>
                </c:pt>
                <c:pt idx="1734">
                  <c:v>45930</c:v>
                </c:pt>
                <c:pt idx="1735">
                  <c:v>45931</c:v>
                </c:pt>
                <c:pt idx="1736">
                  <c:v>45932</c:v>
                </c:pt>
                <c:pt idx="1737">
                  <c:v>45933</c:v>
                </c:pt>
                <c:pt idx="1738">
                  <c:v>45934</c:v>
                </c:pt>
                <c:pt idx="1739">
                  <c:v>45935</c:v>
                </c:pt>
                <c:pt idx="1740">
                  <c:v>45936</c:v>
                </c:pt>
                <c:pt idx="1741">
                  <c:v>45937</c:v>
                </c:pt>
                <c:pt idx="1742">
                  <c:v>45938</c:v>
                </c:pt>
                <c:pt idx="1743">
                  <c:v>45939</c:v>
                </c:pt>
                <c:pt idx="1744">
                  <c:v>45940</c:v>
                </c:pt>
                <c:pt idx="1745">
                  <c:v>45941</c:v>
                </c:pt>
                <c:pt idx="1746">
                  <c:v>45942</c:v>
                </c:pt>
                <c:pt idx="1747">
                  <c:v>45943</c:v>
                </c:pt>
                <c:pt idx="1748">
                  <c:v>45944</c:v>
                </c:pt>
                <c:pt idx="1749">
                  <c:v>45945</c:v>
                </c:pt>
                <c:pt idx="1750">
                  <c:v>45946</c:v>
                </c:pt>
                <c:pt idx="1751">
                  <c:v>45947</c:v>
                </c:pt>
                <c:pt idx="1752">
                  <c:v>45948</c:v>
                </c:pt>
                <c:pt idx="1753">
                  <c:v>45949</c:v>
                </c:pt>
                <c:pt idx="1754">
                  <c:v>45950</c:v>
                </c:pt>
                <c:pt idx="1755">
                  <c:v>45951</c:v>
                </c:pt>
                <c:pt idx="1756">
                  <c:v>45952</c:v>
                </c:pt>
                <c:pt idx="1757">
                  <c:v>45953</c:v>
                </c:pt>
                <c:pt idx="1758">
                  <c:v>45954</c:v>
                </c:pt>
                <c:pt idx="1759">
                  <c:v>45955</c:v>
                </c:pt>
                <c:pt idx="1760">
                  <c:v>45956</c:v>
                </c:pt>
                <c:pt idx="1761">
                  <c:v>45957</c:v>
                </c:pt>
                <c:pt idx="1762">
                  <c:v>45958</c:v>
                </c:pt>
                <c:pt idx="1763">
                  <c:v>45959</c:v>
                </c:pt>
                <c:pt idx="1764">
                  <c:v>45960</c:v>
                </c:pt>
                <c:pt idx="1765">
                  <c:v>45961</c:v>
                </c:pt>
                <c:pt idx="1766">
                  <c:v>45962</c:v>
                </c:pt>
                <c:pt idx="1767">
                  <c:v>45963</c:v>
                </c:pt>
                <c:pt idx="1768">
                  <c:v>45964</c:v>
                </c:pt>
                <c:pt idx="1769">
                  <c:v>45965</c:v>
                </c:pt>
                <c:pt idx="1770">
                  <c:v>45966</c:v>
                </c:pt>
                <c:pt idx="1771">
                  <c:v>45967</c:v>
                </c:pt>
                <c:pt idx="1772">
                  <c:v>45968</c:v>
                </c:pt>
                <c:pt idx="1773">
                  <c:v>45969</c:v>
                </c:pt>
                <c:pt idx="1774">
                  <c:v>45970</c:v>
                </c:pt>
                <c:pt idx="1775">
                  <c:v>45971</c:v>
                </c:pt>
                <c:pt idx="1776">
                  <c:v>45972</c:v>
                </c:pt>
                <c:pt idx="1777">
                  <c:v>45973</c:v>
                </c:pt>
                <c:pt idx="1778">
                  <c:v>45974</c:v>
                </c:pt>
                <c:pt idx="1779">
                  <c:v>45975</c:v>
                </c:pt>
                <c:pt idx="1780">
                  <c:v>45976</c:v>
                </c:pt>
                <c:pt idx="1781">
                  <c:v>45977</c:v>
                </c:pt>
                <c:pt idx="1782">
                  <c:v>45978</c:v>
                </c:pt>
                <c:pt idx="1783">
                  <c:v>45979</c:v>
                </c:pt>
                <c:pt idx="1784">
                  <c:v>45980</c:v>
                </c:pt>
                <c:pt idx="1785">
                  <c:v>45981</c:v>
                </c:pt>
                <c:pt idx="1786">
                  <c:v>45982</c:v>
                </c:pt>
                <c:pt idx="1787">
                  <c:v>45983</c:v>
                </c:pt>
                <c:pt idx="1788">
                  <c:v>45984</c:v>
                </c:pt>
                <c:pt idx="1789">
                  <c:v>45985</c:v>
                </c:pt>
                <c:pt idx="1790">
                  <c:v>45986</c:v>
                </c:pt>
                <c:pt idx="1791">
                  <c:v>45987</c:v>
                </c:pt>
                <c:pt idx="1792">
                  <c:v>45988</c:v>
                </c:pt>
                <c:pt idx="1793">
                  <c:v>45989</c:v>
                </c:pt>
                <c:pt idx="1794">
                  <c:v>45990</c:v>
                </c:pt>
                <c:pt idx="1795">
                  <c:v>45991</c:v>
                </c:pt>
                <c:pt idx="1796">
                  <c:v>45992</c:v>
                </c:pt>
                <c:pt idx="1797">
                  <c:v>45993</c:v>
                </c:pt>
                <c:pt idx="1798">
                  <c:v>45994</c:v>
                </c:pt>
                <c:pt idx="1799">
                  <c:v>45995</c:v>
                </c:pt>
                <c:pt idx="1800">
                  <c:v>45996</c:v>
                </c:pt>
                <c:pt idx="1801">
                  <c:v>45997</c:v>
                </c:pt>
                <c:pt idx="1802">
                  <c:v>45998</c:v>
                </c:pt>
                <c:pt idx="1803">
                  <c:v>45999</c:v>
                </c:pt>
                <c:pt idx="1804">
                  <c:v>46000</c:v>
                </c:pt>
                <c:pt idx="1805">
                  <c:v>46001</c:v>
                </c:pt>
                <c:pt idx="1806">
                  <c:v>46002</c:v>
                </c:pt>
                <c:pt idx="1807">
                  <c:v>46003</c:v>
                </c:pt>
                <c:pt idx="1808">
                  <c:v>46004</c:v>
                </c:pt>
                <c:pt idx="1809">
                  <c:v>46005</c:v>
                </c:pt>
                <c:pt idx="1810">
                  <c:v>46006</c:v>
                </c:pt>
                <c:pt idx="1811">
                  <c:v>46007</c:v>
                </c:pt>
                <c:pt idx="1812">
                  <c:v>46008</c:v>
                </c:pt>
                <c:pt idx="1813">
                  <c:v>46009</c:v>
                </c:pt>
                <c:pt idx="1814">
                  <c:v>46010</c:v>
                </c:pt>
                <c:pt idx="1815">
                  <c:v>46011</c:v>
                </c:pt>
                <c:pt idx="1816">
                  <c:v>46012</c:v>
                </c:pt>
                <c:pt idx="1817">
                  <c:v>46013</c:v>
                </c:pt>
                <c:pt idx="1818">
                  <c:v>46014</c:v>
                </c:pt>
                <c:pt idx="1819">
                  <c:v>46015</c:v>
                </c:pt>
                <c:pt idx="1820">
                  <c:v>46016</c:v>
                </c:pt>
                <c:pt idx="1821">
                  <c:v>46017</c:v>
                </c:pt>
                <c:pt idx="1822">
                  <c:v>46018</c:v>
                </c:pt>
                <c:pt idx="1823">
                  <c:v>46019</c:v>
                </c:pt>
                <c:pt idx="1824">
                  <c:v>46020</c:v>
                </c:pt>
                <c:pt idx="1825">
                  <c:v>46021</c:v>
                </c:pt>
                <c:pt idx="1826">
                  <c:v>46022</c:v>
                </c:pt>
              </c:numCache>
            </c:numRef>
          </c:cat>
          <c:val>
            <c:numRef>
              <c:f>Sheet1!$G$2:$G$2069</c:f>
              <c:numCache>
                <c:formatCode>0.00%</c:formatCode>
                <c:ptCount val="2068"/>
                <c:pt idx="0">
                  <c:v>0</c:v>
                </c:pt>
                <c:pt idx="1">
                  <c:v>5.08829409049838E-5</c:v>
                </c:pt>
                <c:pt idx="2">
                  <c:v>5.08829409049838E-5</c:v>
                </c:pt>
                <c:pt idx="3">
                  <c:v>5.08829409049838E-5</c:v>
                </c:pt>
                <c:pt idx="4">
                  <c:v>-8.4452427856459168E-3</c:v>
                </c:pt>
                <c:pt idx="5">
                  <c:v>-2.7457072521148971E-3</c:v>
                </c:pt>
                <c:pt idx="6">
                  <c:v>1.3949798168175675E-3</c:v>
                </c:pt>
                <c:pt idx="7">
                  <c:v>1.4902899866111312E-2</c:v>
                </c:pt>
                <c:pt idx="8">
                  <c:v>2.4406765101134625E-2</c:v>
                </c:pt>
                <c:pt idx="9">
                  <c:v>2.4406765101134625E-2</c:v>
                </c:pt>
                <c:pt idx="10">
                  <c:v>2.4406765101134625E-2</c:v>
                </c:pt>
                <c:pt idx="11">
                  <c:v>2.539995033140002E-2</c:v>
                </c:pt>
                <c:pt idx="12">
                  <c:v>2.6742538966569925E-2</c:v>
                </c:pt>
                <c:pt idx="13">
                  <c:v>2.9615851438931032E-2</c:v>
                </c:pt>
                <c:pt idx="14">
                  <c:v>3.1762220421748283E-2</c:v>
                </c:pt>
                <c:pt idx="15">
                  <c:v>2.6600153056474625E-2</c:v>
                </c:pt>
                <c:pt idx="16">
                  <c:v>2.6600153056474625E-2</c:v>
                </c:pt>
                <c:pt idx="17">
                  <c:v>2.6600153056474625E-2</c:v>
                </c:pt>
                <c:pt idx="18">
                  <c:v>2.7733116674534698E-2</c:v>
                </c:pt>
                <c:pt idx="19">
                  <c:v>3.1826348368543762E-2</c:v>
                </c:pt>
                <c:pt idx="20">
                  <c:v>4.5119648845793281E-2</c:v>
                </c:pt>
                <c:pt idx="21">
                  <c:v>4.3186632398858789E-2</c:v>
                </c:pt>
                <c:pt idx="22">
                  <c:v>3.6722301281017167E-2</c:v>
                </c:pt>
                <c:pt idx="23">
                  <c:v>3.6722301281017167E-2</c:v>
                </c:pt>
                <c:pt idx="24">
                  <c:v>3.6722301281017167E-2</c:v>
                </c:pt>
                <c:pt idx="25">
                  <c:v>4.2704175593369059E-2</c:v>
                </c:pt>
                <c:pt idx="26">
                  <c:v>3.6368810399214621E-2</c:v>
                </c:pt>
                <c:pt idx="27">
                  <c:v>2.1372623265130813E-2</c:v>
                </c:pt>
                <c:pt idx="28">
                  <c:v>2.1787076755744438E-2</c:v>
                </c:pt>
                <c:pt idx="29">
                  <c:v>1.7517903092334564E-3</c:v>
                </c:pt>
                <c:pt idx="30">
                  <c:v>1.7517903092334564E-3</c:v>
                </c:pt>
                <c:pt idx="31">
                  <c:v>1.7517903092334564E-3</c:v>
                </c:pt>
                <c:pt idx="32">
                  <c:v>2.2325859331714354E-2</c:v>
                </c:pt>
                <c:pt idx="33">
                  <c:v>4.0237328901264961E-2</c:v>
                </c:pt>
                <c:pt idx="34">
                  <c:v>4.4759254693940563E-2</c:v>
                </c:pt>
                <c:pt idx="35">
                  <c:v>5.3655112532159849E-2</c:v>
                </c:pt>
                <c:pt idx="36">
                  <c:v>5.5461228726425137E-2</c:v>
                </c:pt>
                <c:pt idx="37">
                  <c:v>5.5461228726425137E-2</c:v>
                </c:pt>
                <c:pt idx="38">
                  <c:v>5.5461228726425137E-2</c:v>
                </c:pt>
                <c:pt idx="39">
                  <c:v>6.1450610077412621E-2</c:v>
                </c:pt>
                <c:pt idx="40">
                  <c:v>5.9058149740365877E-2</c:v>
                </c:pt>
                <c:pt idx="41">
                  <c:v>5.8369159966535446E-2</c:v>
                </c:pt>
                <c:pt idx="42">
                  <c:v>6.0936379243331944E-2</c:v>
                </c:pt>
                <c:pt idx="43">
                  <c:v>6.6002822765502747E-2</c:v>
                </c:pt>
                <c:pt idx="44">
                  <c:v>6.6002822765502747E-2</c:v>
                </c:pt>
                <c:pt idx="45">
                  <c:v>6.6002822765502747E-2</c:v>
                </c:pt>
                <c:pt idx="46">
                  <c:v>6.9295387087646959E-2</c:v>
                </c:pt>
                <c:pt idx="47">
                  <c:v>7.0463860874839523E-2</c:v>
                </c:pt>
                <c:pt idx="48">
                  <c:v>7.4583434285326433E-2</c:v>
                </c:pt>
                <c:pt idx="49">
                  <c:v>6.4633283726473104E-2</c:v>
                </c:pt>
                <c:pt idx="50">
                  <c:v>6.1606911427051186E-2</c:v>
                </c:pt>
                <c:pt idx="51">
                  <c:v>6.1606911427051186E-2</c:v>
                </c:pt>
                <c:pt idx="52">
                  <c:v>6.1606911427051186E-2</c:v>
                </c:pt>
                <c:pt idx="53">
                  <c:v>5.1371030696586925E-2</c:v>
                </c:pt>
                <c:pt idx="54">
                  <c:v>4.9993269140147449E-2</c:v>
                </c:pt>
                <c:pt idx="55">
                  <c:v>5.5322922336564349E-2</c:v>
                </c:pt>
                <c:pt idx="56">
                  <c:v>3.3724633110473266E-2</c:v>
                </c:pt>
                <c:pt idx="57">
                  <c:v>2.5666168820201136E-2</c:v>
                </c:pt>
                <c:pt idx="58">
                  <c:v>2.5666168820201136E-2</c:v>
                </c:pt>
                <c:pt idx="59">
                  <c:v>2.5666168820201136E-2</c:v>
                </c:pt>
                <c:pt idx="60">
                  <c:v>5.4074605433761323E-2</c:v>
                </c:pt>
                <c:pt idx="61">
                  <c:v>4.7852840208014696E-2</c:v>
                </c:pt>
                <c:pt idx="62">
                  <c:v>4.0053588818145872E-2</c:v>
                </c:pt>
                <c:pt idx="63">
                  <c:v>2.8448336107073969E-2</c:v>
                </c:pt>
                <c:pt idx="64">
                  <c:v>4.6564531535011326E-2</c:v>
                </c:pt>
                <c:pt idx="65">
                  <c:v>4.6564531535011326E-2</c:v>
                </c:pt>
                <c:pt idx="66">
                  <c:v>4.6564531535011326E-2</c:v>
                </c:pt>
                <c:pt idx="67">
                  <c:v>4.574956654404929E-2</c:v>
                </c:pt>
                <c:pt idx="68">
                  <c:v>5.7649384175489329E-2</c:v>
                </c:pt>
                <c:pt idx="69">
                  <c:v>6.189186658609884E-2</c:v>
                </c:pt>
                <c:pt idx="70">
                  <c:v>6.9784990837167701E-2</c:v>
                </c:pt>
                <c:pt idx="71">
                  <c:v>7.1347320188565252E-2</c:v>
                </c:pt>
                <c:pt idx="72">
                  <c:v>7.1347320188565252E-2</c:v>
                </c:pt>
                <c:pt idx="73">
                  <c:v>7.1347320188565252E-2</c:v>
                </c:pt>
                <c:pt idx="74">
                  <c:v>7.7274161740353689E-2</c:v>
                </c:pt>
                <c:pt idx="75">
                  <c:v>8.0793694547401318E-2</c:v>
                </c:pt>
                <c:pt idx="76">
                  <c:v>8.02896036207143E-2</c:v>
                </c:pt>
                <c:pt idx="77">
                  <c:v>7.0967234583577288E-2</c:v>
                </c:pt>
                <c:pt idx="78">
                  <c:v>6.9230932630070616E-2</c:v>
                </c:pt>
                <c:pt idx="79">
                  <c:v>6.9230932630070616E-2</c:v>
                </c:pt>
                <c:pt idx="80">
                  <c:v>6.9230932630070616E-2</c:v>
                </c:pt>
                <c:pt idx="81">
                  <c:v>7.1700590725176025E-2</c:v>
                </c:pt>
                <c:pt idx="82">
                  <c:v>6.8503635352049341E-2</c:v>
                </c:pt>
                <c:pt idx="83">
                  <c:v>6.2727638652044962E-2</c:v>
                </c:pt>
                <c:pt idx="84">
                  <c:v>6.9408402213090317E-2</c:v>
                </c:pt>
                <c:pt idx="85">
                  <c:v>8.2892642117756737E-2</c:v>
                </c:pt>
                <c:pt idx="86">
                  <c:v>8.2892642117756737E-2</c:v>
                </c:pt>
                <c:pt idx="87">
                  <c:v>8.2892642117756737E-2</c:v>
                </c:pt>
                <c:pt idx="88">
                  <c:v>8.5238552416733449E-2</c:v>
                </c:pt>
                <c:pt idx="89">
                  <c:v>8.8188684168584788E-2</c:v>
                </c:pt>
                <c:pt idx="90">
                  <c:v>8.7733167264006651E-2</c:v>
                </c:pt>
                <c:pt idx="91">
                  <c:v>9.8769983097347455E-2</c:v>
                </c:pt>
                <c:pt idx="92">
                  <c:v>9.9665234220953206E-2</c:v>
                </c:pt>
                <c:pt idx="93">
                  <c:v>9.9665234220953206E-2</c:v>
                </c:pt>
                <c:pt idx="94">
                  <c:v>9.9665234220953206E-2</c:v>
                </c:pt>
                <c:pt idx="95">
                  <c:v>0.10674513325734082</c:v>
                </c:pt>
                <c:pt idx="96">
                  <c:v>0.10485339711298551</c:v>
                </c:pt>
                <c:pt idx="97">
                  <c:v>9.9939540466660759E-2</c:v>
                </c:pt>
                <c:pt idx="98">
                  <c:v>0.10566472776965526</c:v>
                </c:pt>
                <c:pt idx="99">
                  <c:v>0.10982484102687096</c:v>
                </c:pt>
                <c:pt idx="100">
                  <c:v>0.10982484102687096</c:v>
                </c:pt>
                <c:pt idx="101">
                  <c:v>0.10982484102687096</c:v>
                </c:pt>
                <c:pt idx="102">
                  <c:v>0.10656332813630172</c:v>
                </c:pt>
                <c:pt idx="103">
                  <c:v>0.10860249814764615</c:v>
                </c:pt>
                <c:pt idx="104">
                  <c:v>0.10460959010189314</c:v>
                </c:pt>
                <c:pt idx="105">
                  <c:v>0.1142953422131778</c:v>
                </c:pt>
                <c:pt idx="106">
                  <c:v>0.11783918938749566</c:v>
                </c:pt>
                <c:pt idx="107">
                  <c:v>0.11783918938749566</c:v>
                </c:pt>
                <c:pt idx="108">
                  <c:v>0.11783918938749566</c:v>
                </c:pt>
                <c:pt idx="109">
                  <c:v>0.11129764774382679</c:v>
                </c:pt>
                <c:pt idx="110">
                  <c:v>9.9234072964430597E-2</c:v>
                </c:pt>
                <c:pt idx="111">
                  <c:v>0.10560857576063867</c:v>
                </c:pt>
                <c:pt idx="112">
                  <c:v>0.10377934195663045</c:v>
                </c:pt>
                <c:pt idx="113">
                  <c:v>0.10980022043449807</c:v>
                </c:pt>
                <c:pt idx="114">
                  <c:v>0.10980022043449807</c:v>
                </c:pt>
                <c:pt idx="115">
                  <c:v>0.10980022043449807</c:v>
                </c:pt>
                <c:pt idx="116">
                  <c:v>0.11090117594314222</c:v>
                </c:pt>
                <c:pt idx="117">
                  <c:v>0.10978695235047525</c:v>
                </c:pt>
                <c:pt idx="118">
                  <c:v>0.10938057090578709</c:v>
                </c:pt>
                <c:pt idx="119">
                  <c:v>0.11112676663756545</c:v>
                </c:pt>
                <c:pt idx="120">
                  <c:v>0.10832642409670129</c:v>
                </c:pt>
                <c:pt idx="121">
                  <c:v>0.10832642409670129</c:v>
                </c:pt>
                <c:pt idx="122">
                  <c:v>0.10832642409670129</c:v>
                </c:pt>
                <c:pt idx="123">
                  <c:v>0.10728024075087035</c:v>
                </c:pt>
                <c:pt idx="124">
                  <c:v>0.10215337770500894</c:v>
                </c:pt>
                <c:pt idx="125">
                  <c:v>0.10791823971684636</c:v>
                </c:pt>
                <c:pt idx="126">
                  <c:v>0.11028096128934833</c:v>
                </c:pt>
                <c:pt idx="127">
                  <c:v>0.11263356944859254</c:v>
                </c:pt>
                <c:pt idx="128">
                  <c:v>0.11263356944859254</c:v>
                </c:pt>
                <c:pt idx="129">
                  <c:v>0.11263356944859254</c:v>
                </c:pt>
                <c:pt idx="130">
                  <c:v>0.10508357235840321</c:v>
                </c:pt>
                <c:pt idx="131">
                  <c:v>9.2358577227315664E-2</c:v>
                </c:pt>
                <c:pt idx="132">
                  <c:v>8.1840518045363242E-2</c:v>
                </c:pt>
                <c:pt idx="133">
                  <c:v>8.5078464028065348E-2</c:v>
                </c:pt>
                <c:pt idx="134">
                  <c:v>9.6445405903239412E-2</c:v>
                </c:pt>
                <c:pt idx="135">
                  <c:v>9.6445405903239412E-2</c:v>
                </c:pt>
                <c:pt idx="136">
                  <c:v>9.6445405903239412E-2</c:v>
                </c:pt>
                <c:pt idx="137">
                  <c:v>9.4320144205131129E-2</c:v>
                </c:pt>
                <c:pt idx="138">
                  <c:v>8.8424256492266123E-2</c:v>
                </c:pt>
                <c:pt idx="139">
                  <c:v>8.2297663699434767E-2</c:v>
                </c:pt>
                <c:pt idx="140">
                  <c:v>9.285462365648442E-2</c:v>
                </c:pt>
                <c:pt idx="141">
                  <c:v>9.5677349478062446E-2</c:v>
                </c:pt>
                <c:pt idx="142">
                  <c:v>9.5677349478062446E-2</c:v>
                </c:pt>
                <c:pt idx="143">
                  <c:v>9.5677349478062446E-2</c:v>
                </c:pt>
                <c:pt idx="144">
                  <c:v>0.10035057000238083</c:v>
                </c:pt>
                <c:pt idx="145">
                  <c:v>9.9802969657007023E-2</c:v>
                </c:pt>
                <c:pt idx="146">
                  <c:v>0.10413442104613096</c:v>
                </c:pt>
                <c:pt idx="147">
                  <c:v>0.10636051300491943</c:v>
                </c:pt>
                <c:pt idx="148">
                  <c:v>0.11180179182256196</c:v>
                </c:pt>
                <c:pt idx="149">
                  <c:v>0.11180179182256196</c:v>
                </c:pt>
                <c:pt idx="150">
                  <c:v>0.11180179182256196</c:v>
                </c:pt>
                <c:pt idx="151">
                  <c:v>0.10832021532784239</c:v>
                </c:pt>
                <c:pt idx="152">
                  <c:v>0.11014346821958228</c:v>
                </c:pt>
                <c:pt idx="153">
                  <c:v>0.1147674838397721</c:v>
                </c:pt>
                <c:pt idx="154">
                  <c:v>0.11642498653938205</c:v>
                </c:pt>
                <c:pt idx="155">
                  <c:v>0.12187629354120759</c:v>
                </c:pt>
                <c:pt idx="156">
                  <c:v>0.12187629354120759</c:v>
                </c:pt>
                <c:pt idx="157">
                  <c:v>0.12187629354120759</c:v>
                </c:pt>
                <c:pt idx="158">
                  <c:v>0.12072371845775194</c:v>
                </c:pt>
                <c:pt idx="159">
                  <c:v>0.12071705611355839</c:v>
                </c:pt>
                <c:pt idx="160">
                  <c:v>0.11877479723760118</c:v>
                </c:pt>
                <c:pt idx="161">
                  <c:v>0.12423243989528544</c:v>
                </c:pt>
                <c:pt idx="162">
                  <c:v>0.13191492749707906</c:v>
                </c:pt>
                <c:pt idx="163">
                  <c:v>0.13191492749707906</c:v>
                </c:pt>
                <c:pt idx="164">
                  <c:v>0.13191492749707906</c:v>
                </c:pt>
                <c:pt idx="165">
                  <c:v>0.13318474579374026</c:v>
                </c:pt>
                <c:pt idx="166">
                  <c:v>0.13175031024521686</c:v>
                </c:pt>
                <c:pt idx="167">
                  <c:v>0.12876392161134717</c:v>
                </c:pt>
                <c:pt idx="168">
                  <c:v>0.14073408796441655</c:v>
                </c:pt>
                <c:pt idx="169">
                  <c:v>0.13476706366495805</c:v>
                </c:pt>
                <c:pt idx="170">
                  <c:v>0.13476706366495805</c:v>
                </c:pt>
                <c:pt idx="171">
                  <c:v>0.13476706366495805</c:v>
                </c:pt>
                <c:pt idx="172">
                  <c:v>0.13764796480045219</c:v>
                </c:pt>
                <c:pt idx="173">
                  <c:v>0.14475733452929349</c:v>
                </c:pt>
                <c:pt idx="174">
                  <c:v>0.14054574240254397</c:v>
                </c:pt>
                <c:pt idx="175">
                  <c:v>0.14853633219468548</c:v>
                </c:pt>
                <c:pt idx="176">
                  <c:v>0.15142850406202199</c:v>
                </c:pt>
                <c:pt idx="177">
                  <c:v>0.15142850406202199</c:v>
                </c:pt>
                <c:pt idx="178">
                  <c:v>0.15142850406202199</c:v>
                </c:pt>
                <c:pt idx="179">
                  <c:v>0.15403025024983336</c:v>
                </c:pt>
                <c:pt idx="180">
                  <c:v>0.1556450243125434</c:v>
                </c:pt>
                <c:pt idx="181">
                  <c:v>0.15755823858531953</c:v>
                </c:pt>
                <c:pt idx="182">
                  <c:v>0.15967571972177352</c:v>
                </c:pt>
                <c:pt idx="183">
                  <c:v>0.16677927009525034</c:v>
                </c:pt>
                <c:pt idx="184">
                  <c:v>0.16677927009525034</c:v>
                </c:pt>
                <c:pt idx="185">
                  <c:v>0.16677927009525034</c:v>
                </c:pt>
                <c:pt idx="186">
                  <c:v>0.16616794408750707</c:v>
                </c:pt>
                <c:pt idx="187">
                  <c:v>0.16606527344156816</c:v>
                </c:pt>
                <c:pt idx="188">
                  <c:v>0.17092444526745892</c:v>
                </c:pt>
                <c:pt idx="189">
                  <c:v>0.15385178634180291</c:v>
                </c:pt>
                <c:pt idx="190">
                  <c:v>0.16346401603764776</c:v>
                </c:pt>
                <c:pt idx="191">
                  <c:v>0.16346401603764776</c:v>
                </c:pt>
                <c:pt idx="192">
                  <c:v>0.16346401603764776</c:v>
                </c:pt>
                <c:pt idx="193">
                  <c:v>0.16929259796216883</c:v>
                </c:pt>
                <c:pt idx="194">
                  <c:v>0.17190067209760415</c:v>
                </c:pt>
                <c:pt idx="195">
                  <c:v>0.17221942294211076</c:v>
                </c:pt>
                <c:pt idx="196">
                  <c:v>0.16829695788929855</c:v>
                </c:pt>
                <c:pt idx="197">
                  <c:v>0.16206288994024234</c:v>
                </c:pt>
                <c:pt idx="198">
                  <c:v>0.16206288994024234</c:v>
                </c:pt>
                <c:pt idx="199">
                  <c:v>0.16206288994024234</c:v>
                </c:pt>
                <c:pt idx="200">
                  <c:v>0.14350088753328066</c:v>
                </c:pt>
                <c:pt idx="201">
                  <c:v>0.15737046942142996</c:v>
                </c:pt>
                <c:pt idx="202">
                  <c:v>0.16535284854762608</c:v>
                </c:pt>
                <c:pt idx="203">
                  <c:v>0.1697648053037146</c:v>
                </c:pt>
                <c:pt idx="204">
                  <c:v>0.18000953672579256</c:v>
                </c:pt>
                <c:pt idx="205">
                  <c:v>0.18000953672579256</c:v>
                </c:pt>
                <c:pt idx="206">
                  <c:v>0.18000953672579256</c:v>
                </c:pt>
                <c:pt idx="207">
                  <c:v>0.174563803103718</c:v>
                </c:pt>
                <c:pt idx="208">
                  <c:v>0.16594435480810829</c:v>
                </c:pt>
                <c:pt idx="209">
                  <c:v>0.17049707566724862</c:v>
                </c:pt>
                <c:pt idx="210">
                  <c:v>0.17201029669220944</c:v>
                </c:pt>
                <c:pt idx="211">
                  <c:v>0.16596950378482717</c:v>
                </c:pt>
                <c:pt idx="212">
                  <c:v>0.16596950378482717</c:v>
                </c:pt>
                <c:pt idx="213">
                  <c:v>0.16596950378482717</c:v>
                </c:pt>
                <c:pt idx="214">
                  <c:v>0.16799640259572485</c:v>
                </c:pt>
                <c:pt idx="215">
                  <c:v>0.1753362341662752</c:v>
                </c:pt>
                <c:pt idx="216">
                  <c:v>0.17530295531896642</c:v>
                </c:pt>
                <c:pt idx="217">
                  <c:v>0.18125038426592255</c:v>
                </c:pt>
                <c:pt idx="218">
                  <c:v>0.18698575106073848</c:v>
                </c:pt>
                <c:pt idx="219">
                  <c:v>0.18698575106073848</c:v>
                </c:pt>
                <c:pt idx="220">
                  <c:v>0.18698575106073848</c:v>
                </c:pt>
                <c:pt idx="221">
                  <c:v>0.18843757597287053</c:v>
                </c:pt>
                <c:pt idx="222">
                  <c:v>0.19255452396089809</c:v>
                </c:pt>
                <c:pt idx="223">
                  <c:v>0.19382038116657241</c:v>
                </c:pt>
                <c:pt idx="224">
                  <c:v>0.19639347940188884</c:v>
                </c:pt>
                <c:pt idx="225">
                  <c:v>0.19208672306532124</c:v>
                </c:pt>
                <c:pt idx="226">
                  <c:v>0.19208672306532124</c:v>
                </c:pt>
                <c:pt idx="227">
                  <c:v>0.19208672306532124</c:v>
                </c:pt>
                <c:pt idx="228">
                  <c:v>0.19048631760152901</c:v>
                </c:pt>
                <c:pt idx="229">
                  <c:v>0.18880242075862427</c:v>
                </c:pt>
                <c:pt idx="230">
                  <c:v>0.18256575212578327</c:v>
                </c:pt>
                <c:pt idx="231">
                  <c:v>0.17748493211540478</c:v>
                </c:pt>
                <c:pt idx="232">
                  <c:v>0.18219180387234629</c:v>
                </c:pt>
                <c:pt idx="233">
                  <c:v>0.18219180387234629</c:v>
                </c:pt>
                <c:pt idx="234">
                  <c:v>0.18219180387234629</c:v>
                </c:pt>
                <c:pt idx="235">
                  <c:v>0.18906154075952727</c:v>
                </c:pt>
                <c:pt idx="236">
                  <c:v>0.19375529296490954</c:v>
                </c:pt>
                <c:pt idx="237">
                  <c:v>0.1965330043715332</c:v>
                </c:pt>
                <c:pt idx="238">
                  <c:v>0.19002648598276053</c:v>
                </c:pt>
                <c:pt idx="239">
                  <c:v>0.19548669592121001</c:v>
                </c:pt>
                <c:pt idx="240">
                  <c:v>0.19548669592121001</c:v>
                </c:pt>
                <c:pt idx="241">
                  <c:v>0.19548669592121001</c:v>
                </c:pt>
                <c:pt idx="242">
                  <c:v>0.19988633965814984</c:v>
                </c:pt>
                <c:pt idx="243">
                  <c:v>0.20028761576528226</c:v>
                </c:pt>
                <c:pt idx="244">
                  <c:v>0.19910215155953209</c:v>
                </c:pt>
                <c:pt idx="245">
                  <c:v>0.20124096085602489</c:v>
                </c:pt>
                <c:pt idx="246">
                  <c:v>0.20119354023214156</c:v>
                </c:pt>
                <c:pt idx="247">
                  <c:v>0.20119354023214156</c:v>
                </c:pt>
                <c:pt idx="248">
                  <c:v>0.20119354023214156</c:v>
                </c:pt>
                <c:pt idx="249">
                  <c:v>0.20605285147589186</c:v>
                </c:pt>
                <c:pt idx="250">
                  <c:v>0.20426875634290625</c:v>
                </c:pt>
                <c:pt idx="251">
                  <c:v>0.20238344261706259</c:v>
                </c:pt>
                <c:pt idx="252">
                  <c:v>0.19676554685473463</c:v>
                </c:pt>
                <c:pt idx="253">
                  <c:v>0.19136332798732611</c:v>
                </c:pt>
                <c:pt idx="254">
                  <c:v>0.19136332798732611</c:v>
                </c:pt>
                <c:pt idx="255">
                  <c:v>0.19136332798732611</c:v>
                </c:pt>
                <c:pt idx="256">
                  <c:v>0.19442463213516376</c:v>
                </c:pt>
                <c:pt idx="257">
                  <c:v>0.18946771481835456</c:v>
                </c:pt>
                <c:pt idx="258">
                  <c:v>0.19283384059795822</c:v>
                </c:pt>
                <c:pt idx="259">
                  <c:v>0.1954500586731838</c:v>
                </c:pt>
                <c:pt idx="260">
                  <c:v>0.18966389984961096</c:v>
                </c:pt>
                <c:pt idx="261">
                  <c:v>0.18966389984961096</c:v>
                </c:pt>
                <c:pt idx="262">
                  <c:v>0.18966389984961096</c:v>
                </c:pt>
                <c:pt idx="263">
                  <c:v>0.1714592193122759</c:v>
                </c:pt>
                <c:pt idx="264">
                  <c:v>0.17306106800854493</c:v>
                </c:pt>
                <c:pt idx="265">
                  <c:v>0.18067082533806442</c:v>
                </c:pt>
                <c:pt idx="266">
                  <c:v>0.19112162369641908</c:v>
                </c:pt>
                <c:pt idx="267">
                  <c:v>0.19295653688299721</c:v>
                </c:pt>
                <c:pt idx="268">
                  <c:v>0.19295653688299721</c:v>
                </c:pt>
                <c:pt idx="269">
                  <c:v>0.19295653688299721</c:v>
                </c:pt>
                <c:pt idx="270">
                  <c:v>0.19185662289336533</c:v>
                </c:pt>
                <c:pt idx="271">
                  <c:v>0.17258568074970454</c:v>
                </c:pt>
                <c:pt idx="272">
                  <c:v>0.17659243207218295</c:v>
                </c:pt>
                <c:pt idx="273">
                  <c:v>0.1719377599174004</c:v>
                </c:pt>
                <c:pt idx="274">
                  <c:v>0.17625922239098743</c:v>
                </c:pt>
                <c:pt idx="275">
                  <c:v>0.17625922239098743</c:v>
                </c:pt>
                <c:pt idx="276">
                  <c:v>0.17625922239098743</c:v>
                </c:pt>
                <c:pt idx="277">
                  <c:v>0.16229417289442821</c:v>
                </c:pt>
                <c:pt idx="278">
                  <c:v>0.17348408574273036</c:v>
                </c:pt>
                <c:pt idx="279">
                  <c:v>0.17785279524276804</c:v>
                </c:pt>
                <c:pt idx="280">
                  <c:v>0.18971798509126714</c:v>
                </c:pt>
                <c:pt idx="281">
                  <c:v>0.18787443331136472</c:v>
                </c:pt>
                <c:pt idx="282">
                  <c:v>0.18787443331136472</c:v>
                </c:pt>
                <c:pt idx="283">
                  <c:v>0.18787443331136472</c:v>
                </c:pt>
                <c:pt idx="284">
                  <c:v>0.18463953498415792</c:v>
                </c:pt>
                <c:pt idx="285">
                  <c:v>0.18348994807399066</c:v>
                </c:pt>
                <c:pt idx="286">
                  <c:v>0.18654082386702456</c:v>
                </c:pt>
                <c:pt idx="287">
                  <c:v>0.20142327261553178</c:v>
                </c:pt>
                <c:pt idx="288">
                  <c:v>0.21016816147861789</c:v>
                </c:pt>
                <c:pt idx="289">
                  <c:v>0.21016816147861789</c:v>
                </c:pt>
                <c:pt idx="290">
                  <c:v>0.21016816147861789</c:v>
                </c:pt>
                <c:pt idx="291">
                  <c:v>0.21215647126758369</c:v>
                </c:pt>
                <c:pt idx="292">
                  <c:v>0.21653844164600541</c:v>
                </c:pt>
                <c:pt idx="293">
                  <c:v>0.22091676243443573</c:v>
                </c:pt>
                <c:pt idx="294">
                  <c:v>0.22178608380354745</c:v>
                </c:pt>
                <c:pt idx="295">
                  <c:v>0.22135690908849398</c:v>
                </c:pt>
                <c:pt idx="296">
                  <c:v>0.22135690908849398</c:v>
                </c:pt>
                <c:pt idx="297">
                  <c:v>0.22135690908849398</c:v>
                </c:pt>
                <c:pt idx="298">
                  <c:v>0.22810324773689544</c:v>
                </c:pt>
                <c:pt idx="299">
                  <c:v>0.23265676509880051</c:v>
                </c:pt>
                <c:pt idx="300">
                  <c:v>0.22569508634281177</c:v>
                </c:pt>
                <c:pt idx="301">
                  <c:v>0.22576477344664922</c:v>
                </c:pt>
                <c:pt idx="302">
                  <c:v>0.23410934538741743</c:v>
                </c:pt>
                <c:pt idx="303">
                  <c:v>0.23410934538741743</c:v>
                </c:pt>
                <c:pt idx="304">
                  <c:v>0.23410934538741743</c:v>
                </c:pt>
                <c:pt idx="305">
                  <c:v>0.23763008164451135</c:v>
                </c:pt>
                <c:pt idx="306">
                  <c:v>0.24051796006548984</c:v>
                </c:pt>
                <c:pt idx="307">
                  <c:v>0.24516987019970402</c:v>
                </c:pt>
                <c:pt idx="308">
                  <c:v>0.25438956640522048</c:v>
                </c:pt>
                <c:pt idx="309">
                  <c:v>0.2557079581765731</c:v>
                </c:pt>
                <c:pt idx="310">
                  <c:v>0.2557079581765731</c:v>
                </c:pt>
                <c:pt idx="311">
                  <c:v>0.2557079581765731</c:v>
                </c:pt>
                <c:pt idx="312">
                  <c:v>0.25455168963572805</c:v>
                </c:pt>
                <c:pt idx="313">
                  <c:v>0.25208976547848111</c:v>
                </c:pt>
                <c:pt idx="314">
                  <c:v>0.2503962774510502</c:v>
                </c:pt>
                <c:pt idx="315">
                  <c:v>0.25652107739520136</c:v>
                </c:pt>
                <c:pt idx="316">
                  <c:v>0.26759424659109343</c:v>
                </c:pt>
                <c:pt idx="317">
                  <c:v>0.26759424659109343</c:v>
                </c:pt>
                <c:pt idx="318">
                  <c:v>0.26759424659109343</c:v>
                </c:pt>
                <c:pt idx="319">
                  <c:v>0.27138912996558245</c:v>
                </c:pt>
                <c:pt idx="320">
                  <c:v>0.2815321572348472</c:v>
                </c:pt>
                <c:pt idx="321">
                  <c:v>0.28212232942148802</c:v>
                </c:pt>
                <c:pt idx="322">
                  <c:v>0.27806847387211947</c:v>
                </c:pt>
                <c:pt idx="323">
                  <c:v>0.27873774162982401</c:v>
                </c:pt>
                <c:pt idx="324">
                  <c:v>0.27873774162982401</c:v>
                </c:pt>
                <c:pt idx="325">
                  <c:v>0.27873774162982401</c:v>
                </c:pt>
                <c:pt idx="326">
                  <c:v>0.27962543019076508</c:v>
                </c:pt>
                <c:pt idx="327">
                  <c:v>0.27529015534275486</c:v>
                </c:pt>
                <c:pt idx="328">
                  <c:v>0.28313925663204204</c:v>
                </c:pt>
                <c:pt idx="329">
                  <c:v>0.28327424978001348</c:v>
                </c:pt>
                <c:pt idx="330">
                  <c:v>0.24294349056129932</c:v>
                </c:pt>
                <c:pt idx="331">
                  <c:v>0.24294349056129932</c:v>
                </c:pt>
                <c:pt idx="332">
                  <c:v>0.24294349056129932</c:v>
                </c:pt>
                <c:pt idx="333">
                  <c:v>0.25623178832637733</c:v>
                </c:pt>
                <c:pt idx="334">
                  <c:v>0.23789137537446919</c:v>
                </c:pt>
                <c:pt idx="335">
                  <c:v>0.22608384404355647</c:v>
                </c:pt>
                <c:pt idx="336">
                  <c:v>0.23730292945033923</c:v>
                </c:pt>
                <c:pt idx="337">
                  <c:v>0.23140546730347908</c:v>
                </c:pt>
                <c:pt idx="338">
                  <c:v>0.23140546730347908</c:v>
                </c:pt>
                <c:pt idx="339">
                  <c:v>0.23140546730347908</c:v>
                </c:pt>
                <c:pt idx="340">
                  <c:v>0.2421559084186751</c:v>
                </c:pt>
                <c:pt idx="341">
                  <c:v>0.27088080440535195</c:v>
                </c:pt>
                <c:pt idx="342">
                  <c:v>0.26626430798378209</c:v>
                </c:pt>
                <c:pt idx="343">
                  <c:v>0.26393640689158332</c:v>
                </c:pt>
                <c:pt idx="344">
                  <c:v>0.26632614563666634</c:v>
                </c:pt>
                <c:pt idx="345">
                  <c:v>0.26632614563666634</c:v>
                </c:pt>
                <c:pt idx="346">
                  <c:v>0.26632614563666634</c:v>
                </c:pt>
                <c:pt idx="347">
                  <c:v>0.25940583703211328</c:v>
                </c:pt>
                <c:pt idx="348">
                  <c:v>0.25029610906033667</c:v>
                </c:pt>
                <c:pt idx="349">
                  <c:v>0.26497376679920576</c:v>
                </c:pt>
                <c:pt idx="350">
                  <c:v>0.25720079095359311</c:v>
                </c:pt>
                <c:pt idx="351">
                  <c:v>0.25028420696541898</c:v>
                </c:pt>
                <c:pt idx="352">
                  <c:v>0.25028420696541898</c:v>
                </c:pt>
                <c:pt idx="353">
                  <c:v>0.25028420696541898</c:v>
                </c:pt>
                <c:pt idx="354">
                  <c:v>0.23174202258607138</c:v>
                </c:pt>
                <c:pt idx="355">
                  <c:v>0.25467229399727459</c:v>
                </c:pt>
                <c:pt idx="356">
                  <c:v>0.25966966732984331</c:v>
                </c:pt>
                <c:pt idx="357">
                  <c:v>0.27038027038552032</c:v>
                </c:pt>
                <c:pt idx="358">
                  <c:v>0.26848481934966856</c:v>
                </c:pt>
                <c:pt idx="359">
                  <c:v>0.26848481934966856</c:v>
                </c:pt>
                <c:pt idx="360">
                  <c:v>0.26848481934966856</c:v>
                </c:pt>
                <c:pt idx="361">
                  <c:v>0.28065361551189966</c:v>
                </c:pt>
                <c:pt idx="362">
                  <c:v>0.28433281940890592</c:v>
                </c:pt>
                <c:pt idx="363">
                  <c:v>0.2791858357379286</c:v>
                </c:pt>
                <c:pt idx="364">
                  <c:v>0.27953229152011017</c:v>
                </c:pt>
                <c:pt idx="365">
                  <c:v>0.27437147003636198</c:v>
                </c:pt>
                <c:pt idx="366">
                  <c:v>0.27437147003636198</c:v>
                </c:pt>
                <c:pt idx="367">
                  <c:v>0.27437147003636198</c:v>
                </c:pt>
                <c:pt idx="368">
                  <c:v>0.28696202496095197</c:v>
                </c:pt>
                <c:pt idx="369">
                  <c:v>0.28758957460280016</c:v>
                </c:pt>
                <c:pt idx="370">
                  <c:v>0.26744423460532657</c:v>
                </c:pt>
                <c:pt idx="371">
                  <c:v>0.26502820140814093</c:v>
                </c:pt>
                <c:pt idx="372">
                  <c:v>0.25768163004442401</c:v>
                </c:pt>
                <c:pt idx="373">
                  <c:v>0.25768163004442401</c:v>
                </c:pt>
                <c:pt idx="374">
                  <c:v>0.25768163004442401</c:v>
                </c:pt>
                <c:pt idx="375">
                  <c:v>0.25775368683191585</c:v>
                </c:pt>
                <c:pt idx="376">
                  <c:v>0.26664009981210085</c:v>
                </c:pt>
                <c:pt idx="377">
                  <c:v>0.26769997620432834</c:v>
                </c:pt>
                <c:pt idx="378">
                  <c:v>0.25183311151429066</c:v>
                </c:pt>
                <c:pt idx="379">
                  <c:v>0.25103268766390457</c:v>
                </c:pt>
                <c:pt idx="380">
                  <c:v>0.25103268766390457</c:v>
                </c:pt>
                <c:pt idx="381">
                  <c:v>0.25103268766390457</c:v>
                </c:pt>
                <c:pt idx="382">
                  <c:v>0.25529140675484668</c:v>
                </c:pt>
                <c:pt idx="383">
                  <c:v>0.2422045262688701</c:v>
                </c:pt>
                <c:pt idx="384">
                  <c:v>0.23280023978552181</c:v>
                </c:pt>
                <c:pt idx="385">
                  <c:v>0.22867645596054501</c:v>
                </c:pt>
                <c:pt idx="386">
                  <c:v>0.2074758489704574</c:v>
                </c:pt>
                <c:pt idx="387">
                  <c:v>0.2074758489704574</c:v>
                </c:pt>
                <c:pt idx="388">
                  <c:v>0.2074758489704574</c:v>
                </c:pt>
                <c:pt idx="389">
                  <c:v>0.20216601893154618</c:v>
                </c:pt>
                <c:pt idx="390">
                  <c:v>0.19385967101534177</c:v>
                </c:pt>
                <c:pt idx="391">
                  <c:v>0.19429751187687969</c:v>
                </c:pt>
                <c:pt idx="392">
                  <c:v>0.19783202152247228</c:v>
                </c:pt>
                <c:pt idx="393">
                  <c:v>0.21405072921885021</c:v>
                </c:pt>
                <c:pt idx="394">
                  <c:v>0.21405072921885021</c:v>
                </c:pt>
                <c:pt idx="395">
                  <c:v>0.21405072921885021</c:v>
                </c:pt>
                <c:pt idx="396">
                  <c:v>0.22976554075864059</c:v>
                </c:pt>
                <c:pt idx="397">
                  <c:v>0.23577574042604924</c:v>
                </c:pt>
                <c:pt idx="398">
                  <c:v>0.2399608098584507</c:v>
                </c:pt>
                <c:pt idx="399">
                  <c:v>0.2055237172184394</c:v>
                </c:pt>
                <c:pt idx="400">
                  <c:v>0.20775710896674268</c:v>
                </c:pt>
                <c:pt idx="401">
                  <c:v>0.20775710896674268</c:v>
                </c:pt>
                <c:pt idx="402">
                  <c:v>0.20775710896674268</c:v>
                </c:pt>
                <c:pt idx="403">
                  <c:v>0.2065709362970351</c:v>
                </c:pt>
                <c:pt idx="404">
                  <c:v>0.21544660293950699</c:v>
                </c:pt>
                <c:pt idx="405">
                  <c:v>0.23348661993751052</c:v>
                </c:pt>
                <c:pt idx="406">
                  <c:v>0.21731154458088356</c:v>
                </c:pt>
                <c:pt idx="407">
                  <c:v>0.20592893964667794</c:v>
                </c:pt>
                <c:pt idx="408">
                  <c:v>0.20592893964667794</c:v>
                </c:pt>
                <c:pt idx="409">
                  <c:v>0.20592893964667794</c:v>
                </c:pt>
                <c:pt idx="410">
                  <c:v>0.20442865984262057</c:v>
                </c:pt>
                <c:pt idx="411">
                  <c:v>0.2154011341598934</c:v>
                </c:pt>
                <c:pt idx="412">
                  <c:v>0.21822577994127898</c:v>
                </c:pt>
                <c:pt idx="413">
                  <c:v>0.19949443254875449</c:v>
                </c:pt>
                <c:pt idx="414">
                  <c:v>0.19215317902081183</c:v>
                </c:pt>
                <c:pt idx="415">
                  <c:v>0.19215317902081183</c:v>
                </c:pt>
                <c:pt idx="416">
                  <c:v>0.19215317902081183</c:v>
                </c:pt>
                <c:pt idx="417">
                  <c:v>0.18893123295184197</c:v>
                </c:pt>
                <c:pt idx="418">
                  <c:v>0.17815354247267209</c:v>
                </c:pt>
                <c:pt idx="419">
                  <c:v>0.16522431558354</c:v>
                </c:pt>
                <c:pt idx="420">
                  <c:v>0.18063393899892646</c:v>
                </c:pt>
                <c:pt idx="421">
                  <c:v>0.19526091479699431</c:v>
                </c:pt>
                <c:pt idx="422">
                  <c:v>0.19526091479699431</c:v>
                </c:pt>
                <c:pt idx="423">
                  <c:v>0.19526091479699431</c:v>
                </c:pt>
                <c:pt idx="424">
                  <c:v>0.1953417829571093</c:v>
                </c:pt>
                <c:pt idx="425">
                  <c:v>0.18874528460950457</c:v>
                </c:pt>
                <c:pt idx="426">
                  <c:v>0.207981085608681</c:v>
                </c:pt>
                <c:pt idx="427">
                  <c:v>0.20138093577013222</c:v>
                </c:pt>
                <c:pt idx="428" formatCode="0.0%">
                  <c:v>0.19713607720271908</c:v>
                </c:pt>
                <c:pt idx="429" formatCode="0.0%">
                  <c:v>0.19713607720271908</c:v>
                </c:pt>
                <c:pt idx="430" formatCode="0.0%">
                  <c:v>0.19713607720271908</c:v>
                </c:pt>
                <c:pt idx="431" formatCode="0.0%">
                  <c:v>0.1694764213666437</c:v>
                </c:pt>
                <c:pt idx="432" formatCode="0.0%">
                  <c:v>0.16039397553055251</c:v>
                </c:pt>
                <c:pt idx="433" formatCode="0.0%">
                  <c:v>0.17228153936961532</c:v>
                </c:pt>
                <c:pt idx="434" formatCode="0.0%">
                  <c:v>0.17286072522400531</c:v>
                </c:pt>
                <c:pt idx="435" formatCode="0.0%">
                  <c:v>0.16481950590185207</c:v>
                </c:pt>
                <c:pt idx="436" formatCode="0.0%">
                  <c:v>0.16481950590185207</c:v>
                </c:pt>
                <c:pt idx="437" formatCode="0.0%">
                  <c:v>0.16481950590185207</c:v>
                </c:pt>
                <c:pt idx="438" formatCode="0.0%">
                  <c:v>0.15509267526664858</c:v>
                </c:pt>
                <c:pt idx="439" formatCode="0.0%">
                  <c:v>0.16670250459235064</c:v>
                </c:pt>
                <c:pt idx="440" formatCode="0.0%">
                  <c:v>0.19696417244803982</c:v>
                </c:pt>
                <c:pt idx="441" formatCode="0.0%">
                  <c:v>0.20600744551034297</c:v>
                </c:pt>
                <c:pt idx="442" formatCode="0.0%">
                  <c:v>0.22307040827913441</c:v>
                </c:pt>
                <c:pt idx="443" formatCode="0.0%">
                  <c:v>0.22307040827913441</c:v>
                </c:pt>
                <c:pt idx="444" formatCode="0.0%">
                  <c:v>0.22307040827913441</c:v>
                </c:pt>
                <c:pt idx="445" formatCode="0.0%">
                  <c:v>0.22174747597594077</c:v>
                </c:pt>
                <c:pt idx="446" formatCode="0.0%">
                  <c:v>0.23775494638647388</c:v>
                </c:pt>
                <c:pt idx="447" formatCode="0.0%">
                  <c:v>0.23103595436339019</c:v>
                </c:pt>
                <c:pt idx="448" formatCode="0.0%">
                  <c:v>0.24057715785208317</c:v>
                </c:pt>
                <c:pt idx="449" formatCode="0.0%">
                  <c:v>0.24442872739441682</c:v>
                </c:pt>
                <c:pt idx="450" formatCode="0.0%">
                  <c:v>0.24442872739441682</c:v>
                </c:pt>
                <c:pt idx="451" formatCode="0.0%">
                  <c:v>0.24442872739441682</c:v>
                </c:pt>
                <c:pt idx="452" formatCode="0.0%">
                  <c:v>0.25082589937946637</c:v>
                </c:pt>
                <c:pt idx="453" formatCode="0.0%">
                  <c:v>0.25468101907528351</c:v>
                </c:pt>
                <c:pt idx="454" formatCode="0.0%">
                  <c:v>0.24491106036254393</c:v>
                </c:pt>
                <c:pt idx="455" formatCode="0.0%">
                  <c:v>0.23281235661742911</c:v>
                </c:pt>
                <c:pt idx="456" formatCode="0.0%">
                  <c:v>0.24475745226087114</c:v>
                </c:pt>
                <c:pt idx="457" formatCode="0.0%">
                  <c:v>0.24475745226087114</c:v>
                </c:pt>
                <c:pt idx="458" formatCode="0.0%">
                  <c:v>0.24475745226087114</c:v>
                </c:pt>
                <c:pt idx="459" formatCode="0.0%">
                  <c:v>0.25991953111800342</c:v>
                </c:pt>
                <c:pt idx="460" formatCode="0.0%">
                  <c:v>0.25449924603102986</c:v>
                </c:pt>
                <c:pt idx="461" formatCode="0.0%">
                  <c:v>0.24137886025127472</c:v>
                </c:pt>
                <c:pt idx="462" formatCode="0.0%">
                  <c:v>0.24110946618798962</c:v>
                </c:pt>
                <c:pt idx="463" formatCode="0.0%">
                  <c:v>0.24502378745552164</c:v>
                </c:pt>
                <c:pt idx="464" formatCode="0.0%">
                  <c:v>0.24502378745552164</c:v>
                </c:pt>
                <c:pt idx="465" formatCode="0.0%">
                  <c:v>0.24502378745552164</c:v>
                </c:pt>
                <c:pt idx="466" formatCode="0.0%">
                  <c:v>0.22603996280251337</c:v>
                </c:pt>
                <c:pt idx="467" formatCode="0.0%">
                  <c:v>0.22393499254576782</c:v>
                </c:pt>
                <c:pt idx="468" formatCode="0.0%">
                  <c:v>0.2373875642143139</c:v>
                </c:pt>
                <c:pt idx="469" formatCode="0.0%">
                  <c:v>0.23656845922673569</c:v>
                </c:pt>
                <c:pt idx="470" formatCode="0.0%">
                  <c:v>0.23565876810793568</c:v>
                </c:pt>
                <c:pt idx="471" formatCode="0.0%">
                  <c:v>0.23565876810793568</c:v>
                </c:pt>
                <c:pt idx="472" formatCode="0.0%">
                  <c:v>0.23565876810793568</c:v>
                </c:pt>
                <c:pt idx="473" formatCode="0.0%">
                  <c:v>0.23074967744073846</c:v>
                </c:pt>
                <c:pt idx="474" formatCode="0.0%">
                  <c:v>0.24178307981260816</c:v>
                </c:pt>
                <c:pt idx="475" formatCode="0.0%">
                  <c:v>0.23660206933357444</c:v>
                </c:pt>
                <c:pt idx="476" formatCode="0.0%">
                  <c:v>0.22537399246855158</c:v>
                </c:pt>
                <c:pt idx="477" formatCode="0.0%">
                  <c:v>0.20299833798414796</c:v>
                </c:pt>
                <c:pt idx="478" formatCode="0.0%">
                  <c:v>0.20299833798414796</c:v>
                </c:pt>
                <c:pt idx="479" formatCode="0.0%">
                  <c:v>0.20299833798414796</c:v>
                </c:pt>
                <c:pt idx="480" formatCode="0.0%">
                  <c:v>0.2049876526463936</c:v>
                </c:pt>
                <c:pt idx="481" formatCode="0.0%">
                  <c:v>0.18728024599796483</c:v>
                </c:pt>
                <c:pt idx="482" formatCode="0.0%">
                  <c:v>0.20044791591592825</c:v>
                </c:pt>
                <c:pt idx="483" formatCode="0.0%">
                  <c:v>0.22270157497294149</c:v>
                </c:pt>
                <c:pt idx="484" formatCode="0.0%">
                  <c:v>0.19621622723812734</c:v>
                </c:pt>
                <c:pt idx="485" formatCode="0.0%">
                  <c:v>0.19621622723812734</c:v>
                </c:pt>
                <c:pt idx="486" formatCode="0.0%">
                  <c:v>0.19621622723812734</c:v>
                </c:pt>
                <c:pt idx="487" formatCode="0.0%">
                  <c:v>0.19929601868887431</c:v>
                </c:pt>
                <c:pt idx="488" formatCode="0.0%">
                  <c:v>0.2025146998821809</c:v>
                </c:pt>
                <c:pt idx="489" formatCode="0.0%">
                  <c:v>0.22149779613514781</c:v>
                </c:pt>
                <c:pt idx="490" formatCode="0.0%">
                  <c:v>0.19237172835882405</c:v>
                </c:pt>
                <c:pt idx="491" formatCode="0.0%">
                  <c:v>0.17494052744742475</c:v>
                </c:pt>
                <c:pt idx="492" formatCode="0.0%">
                  <c:v>0.17494052744742475</c:v>
                </c:pt>
                <c:pt idx="493" formatCode="0.0%">
                  <c:v>0.17494052744742475</c:v>
                </c:pt>
                <c:pt idx="494" formatCode="0.0%">
                  <c:v>0.14440644102545222</c:v>
                </c:pt>
                <c:pt idx="495" formatCode="0.0%">
                  <c:v>0.1441333039693366</c:v>
                </c:pt>
                <c:pt idx="496" formatCode="0.0%">
                  <c:v>0.13492552737875171</c:v>
                </c:pt>
                <c:pt idx="497" formatCode="0.0%">
                  <c:v>0.14224073165990234</c:v>
                </c:pt>
                <c:pt idx="498" formatCode="0.0%">
                  <c:v>0.17038418208504852</c:v>
                </c:pt>
                <c:pt idx="499" formatCode="0.0%">
                  <c:v>0.17038418208504852</c:v>
                </c:pt>
                <c:pt idx="500" formatCode="0.0%">
                  <c:v>0.17038418208504852</c:v>
                </c:pt>
                <c:pt idx="501" formatCode="0.0%">
                  <c:v>0.16699209733172424</c:v>
                </c:pt>
                <c:pt idx="502" formatCode="0.0%">
                  <c:v>0.17550577747593366</c:v>
                </c:pt>
                <c:pt idx="503" formatCode="0.0%">
                  <c:v>0.14735020094600457</c:v>
                </c:pt>
                <c:pt idx="504" formatCode="0.0%">
                  <c:v>0.13212671102986534</c:v>
                </c:pt>
                <c:pt idx="505" formatCode="0.0%">
                  <c:v>0.1394054604226875</c:v>
                </c:pt>
                <c:pt idx="506" formatCode="0.0%">
                  <c:v>0.1394054604226875</c:v>
                </c:pt>
                <c:pt idx="507" formatCode="0.0%">
                  <c:v>0.1394054604226875</c:v>
                </c:pt>
                <c:pt idx="508" formatCode="0.0%">
                  <c:v>0.14520159252820178</c:v>
                </c:pt>
                <c:pt idx="509" formatCode="0.0%">
                  <c:v>0.12891765158005883</c:v>
                </c:pt>
                <c:pt idx="510" formatCode="0.0%">
                  <c:v>0.14148820462507786</c:v>
                </c:pt>
                <c:pt idx="511" formatCode="0.0%">
                  <c:v>0.15441947914634041</c:v>
                </c:pt>
                <c:pt idx="512" formatCode="0.0%">
                  <c:v>0.17948503111112005</c:v>
                </c:pt>
                <c:pt idx="513" formatCode="0.0%">
                  <c:v>0.17948503111112005</c:v>
                </c:pt>
                <c:pt idx="514" formatCode="0.0%">
                  <c:v>0.17948503111112005</c:v>
                </c:pt>
                <c:pt idx="515" formatCode="0.0%">
                  <c:v>0.17930277441612291</c:v>
                </c:pt>
                <c:pt idx="516" formatCode="0.0%">
                  <c:v>0.17955540383192797</c:v>
                </c:pt>
                <c:pt idx="517" formatCode="0.0%">
                  <c:v>0.17562409833075221</c:v>
                </c:pt>
                <c:pt idx="518" formatCode="0.0%">
                  <c:v>0.18582659947795108</c:v>
                </c:pt>
                <c:pt idx="519" formatCode="0.0%">
                  <c:v>0.17212640785815153</c:v>
                </c:pt>
                <c:pt idx="520" formatCode="0.0%">
                  <c:v>0.17212640785815153</c:v>
                </c:pt>
                <c:pt idx="521" formatCode="0.0%">
                  <c:v>0.17212640785815153</c:v>
                </c:pt>
                <c:pt idx="522" formatCode="0.0%">
                  <c:v>0.17769491377831456</c:v>
                </c:pt>
                <c:pt idx="523" formatCode="0.0%">
                  <c:v>0.18382915163429331</c:v>
                </c:pt>
                <c:pt idx="524" formatCode="0.0%">
                  <c:v>0.174420168844686</c:v>
                </c:pt>
                <c:pt idx="525" formatCode="0.0%">
                  <c:v>0.15955273208893828</c:v>
                </c:pt>
                <c:pt idx="526" formatCode="0.0%">
                  <c:v>0.14058937733215798</c:v>
                </c:pt>
                <c:pt idx="527" formatCode="0.0%">
                  <c:v>0.14058937733215798</c:v>
                </c:pt>
                <c:pt idx="528" formatCode="0.0%">
                  <c:v>0.14058937733215798</c:v>
                </c:pt>
                <c:pt idx="529" formatCode="0.0%">
                  <c:v>0.11058212484683523</c:v>
                </c:pt>
                <c:pt idx="530" formatCode="0.0%">
                  <c:v>0.10481004633454404</c:v>
                </c:pt>
                <c:pt idx="531" formatCode="0.0%">
                  <c:v>0.11672073834138558</c:v>
                </c:pt>
                <c:pt idx="532" formatCode="0.0%">
                  <c:v>8.1028518850493753E-2</c:v>
                </c:pt>
                <c:pt idx="533" formatCode="0.0%">
                  <c:v>8.2760471970083238E-2</c:v>
                </c:pt>
                <c:pt idx="534" formatCode="0.0%">
                  <c:v>8.2760471970083238E-2</c:v>
                </c:pt>
                <c:pt idx="535" formatCode="0.0%">
                  <c:v>8.2760471970083238E-2</c:v>
                </c:pt>
                <c:pt idx="536" formatCode="0.0%">
                  <c:v>7.7603200125201818E-2</c:v>
                </c:pt>
                <c:pt idx="537" formatCode="0.0%">
                  <c:v>9.5337321029923039E-2</c:v>
                </c:pt>
                <c:pt idx="538" formatCode="0.0%">
                  <c:v>8.6682647738079766E-2</c:v>
                </c:pt>
                <c:pt idx="539" formatCode="0.0%">
                  <c:v>9.8677318028007624E-2</c:v>
                </c:pt>
                <c:pt idx="540" formatCode="0.0%">
                  <c:v>0.12610104404517058</c:v>
                </c:pt>
                <c:pt idx="541" formatCode="0.0%">
                  <c:v>0.12610104404517058</c:v>
                </c:pt>
                <c:pt idx="542" formatCode="0.0%">
                  <c:v>0.12610104404517058</c:v>
                </c:pt>
                <c:pt idx="543" formatCode="0.0%">
                  <c:v>0.12395983464002597</c:v>
                </c:pt>
                <c:pt idx="544" formatCode="0.0%">
                  <c:v>0.11814901318501754</c:v>
                </c:pt>
                <c:pt idx="545" formatCode="0.0%">
                  <c:v>0.11658246164780024</c:v>
                </c:pt>
                <c:pt idx="546" formatCode="0.0%">
                  <c:v>0.10631439564197137</c:v>
                </c:pt>
                <c:pt idx="547" formatCode="0.0%">
                  <c:v>0.11779257186799867</c:v>
                </c:pt>
                <c:pt idx="548" formatCode="0.0%">
                  <c:v>0.11779257186799867</c:v>
                </c:pt>
                <c:pt idx="549" formatCode="0.0%">
                  <c:v>0.11779257186799867</c:v>
                </c:pt>
                <c:pt idx="550" formatCode="0.0%">
                  <c:v>0.11743127840444217</c:v>
                </c:pt>
                <c:pt idx="551" formatCode="0.0%">
                  <c:v>0.13199121380173537</c:v>
                </c:pt>
                <c:pt idx="552" formatCode="0.0%">
                  <c:v>0.13892031879367323</c:v>
                </c:pt>
                <c:pt idx="553" formatCode="0.0%">
                  <c:v>0.15976871713872626</c:v>
                </c:pt>
                <c:pt idx="554" formatCode="0.0%">
                  <c:v>0.16086094394675926</c:v>
                </c:pt>
                <c:pt idx="555" formatCode="0.0%">
                  <c:v>0.16086094394675926</c:v>
                </c:pt>
                <c:pt idx="556" formatCode="0.0%">
                  <c:v>0.16086094394675926</c:v>
                </c:pt>
                <c:pt idx="557" formatCode="0.0%">
                  <c:v>0.15605095017827167</c:v>
                </c:pt>
                <c:pt idx="558" formatCode="0.0%">
                  <c:v>0.15094220661970367</c:v>
                </c:pt>
                <c:pt idx="559" formatCode="0.0%">
                  <c:v>0.1409696338991438</c:v>
                </c:pt>
                <c:pt idx="560" formatCode="0.0%">
                  <c:v>0.1437889614453374</c:v>
                </c:pt>
                <c:pt idx="561" formatCode="0.0%">
                  <c:v>0.15307103231462066</c:v>
                </c:pt>
                <c:pt idx="562" formatCode="0.0%">
                  <c:v>0.15307103231462066</c:v>
                </c:pt>
                <c:pt idx="563" formatCode="0.0%">
                  <c:v>0.15307103231462066</c:v>
                </c:pt>
                <c:pt idx="564" formatCode="0.0%">
                  <c:v>0.14221738093846142</c:v>
                </c:pt>
                <c:pt idx="565" formatCode="0.0%">
                  <c:v>0.16026977631421957</c:v>
                </c:pt>
                <c:pt idx="566" formatCode="0.0%">
                  <c:v>0.17112015236335482</c:v>
                </c:pt>
                <c:pt idx="567" formatCode="0.0%">
                  <c:v>0.1818952554356052</c:v>
                </c:pt>
                <c:pt idx="568" formatCode="0.0%">
                  <c:v>0.17246172555093153</c:v>
                </c:pt>
                <c:pt idx="569" formatCode="0.0%">
                  <c:v>0.17246172555093153</c:v>
                </c:pt>
                <c:pt idx="570" formatCode="0.0%">
                  <c:v>0.17246172555093153</c:v>
                </c:pt>
                <c:pt idx="571" formatCode="0.0%">
                  <c:v>0.17379137927759644</c:v>
                </c:pt>
                <c:pt idx="572" formatCode="0.0%">
                  <c:v>0.17322321147639358</c:v>
                </c:pt>
                <c:pt idx="573" formatCode="0.0%">
                  <c:v>0.19490382204909437</c:v>
                </c:pt>
                <c:pt idx="574" formatCode="0.0%">
                  <c:v>0.20545438814122791</c:v>
                </c:pt>
                <c:pt idx="575" formatCode="0.0%">
                  <c:v>0.21493346910339681</c:v>
                </c:pt>
                <c:pt idx="576" formatCode="0.0%">
                  <c:v>0.21493346910339681</c:v>
                </c:pt>
                <c:pt idx="577" formatCode="0.0%">
                  <c:v>0.21493346910339681</c:v>
                </c:pt>
                <c:pt idx="578" formatCode="0.0%">
                  <c:v>0.20717620311614809</c:v>
                </c:pt>
                <c:pt idx="579" formatCode="0.0%">
                  <c:v>0.20609544762810741</c:v>
                </c:pt>
                <c:pt idx="580" formatCode="0.0%">
                  <c:v>0.22491800235106282</c:v>
                </c:pt>
                <c:pt idx="581" formatCode="0.0%">
                  <c:v>0.218961099953912</c:v>
                </c:pt>
                <c:pt idx="582" formatCode="0.0%">
                  <c:v>0.22162799459363214</c:v>
                </c:pt>
                <c:pt idx="583" formatCode="0.0%">
                  <c:v>0.22162799459363214</c:v>
                </c:pt>
                <c:pt idx="584" formatCode="0.0%">
                  <c:v>0.22162799459363214</c:v>
                </c:pt>
                <c:pt idx="585" formatCode="0.0%">
                  <c:v>0.21793985902684837</c:v>
                </c:pt>
                <c:pt idx="586" formatCode="0.0%">
                  <c:v>0.21140376674601996</c:v>
                </c:pt>
                <c:pt idx="587" formatCode="0.0%">
                  <c:v>0.21844128679977004</c:v>
                </c:pt>
                <c:pt idx="588" formatCode="0.0%">
                  <c:v>0.22156255033241165</c:v>
                </c:pt>
                <c:pt idx="589" formatCode="0.0%">
                  <c:v>0.24694531362778308</c:v>
                </c:pt>
                <c:pt idx="590" formatCode="0.0%">
                  <c:v>0.24694531362778308</c:v>
                </c:pt>
                <c:pt idx="591" formatCode="0.0%">
                  <c:v>0.24694531362778308</c:v>
                </c:pt>
                <c:pt idx="592" formatCode="0.0%">
                  <c:v>0.25571664086216872</c:v>
                </c:pt>
                <c:pt idx="593" formatCode="0.0%">
                  <c:v>0.25835245008280966</c:v>
                </c:pt>
                <c:pt idx="594" formatCode="0.0%">
                  <c:v>0.25237191110742713</c:v>
                </c:pt>
                <c:pt idx="595" formatCode="0.0%">
                  <c:v>0.25746340705993248</c:v>
                </c:pt>
                <c:pt idx="596" formatCode="0.0%">
                  <c:v>0.25159197024582935</c:v>
                </c:pt>
                <c:pt idx="597" formatCode="0.0%">
                  <c:v>0.25159197024582935</c:v>
                </c:pt>
                <c:pt idx="598" formatCode="0.0%">
                  <c:v>0.25159197024582935</c:v>
                </c:pt>
                <c:pt idx="599" formatCode="0.0%">
                  <c:v>0.23909290111700998</c:v>
                </c:pt>
                <c:pt idx="600" formatCode="0.0%">
                  <c:v>0.23407277695055839</c:v>
                </c:pt>
                <c:pt idx="601" formatCode="0.0%">
                  <c:v>0.23496038760676299</c:v>
                </c:pt>
                <c:pt idx="602" formatCode="0.0%">
                  <c:v>0.25201812586901001</c:v>
                </c:pt>
                <c:pt idx="603" formatCode="0.0%">
                  <c:v>0.21847804123270251</c:v>
                </c:pt>
                <c:pt idx="604" formatCode="0.0%">
                  <c:v>0.21847804123270251</c:v>
                </c:pt>
                <c:pt idx="605" formatCode="0.0%">
                  <c:v>0.21847804123270251</c:v>
                </c:pt>
                <c:pt idx="606" formatCode="0.0%">
                  <c:v>0.21016717515558711</c:v>
                </c:pt>
                <c:pt idx="607" formatCode="0.0%">
                  <c:v>0.20027408889832146</c:v>
                </c:pt>
                <c:pt idx="608" formatCode="0.0%">
                  <c:v>0.1853425161594906</c:v>
                </c:pt>
                <c:pt idx="609" formatCode="0.0%">
                  <c:v>0.19058097981670158</c:v>
                </c:pt>
                <c:pt idx="610" formatCode="0.0%">
                  <c:v>0.17705902633760659</c:v>
                </c:pt>
                <c:pt idx="611" formatCode="0.0%">
                  <c:v>0.17705902633760659</c:v>
                </c:pt>
                <c:pt idx="612" formatCode="0.0%">
                  <c:v>0.17705902633760659</c:v>
                </c:pt>
                <c:pt idx="613" formatCode="0.0%">
                  <c:v>0.18577725213037127</c:v>
                </c:pt>
                <c:pt idx="614" formatCode="0.0%">
                  <c:v>0.18261088397856981</c:v>
                </c:pt>
                <c:pt idx="615" formatCode="0.0%">
                  <c:v>0.18798897293644032</c:v>
                </c:pt>
                <c:pt idx="616" formatCode="0.0%">
                  <c:v>0.19616144939048211</c:v>
                </c:pt>
                <c:pt idx="617" formatCode="0.0%">
                  <c:v>0.2064734869149332</c:v>
                </c:pt>
                <c:pt idx="618" formatCode="0.0%">
                  <c:v>0.2064734869149332</c:v>
                </c:pt>
                <c:pt idx="619" formatCode="0.0%">
                  <c:v>0.2064734869149332</c:v>
                </c:pt>
                <c:pt idx="620" formatCode="0.0%">
                  <c:v>0.21152784356792081</c:v>
                </c:pt>
                <c:pt idx="621" formatCode="0.0%">
                  <c:v>0.18564352031820902</c:v>
                </c:pt>
                <c:pt idx="622" formatCode="0.0%">
                  <c:v>0.18498259382595422</c:v>
                </c:pt>
                <c:pt idx="623" formatCode="0.0%">
                  <c:v>0.17432222551324203</c:v>
                </c:pt>
                <c:pt idx="624" formatCode="0.0%">
                  <c:v>0.15933673461371911</c:v>
                </c:pt>
                <c:pt idx="625" formatCode="0.0%">
                  <c:v>0.15933673461371911</c:v>
                </c:pt>
                <c:pt idx="626" formatCode="0.0%">
                  <c:v>0.15933673461371911</c:v>
                </c:pt>
                <c:pt idx="627" formatCode="0.0%">
                  <c:v>0.16515266559683781</c:v>
                </c:pt>
                <c:pt idx="628" formatCode="0.0%">
                  <c:v>0.15755411609744827</c:v>
                </c:pt>
                <c:pt idx="629" formatCode="0.0%">
                  <c:v>0.15405166115501218</c:v>
                </c:pt>
                <c:pt idx="630" formatCode="0.0%">
                  <c:v>0.1489571708162522</c:v>
                </c:pt>
                <c:pt idx="631" formatCode="0.0%">
                  <c:v>0.13857211844940381</c:v>
                </c:pt>
                <c:pt idx="632" formatCode="0.0%">
                  <c:v>0.13857211844940381</c:v>
                </c:pt>
                <c:pt idx="633" formatCode="0.0%">
                  <c:v>0.13857211844940381</c:v>
                </c:pt>
                <c:pt idx="634" formatCode="0.0%">
                  <c:v>0.13032991339912228</c:v>
                </c:pt>
                <c:pt idx="635" formatCode="0.0%">
                  <c:v>0.13227992833671692</c:v>
                </c:pt>
                <c:pt idx="636" formatCode="0.0%">
                  <c:v>0.14342888116648098</c:v>
                </c:pt>
                <c:pt idx="637" formatCode="0.0%">
                  <c:v>0.11240123221114189</c:v>
                </c:pt>
                <c:pt idx="638" formatCode="0.0%">
                  <c:v>9.9926961965288677E-2</c:v>
                </c:pt>
                <c:pt idx="639" formatCode="0.0%">
                  <c:v>9.9926961965288677E-2</c:v>
                </c:pt>
                <c:pt idx="640" formatCode="0.0%">
                  <c:v>9.9926961965288677E-2</c:v>
                </c:pt>
                <c:pt idx="641" formatCode="0.0%">
                  <c:v>0.11887169402307009</c:v>
                </c:pt>
                <c:pt idx="642" formatCode="0.0%">
                  <c:v>0.13889628791070721</c:v>
                </c:pt>
                <c:pt idx="643" formatCode="0.0%">
                  <c:v>0.14824883733934072</c:v>
                </c:pt>
                <c:pt idx="644" formatCode="0.0%">
                  <c:v>0.14147234760230545</c:v>
                </c:pt>
                <c:pt idx="645" formatCode="0.0%">
                  <c:v>0.12114428362666814</c:v>
                </c:pt>
                <c:pt idx="646" formatCode="0.0%">
                  <c:v>0.12114428362666814</c:v>
                </c:pt>
                <c:pt idx="647" formatCode="0.0%">
                  <c:v>0.12114428362666814</c:v>
                </c:pt>
                <c:pt idx="648" formatCode="0.0%">
                  <c:v>0.11974026702099777</c:v>
                </c:pt>
                <c:pt idx="649" formatCode="0.0%">
                  <c:v>0.10813745855117247</c:v>
                </c:pt>
                <c:pt idx="650" formatCode="0.0%">
                  <c:v>0.10576165714001064</c:v>
                </c:pt>
                <c:pt idx="651" formatCode="0.0%">
                  <c:v>0.12061712713215172</c:v>
                </c:pt>
                <c:pt idx="652" formatCode="0.0%">
                  <c:v>0.10294736478870277</c:v>
                </c:pt>
                <c:pt idx="653" formatCode="0.0%">
                  <c:v>0.10294736478870277</c:v>
                </c:pt>
                <c:pt idx="654" formatCode="0.0%">
                  <c:v>0.10294736478870277</c:v>
                </c:pt>
                <c:pt idx="655" formatCode="0.0%">
                  <c:v>0.11889558344849079</c:v>
                </c:pt>
                <c:pt idx="656" formatCode="0.0%">
                  <c:v>0.12764397981070602</c:v>
                </c:pt>
                <c:pt idx="657" formatCode="0.0%">
                  <c:v>0.12517903035563194</c:v>
                </c:pt>
                <c:pt idx="658" formatCode="0.0%">
                  <c:v>0.11470614087247057</c:v>
                </c:pt>
                <c:pt idx="659" formatCode="0.0%">
                  <c:v>0.13391538835938405</c:v>
                </c:pt>
                <c:pt idx="660" formatCode="0.0%">
                  <c:v>0.13391538835938405</c:v>
                </c:pt>
                <c:pt idx="661" formatCode="0.0%">
                  <c:v>0.13391538835938405</c:v>
                </c:pt>
                <c:pt idx="662" formatCode="0.0%">
                  <c:v>0.13314959284787548</c:v>
                </c:pt>
                <c:pt idx="663" formatCode="0.0%">
                  <c:v>0.14301998746722774</c:v>
                </c:pt>
                <c:pt idx="664" formatCode="0.0%">
                  <c:v>0.13287526079369669</c:v>
                </c:pt>
                <c:pt idx="665" formatCode="0.0%">
                  <c:v>0.13523492218209768</c:v>
                </c:pt>
                <c:pt idx="666" formatCode="0.0%">
                  <c:v>0.15467323697128024</c:v>
                </c:pt>
                <c:pt idx="667" formatCode="0.0%">
                  <c:v>0.15467323697128024</c:v>
                </c:pt>
                <c:pt idx="668" formatCode="0.0%">
                  <c:v>0.15467323697128024</c:v>
                </c:pt>
                <c:pt idx="669" formatCode="0.0%">
                  <c:v>0.15749159344813918</c:v>
                </c:pt>
                <c:pt idx="670" formatCode="0.0%">
                  <c:v>0.16065412391884634</c:v>
                </c:pt>
                <c:pt idx="671" formatCode="0.0%">
                  <c:v>0.14252816885210989</c:v>
                </c:pt>
                <c:pt idx="672" formatCode="0.0%">
                  <c:v>0.14098475168612112</c:v>
                </c:pt>
                <c:pt idx="673" formatCode="0.0%">
                  <c:v>0.14443769346013086</c:v>
                </c:pt>
                <c:pt idx="674" formatCode="0.0%">
                  <c:v>0.14443769346013086</c:v>
                </c:pt>
                <c:pt idx="675" formatCode="0.0%">
                  <c:v>0.14443769346013086</c:v>
                </c:pt>
                <c:pt idx="676" formatCode="0.0%">
                  <c:v>0.14450681048137909</c:v>
                </c:pt>
                <c:pt idx="677" formatCode="0.0%">
                  <c:v>0.14574240364914856</c:v>
                </c:pt>
                <c:pt idx="678" formatCode="0.0%">
                  <c:v>0.13204412433826307</c:v>
                </c:pt>
                <c:pt idx="679" formatCode="0.0%">
                  <c:v>0.16404978854121224</c:v>
                </c:pt>
                <c:pt idx="680" formatCode="0.0%">
                  <c:v>0.16848531280342555</c:v>
                </c:pt>
                <c:pt idx="681" formatCode="0.0%">
                  <c:v>0.16848531280342555</c:v>
                </c:pt>
                <c:pt idx="682" formatCode="0.0%">
                  <c:v>0.16848531280342555</c:v>
                </c:pt>
                <c:pt idx="683" formatCode="0.0%">
                  <c:v>0.16062977225875882</c:v>
                </c:pt>
                <c:pt idx="684" formatCode="0.0%">
                  <c:v>0.1690428117496853</c:v>
                </c:pt>
                <c:pt idx="685" formatCode="0.0%">
                  <c:v>0.15589875693602948</c:v>
                </c:pt>
                <c:pt idx="686" formatCode="0.0%">
                  <c:v>0.15697318737181903</c:v>
                </c:pt>
                <c:pt idx="687" formatCode="0.0%">
                  <c:v>0.15993521497280683</c:v>
                </c:pt>
                <c:pt idx="688" formatCode="0.0%">
                  <c:v>0.15993521497280683</c:v>
                </c:pt>
                <c:pt idx="689" formatCode="0.0%">
                  <c:v>0.15993521497280683</c:v>
                </c:pt>
                <c:pt idx="690" formatCode="0.0%">
                  <c:v>0.16483061638975216</c:v>
                </c:pt>
                <c:pt idx="691" formatCode="0.0%">
                  <c:v>0.17321704691275158</c:v>
                </c:pt>
                <c:pt idx="692" formatCode="0.0%">
                  <c:v>0.17217081752386293</c:v>
                </c:pt>
                <c:pt idx="693" formatCode="0.0%">
                  <c:v>0.1734311889295708</c:v>
                </c:pt>
                <c:pt idx="694" formatCode="0.0%">
                  <c:v>0.17221942678659188</c:v>
                </c:pt>
                <c:pt idx="695" formatCode="0.0%">
                  <c:v>0.17221942678659188</c:v>
                </c:pt>
                <c:pt idx="696" formatCode="0.0%">
                  <c:v>0.17221942678659188</c:v>
                </c:pt>
                <c:pt idx="697" formatCode="0.0%">
                  <c:v>0.15828487149165979</c:v>
                </c:pt>
                <c:pt idx="698" formatCode="0.0%">
                  <c:v>0.16383655253212709</c:v>
                </c:pt>
                <c:pt idx="699" formatCode="0.0%">
                  <c:v>0.19612992167933099</c:v>
                </c:pt>
                <c:pt idx="700" formatCode="0.0%">
                  <c:v>0.18300109832213196</c:v>
                </c:pt>
                <c:pt idx="701" formatCode="0.0%">
                  <c:v>0.18087921485914876</c:v>
                </c:pt>
                <c:pt idx="702" formatCode="0.0%">
                  <c:v>0.18087921485914876</c:v>
                </c:pt>
                <c:pt idx="703" formatCode="0.0%">
                  <c:v>0.18087921485914876</c:v>
                </c:pt>
                <c:pt idx="704" formatCode="0.0%">
                  <c:v>0.16210874407902082</c:v>
                </c:pt>
                <c:pt idx="705" formatCode="0.0%">
                  <c:v>0.15046783835493543</c:v>
                </c:pt>
                <c:pt idx="706" formatCode="0.0%">
                  <c:v>0.14554749642995191</c:v>
                </c:pt>
                <c:pt idx="707" formatCode="0.0%">
                  <c:v>0.14853447038633832</c:v>
                </c:pt>
                <c:pt idx="708" formatCode="0.0%">
                  <c:v>0.14739955004102839</c:v>
                </c:pt>
                <c:pt idx="709" formatCode="0.0%">
                  <c:v>0.14739955004102839</c:v>
                </c:pt>
                <c:pt idx="710" formatCode="0.0%">
                  <c:v>0.14739955004102839</c:v>
                </c:pt>
                <c:pt idx="711" formatCode="0.0%">
                  <c:v>0.15549041912921638</c:v>
                </c:pt>
                <c:pt idx="712" formatCode="0.0%">
                  <c:v>0.15528256174380189</c:v>
                </c:pt>
                <c:pt idx="713" formatCode="0.0%">
                  <c:v>0.1516727905485746</c:v>
                </c:pt>
                <c:pt idx="714" formatCode="0.0%">
                  <c:v>0.12389722180178751</c:v>
                </c:pt>
                <c:pt idx="715" formatCode="0.0%">
                  <c:v>0.11530299344343958</c:v>
                </c:pt>
                <c:pt idx="716" formatCode="0.0%">
                  <c:v>0.11530299344343958</c:v>
                </c:pt>
                <c:pt idx="717" formatCode="0.0%">
                  <c:v>0.11530299344343958</c:v>
                </c:pt>
                <c:pt idx="718" formatCode="0.0%">
                  <c:v>0.11164805257246059</c:v>
                </c:pt>
                <c:pt idx="719" formatCode="0.0%">
                  <c:v>0.10720506057982888</c:v>
                </c:pt>
                <c:pt idx="720" formatCode="0.0%">
                  <c:v>0.12273753160467123</c:v>
                </c:pt>
                <c:pt idx="721" formatCode="0.0%">
                  <c:v>0.11364685586296901</c:v>
                </c:pt>
                <c:pt idx="722" formatCode="0.0%">
                  <c:v>0.11479547668168692</c:v>
                </c:pt>
                <c:pt idx="723" formatCode="0.0%">
                  <c:v>0.11479547668168692</c:v>
                </c:pt>
                <c:pt idx="724" formatCode="0.0%">
                  <c:v>0.11479547668168692</c:v>
                </c:pt>
                <c:pt idx="725" formatCode="0.0%">
                  <c:v>0.11512891244172366</c:v>
                </c:pt>
                <c:pt idx="726" formatCode="0.0%">
                  <c:v>0.11010587947869439</c:v>
                </c:pt>
                <c:pt idx="727" formatCode="0.0%">
                  <c:v>0.10382404448393828</c:v>
                </c:pt>
                <c:pt idx="728" formatCode="0.0%">
                  <c:v>0.11258741757651138</c:v>
                </c:pt>
                <c:pt idx="729" formatCode="0.0%">
                  <c:v>0.10836518318812224</c:v>
                </c:pt>
                <c:pt idx="730" formatCode="0.0%">
                  <c:v>0.10836518318812224</c:v>
                </c:pt>
                <c:pt idx="731" formatCode="0.0%">
                  <c:v>0.10836518318812224</c:v>
                </c:pt>
                <c:pt idx="732" formatCode="0.0%">
                  <c:v>0.11008593565592434</c:v>
                </c:pt>
                <c:pt idx="733" formatCode="0.0%">
                  <c:v>0.12093884993964438</c:v>
                </c:pt>
                <c:pt idx="734" formatCode="0.0%">
                  <c:v>0.12643499467654437</c:v>
                </c:pt>
                <c:pt idx="735" formatCode="0.0%">
                  <c:v>0.12541025852778362</c:v>
                </c:pt>
                <c:pt idx="736" formatCode="0.0%">
                  <c:v>0.13824895695409012</c:v>
                </c:pt>
                <c:pt idx="737" formatCode="0.0%">
                  <c:v>0.13824895695409012</c:v>
                </c:pt>
                <c:pt idx="738" formatCode="0.0%">
                  <c:v>0.13824895695409012</c:v>
                </c:pt>
                <c:pt idx="739" formatCode="0.0%">
                  <c:v>0.13185893130755133</c:v>
                </c:pt>
                <c:pt idx="740" formatCode="0.0%">
                  <c:v>0.13636641539566269</c:v>
                </c:pt>
                <c:pt idx="741" formatCode="0.0%">
                  <c:v>0.14525367600498384</c:v>
                </c:pt>
                <c:pt idx="742" formatCode="0.0%">
                  <c:v>0.14713672067344036</c:v>
                </c:pt>
                <c:pt idx="743" formatCode="0.0%">
                  <c:v>0.15216805596432123</c:v>
                </c:pt>
                <c:pt idx="744" formatCode="0.0%">
                  <c:v>0.15216805596432123</c:v>
                </c:pt>
                <c:pt idx="745" formatCode="0.0%">
                  <c:v>0.15216805596432123</c:v>
                </c:pt>
                <c:pt idx="746" formatCode="0.0%">
                  <c:v>0.15266160370527374</c:v>
                </c:pt>
                <c:pt idx="747" formatCode="0.0%">
                  <c:v>0.15502184527252694</c:v>
                </c:pt>
                <c:pt idx="748" formatCode="0.0%">
                  <c:v>0.14374381641409584</c:v>
                </c:pt>
                <c:pt idx="749" formatCode="0.0%">
                  <c:v>0.13756881311836566</c:v>
                </c:pt>
                <c:pt idx="750" formatCode="0.0%">
                  <c:v>0.14917172816397553</c:v>
                </c:pt>
                <c:pt idx="751" formatCode="0.0%">
                  <c:v>0.14917172816397553</c:v>
                </c:pt>
                <c:pt idx="752" formatCode="0.0%">
                  <c:v>0.14917172816397553</c:v>
                </c:pt>
                <c:pt idx="753" formatCode="0.0%">
                  <c:v>0.15682466552930818</c:v>
                </c:pt>
                <c:pt idx="754" formatCode="0.0%">
                  <c:v>0.15609264074897625</c:v>
                </c:pt>
                <c:pt idx="755" formatCode="0.0%">
                  <c:v>0.15375974292167527</c:v>
                </c:pt>
                <c:pt idx="756" formatCode="0.0%">
                  <c:v>0.16801121029934493</c:v>
                </c:pt>
                <c:pt idx="757" formatCode="0.0%">
                  <c:v>0.17251542934100073</c:v>
                </c:pt>
                <c:pt idx="758" formatCode="0.0%">
                  <c:v>0.17251542934100073</c:v>
                </c:pt>
                <c:pt idx="759" formatCode="0.0%">
                  <c:v>0.17251542934100073</c:v>
                </c:pt>
                <c:pt idx="760" formatCode="0.0%">
                  <c:v>0.15863812618533715</c:v>
                </c:pt>
                <c:pt idx="761" formatCode="0.0%">
                  <c:v>0.16768313303006394</c:v>
                </c:pt>
                <c:pt idx="762" formatCode="0.0%">
                  <c:v>0.17198294120245933</c:v>
                </c:pt>
                <c:pt idx="763" formatCode="0.0%">
                  <c:v>0.18401204208063945</c:v>
                </c:pt>
                <c:pt idx="764" formatCode="0.0%">
                  <c:v>0.18309095699489902</c:v>
                </c:pt>
                <c:pt idx="765" formatCode="0.0%">
                  <c:v>0.18309095699489902</c:v>
                </c:pt>
                <c:pt idx="766" formatCode="0.0%">
                  <c:v>0.18309095699489902</c:v>
                </c:pt>
                <c:pt idx="767" formatCode="0.0%">
                  <c:v>0.18356177040476851</c:v>
                </c:pt>
                <c:pt idx="768" formatCode="0.0%">
                  <c:v>0.19783904326108598</c:v>
                </c:pt>
                <c:pt idx="769" formatCode="0.0%">
                  <c:v>0.18797997176082545</c:v>
                </c:pt>
                <c:pt idx="770" formatCode="0.0%">
                  <c:v>0.18024814402660666</c:v>
                </c:pt>
                <c:pt idx="771" formatCode="0.0%">
                  <c:v>0.18675296650850484</c:v>
                </c:pt>
                <c:pt idx="772" formatCode="0.0%">
                  <c:v>0.18675296650850484</c:v>
                </c:pt>
                <c:pt idx="773" formatCode="0.0%">
                  <c:v>0.18675296650850484</c:v>
                </c:pt>
                <c:pt idx="774" formatCode="0.0%">
                  <c:v>0.192393864936449</c:v>
                </c:pt>
                <c:pt idx="775" formatCode="0.0%">
                  <c:v>0.19401737172680414</c:v>
                </c:pt>
                <c:pt idx="776" formatCode="0.0%">
                  <c:v>0.19864177855025317</c:v>
                </c:pt>
                <c:pt idx="777" formatCode="0.0%">
                  <c:v>0.1900947262598163</c:v>
                </c:pt>
                <c:pt idx="778" formatCode="0.0%">
                  <c:v>0.18508723656902931</c:v>
                </c:pt>
                <c:pt idx="779" formatCode="0.0%">
                  <c:v>0.18508723656902931</c:v>
                </c:pt>
                <c:pt idx="780" formatCode="0.0%">
                  <c:v>0.18508723656902931</c:v>
                </c:pt>
                <c:pt idx="781" formatCode="0.0%">
                  <c:v>0.18455923110661673</c:v>
                </c:pt>
                <c:pt idx="782" formatCode="0.0%">
                  <c:v>0.16723956631066442</c:v>
                </c:pt>
                <c:pt idx="783" formatCode="0.0%">
                  <c:v>0.16801144062484469</c:v>
                </c:pt>
                <c:pt idx="784" formatCode="0.0%">
                  <c:v>0.17483738619346353</c:v>
                </c:pt>
                <c:pt idx="785" formatCode="0.0%">
                  <c:v>0.16716418300817892</c:v>
                </c:pt>
                <c:pt idx="786" formatCode="0.0%">
                  <c:v>0.16716418300817892</c:v>
                </c:pt>
                <c:pt idx="787" formatCode="0.0%">
                  <c:v>0.16716418300817892</c:v>
                </c:pt>
                <c:pt idx="788" formatCode="0.0%">
                  <c:v>0.16552928900300798</c:v>
                </c:pt>
                <c:pt idx="789" formatCode="0.0%">
                  <c:v>0.16206895430033441</c:v>
                </c:pt>
                <c:pt idx="790" formatCode="0.0%">
                  <c:v>0.1544199007558214</c:v>
                </c:pt>
                <c:pt idx="791" formatCode="0.0%">
                  <c:v>0.16568941463091305</c:v>
                </c:pt>
                <c:pt idx="792" formatCode="0.0%">
                  <c:v>0.18291397301090512</c:v>
                </c:pt>
                <c:pt idx="793" formatCode="0.0%">
                  <c:v>0.18291397301090512</c:v>
                </c:pt>
                <c:pt idx="794" formatCode="0.0%">
                  <c:v>0.18291397301090512</c:v>
                </c:pt>
                <c:pt idx="795" formatCode="0.0%">
                  <c:v>0.17736794370242848</c:v>
                </c:pt>
                <c:pt idx="796" formatCode="0.0%">
                  <c:v>0.17166143028189992</c:v>
                </c:pt>
                <c:pt idx="797" formatCode="0.0%">
                  <c:v>0.17412330432748518</c:v>
                </c:pt>
                <c:pt idx="798" formatCode="0.0%">
                  <c:v>0.15835579534739311</c:v>
                </c:pt>
                <c:pt idx="799" formatCode="0.0%">
                  <c:v>0.13139157512011693</c:v>
                </c:pt>
                <c:pt idx="800" formatCode="0.0%">
                  <c:v>0.13139157512011693</c:v>
                </c:pt>
                <c:pt idx="801" formatCode="0.0%">
                  <c:v>0.13139157512011693</c:v>
                </c:pt>
                <c:pt idx="802" formatCode="0.0%">
                  <c:v>0.12237339468712108</c:v>
                </c:pt>
                <c:pt idx="803" formatCode="0.0%">
                  <c:v>0.13309798365855913</c:v>
                </c:pt>
                <c:pt idx="804" formatCode="0.0%">
                  <c:v>0.13992954202908806</c:v>
                </c:pt>
                <c:pt idx="805" formatCode="0.0%">
                  <c:v>0.14574188910861893</c:v>
                </c:pt>
                <c:pt idx="806" formatCode="0.0%">
                  <c:v>0.13570222919294564</c:v>
                </c:pt>
                <c:pt idx="807" formatCode="0.0%">
                  <c:v>0.13570222919294564</c:v>
                </c:pt>
                <c:pt idx="808" formatCode="0.0%">
                  <c:v>0.13570222919294564</c:v>
                </c:pt>
                <c:pt idx="809" formatCode="0.0%">
                  <c:v>0.13494718912548564</c:v>
                </c:pt>
                <c:pt idx="810" formatCode="0.0%">
                  <c:v>0.14380577713029369</c:v>
                </c:pt>
                <c:pt idx="811" formatCode="0.0%">
                  <c:v>0.13333928756825059</c:v>
                </c:pt>
                <c:pt idx="812" formatCode="0.0%">
                  <c:v>0.12970872668783387</c:v>
                </c:pt>
                <c:pt idx="813" formatCode="0.0%">
                  <c:v>0.14124078537090726</c:v>
                </c:pt>
                <c:pt idx="814" formatCode="0.0%">
                  <c:v>0.14124078537090726</c:v>
                </c:pt>
                <c:pt idx="815" formatCode="0.0%">
                  <c:v>0.14124078537090726</c:v>
                </c:pt>
                <c:pt idx="816" formatCode="0.0%">
                  <c:v>0.14178438399810503</c:v>
                </c:pt>
                <c:pt idx="817" formatCode="0.0%">
                  <c:v>0.13801199312882645</c:v>
                </c:pt>
                <c:pt idx="818" formatCode="0.0%">
                  <c:v>0.15234442972510137</c:v>
                </c:pt>
                <c:pt idx="819" formatCode="0.0%">
                  <c:v>0.15260603925754565</c:v>
                </c:pt>
                <c:pt idx="820" formatCode="0.0%">
                  <c:v>0.17034073746252504</c:v>
                </c:pt>
                <c:pt idx="821" formatCode="0.0%">
                  <c:v>0.17034073746252504</c:v>
                </c:pt>
                <c:pt idx="822" formatCode="0.0%">
                  <c:v>0.17034073746252504</c:v>
                </c:pt>
                <c:pt idx="823" formatCode="0.0%">
                  <c:v>0.17246854837446349</c:v>
                </c:pt>
                <c:pt idx="824" formatCode="0.0%">
                  <c:v>0.16109249928804559</c:v>
                </c:pt>
                <c:pt idx="825" formatCode="0.0%">
                  <c:v>0.16270698497021299</c:v>
                </c:pt>
                <c:pt idx="826" formatCode="0.0%">
                  <c:v>0.16370086168833795</c:v>
                </c:pt>
                <c:pt idx="827" formatCode="0.0%">
                  <c:v>0.16414449975993506</c:v>
                </c:pt>
                <c:pt idx="828" formatCode="0.0%">
                  <c:v>0.16414449975993506</c:v>
                </c:pt>
                <c:pt idx="829" formatCode="0.0%">
                  <c:v>0.16414449975993506</c:v>
                </c:pt>
                <c:pt idx="830" formatCode="0.0%">
                  <c:v>0.17180304800318694</c:v>
                </c:pt>
                <c:pt idx="831" formatCode="0.0%">
                  <c:v>0.16889267925692594</c:v>
                </c:pt>
                <c:pt idx="832" formatCode="0.0%">
                  <c:v>0.16122592200201497</c:v>
                </c:pt>
                <c:pt idx="833" formatCode="0.0%">
                  <c:v>0.16680724097817404</c:v>
                </c:pt>
                <c:pt idx="834" formatCode="0.0%">
                  <c:v>0.17013121515317864</c:v>
                </c:pt>
                <c:pt idx="835" formatCode="0.0%">
                  <c:v>0.17013121515317864</c:v>
                </c:pt>
                <c:pt idx="836" formatCode="0.0%">
                  <c:v>0.17013121515317864</c:v>
                </c:pt>
                <c:pt idx="837" formatCode="0.0%">
                  <c:v>0.18097252488922039</c:v>
                </c:pt>
                <c:pt idx="838" formatCode="0.0%">
                  <c:v>0.17879113324976545</c:v>
                </c:pt>
                <c:pt idx="839" formatCode="0.0%">
                  <c:v>0.17712901208452464</c:v>
                </c:pt>
                <c:pt idx="840" formatCode="0.0%">
                  <c:v>0.17115056544733803</c:v>
                </c:pt>
                <c:pt idx="841" formatCode="0.0%">
                  <c:v>0.17047924479639007</c:v>
                </c:pt>
                <c:pt idx="842" formatCode="0.0%">
                  <c:v>0.17047924479639007</c:v>
                </c:pt>
                <c:pt idx="843" formatCode="0.0%">
                  <c:v>0.17047924479639007</c:v>
                </c:pt>
                <c:pt idx="844" formatCode="0.0%">
                  <c:v>0.16602404878573013</c:v>
                </c:pt>
                <c:pt idx="845" formatCode="0.0%">
                  <c:v>0.15646675379877423</c:v>
                </c:pt>
                <c:pt idx="846" formatCode="0.0%">
                  <c:v>0.14639701501362581</c:v>
                </c:pt>
                <c:pt idx="847" formatCode="0.0%">
                  <c:v>0.16375577985285147</c:v>
                </c:pt>
                <c:pt idx="848" formatCode="0.0%">
                  <c:v>0.16893825018937278</c:v>
                </c:pt>
                <c:pt idx="849" formatCode="0.0%">
                  <c:v>0.16893825018937278</c:v>
                </c:pt>
                <c:pt idx="850" formatCode="0.0%">
                  <c:v>0.16893825018937278</c:v>
                </c:pt>
                <c:pt idx="851" formatCode="0.0%">
                  <c:v>0.17446310721439601</c:v>
                </c:pt>
                <c:pt idx="852" formatCode="0.0%">
                  <c:v>0.16306343615810989</c:v>
                </c:pt>
                <c:pt idx="853" formatCode="0.0%">
                  <c:v>0.15195345481305808</c:v>
                </c:pt>
                <c:pt idx="854" formatCode="0.0%">
                  <c:v>0.15198164151704746</c:v>
                </c:pt>
                <c:pt idx="855" formatCode="0.0%">
                  <c:v>0.16797445586891668</c:v>
                </c:pt>
                <c:pt idx="856" formatCode="0.0%">
                  <c:v>0.16797445586891668</c:v>
                </c:pt>
                <c:pt idx="857" formatCode="0.0%">
                  <c:v>0.16797445586891668</c:v>
                </c:pt>
                <c:pt idx="858" formatCode="0.0%">
                  <c:v>0.16991624389168863</c:v>
                </c:pt>
                <c:pt idx="859" formatCode="0.0%">
                  <c:v>0.17037584849904036</c:v>
                </c:pt>
                <c:pt idx="860" formatCode="0.0%">
                  <c:v>0.17146462461914141</c:v>
                </c:pt>
                <c:pt idx="861" formatCode="0.0%">
                  <c:v>0.17476886291767627</c:v>
                </c:pt>
                <c:pt idx="862" formatCode="0.0%">
                  <c:v>0.17796889122838791</c:v>
                </c:pt>
                <c:pt idx="863" formatCode="0.0%">
                  <c:v>0.17796889122838791</c:v>
                </c:pt>
                <c:pt idx="864" formatCode="0.0%">
                  <c:v>0.17796889122838791</c:v>
                </c:pt>
                <c:pt idx="865" formatCode="0.0%">
                  <c:v>0.18235208076381554</c:v>
                </c:pt>
                <c:pt idx="866" formatCode="0.0%">
                  <c:v>0.17602447411798239</c:v>
                </c:pt>
                <c:pt idx="867" formatCode="0.0%">
                  <c:v>0.18763269925531589</c:v>
                </c:pt>
                <c:pt idx="868" formatCode="0.0%">
                  <c:v>0.20115645512917227</c:v>
                </c:pt>
                <c:pt idx="869" formatCode="0.0%">
                  <c:v>0.20028272499017219</c:v>
                </c:pt>
                <c:pt idx="870" formatCode="0.0%">
                  <c:v>0.20028272499017219</c:v>
                </c:pt>
                <c:pt idx="871" formatCode="0.0%">
                  <c:v>0.20028272499017219</c:v>
                </c:pt>
                <c:pt idx="872" formatCode="0.0%">
                  <c:v>0.20091885431986384</c:v>
                </c:pt>
                <c:pt idx="873" formatCode="0.0%">
                  <c:v>0.19184426626174855</c:v>
                </c:pt>
                <c:pt idx="874" formatCode="0.0%">
                  <c:v>0.18223020503505608</c:v>
                </c:pt>
                <c:pt idx="875" formatCode="0.0%">
                  <c:v>0.18833722790848384</c:v>
                </c:pt>
                <c:pt idx="876" formatCode="0.0%">
                  <c:v>0.20379777402900573</c:v>
                </c:pt>
                <c:pt idx="877" formatCode="0.0%">
                  <c:v>0.20379777402900573</c:v>
                </c:pt>
                <c:pt idx="878" formatCode="0.0%">
                  <c:v>0.20379777402900573</c:v>
                </c:pt>
                <c:pt idx="879" formatCode="0.0%">
                  <c:v>0.20423645006970731</c:v>
                </c:pt>
                <c:pt idx="880" formatCode="0.0%">
                  <c:v>0.20016292208122891</c:v>
                </c:pt>
                <c:pt idx="881" formatCode="0.0%">
                  <c:v>0.19648126441192487</c:v>
                </c:pt>
                <c:pt idx="882" formatCode="0.0%">
                  <c:v>0.20115288143002402</c:v>
                </c:pt>
                <c:pt idx="883" formatCode="0.0%">
                  <c:v>0.22080422209830813</c:v>
                </c:pt>
                <c:pt idx="884" formatCode="0.0%">
                  <c:v>0.22080422209830813</c:v>
                </c:pt>
                <c:pt idx="885" formatCode="0.0%">
                  <c:v>0.22080422209830813</c:v>
                </c:pt>
                <c:pt idx="886" formatCode="0.0%">
                  <c:v>0.22153674742584742</c:v>
                </c:pt>
                <c:pt idx="887" formatCode="0.0%">
                  <c:v>0.22729071778241902</c:v>
                </c:pt>
                <c:pt idx="888" formatCode="0.0%">
                  <c:v>0.22211153097724748</c:v>
                </c:pt>
                <c:pt idx="889" formatCode="0.0%">
                  <c:v>0.22097317536198788</c:v>
                </c:pt>
                <c:pt idx="890" formatCode="0.0%">
                  <c:v>0.22516439356442602</c:v>
                </c:pt>
                <c:pt idx="891" formatCode="0.0%">
                  <c:v>0.22516439356442602</c:v>
                </c:pt>
                <c:pt idx="892" formatCode="0.0%">
                  <c:v>0.22516439356442602</c:v>
                </c:pt>
                <c:pt idx="893" formatCode="0.0%">
                  <c:v>0.23421765334730396</c:v>
                </c:pt>
                <c:pt idx="894" formatCode="0.0%">
                  <c:v>0.23834270365651761</c:v>
                </c:pt>
                <c:pt idx="895" formatCode="0.0%">
                  <c:v>0.23646859298876977</c:v>
                </c:pt>
                <c:pt idx="896" formatCode="0.0%">
                  <c:v>0.24129005517786495</c:v>
                </c:pt>
                <c:pt idx="897" formatCode="0.0%">
                  <c:v>0.23864477160075778</c:v>
                </c:pt>
                <c:pt idx="898" formatCode="0.0%">
                  <c:v>0.23864477160075778</c:v>
                </c:pt>
                <c:pt idx="899" formatCode="0.0%">
                  <c:v>0.23864477160075778</c:v>
                </c:pt>
                <c:pt idx="900" formatCode="0.0%">
                  <c:v>0.2349601698243933</c:v>
                </c:pt>
                <c:pt idx="901" formatCode="0.0%">
                  <c:v>0.23048657921122925</c:v>
                </c:pt>
                <c:pt idx="902" formatCode="0.0%">
                  <c:v>0.21908115756867502</c:v>
                </c:pt>
                <c:pt idx="903" formatCode="0.0%">
                  <c:v>0.21929413953280361</c:v>
                </c:pt>
                <c:pt idx="904" formatCode="0.0%">
                  <c:v>0.21584073222481437</c:v>
                </c:pt>
                <c:pt idx="905" formatCode="0.0%">
                  <c:v>0.21584073222481437</c:v>
                </c:pt>
                <c:pt idx="906" formatCode="0.0%">
                  <c:v>0.21584073222481437</c:v>
                </c:pt>
                <c:pt idx="907" formatCode="0.0%">
                  <c:v>0.20983975689695569</c:v>
                </c:pt>
                <c:pt idx="908" formatCode="0.0%">
                  <c:v>0.21594486232731058</c:v>
                </c:pt>
                <c:pt idx="909" formatCode="0.0%">
                  <c:v>0.22253947821703221</c:v>
                </c:pt>
                <c:pt idx="910" formatCode="0.0%">
                  <c:v>0.22681087723220045</c:v>
                </c:pt>
                <c:pt idx="911" formatCode="0.0%">
                  <c:v>0.2368900893253037</c:v>
                </c:pt>
                <c:pt idx="912" formatCode="0.0%">
                  <c:v>0.2368900893253037</c:v>
                </c:pt>
                <c:pt idx="913" formatCode="0.0%">
                  <c:v>0.2368900893253037</c:v>
                </c:pt>
                <c:pt idx="914" formatCode="0.0%">
                  <c:v>0.24171238360111261</c:v>
                </c:pt>
                <c:pt idx="915" formatCode="0.0%">
                  <c:v>0.24253754412341053</c:v>
                </c:pt>
                <c:pt idx="916" formatCode="0.0%">
                  <c:v>0.24098411368085706</c:v>
                </c:pt>
                <c:pt idx="917" formatCode="0.0%">
                  <c:v>0.22639898329283098</c:v>
                </c:pt>
                <c:pt idx="918" formatCode="0.0%">
                  <c:v>0.21686683051645089</c:v>
                </c:pt>
                <c:pt idx="919" formatCode="0.0%">
                  <c:v>0.21686683051645089</c:v>
                </c:pt>
                <c:pt idx="920" formatCode="0.0%">
                  <c:v>0.21686683051645089</c:v>
                </c:pt>
                <c:pt idx="921" formatCode="0.0%">
                  <c:v>0.21683246053103816</c:v>
                </c:pt>
                <c:pt idx="922" formatCode="0.0%">
                  <c:v>0.22537684715747616</c:v>
                </c:pt>
                <c:pt idx="923" formatCode="0.0%">
                  <c:v>0.22476469531781076</c:v>
                </c:pt>
                <c:pt idx="924" formatCode="0.0%">
                  <c:v>0.23050529354734706</c:v>
                </c:pt>
                <c:pt idx="925" formatCode="0.0%">
                  <c:v>0.225152248943957</c:v>
                </c:pt>
                <c:pt idx="926" formatCode="0.0%">
                  <c:v>0.225152248943957</c:v>
                </c:pt>
                <c:pt idx="927" formatCode="0.0%">
                  <c:v>0.225152248943957</c:v>
                </c:pt>
                <c:pt idx="928" formatCode="0.0%">
                  <c:v>0.22795962137717041</c:v>
                </c:pt>
                <c:pt idx="929" formatCode="0.0%">
                  <c:v>0.23427651290563276</c:v>
                </c:pt>
                <c:pt idx="930" formatCode="0.0%">
                  <c:v>0.2410282669150918</c:v>
                </c:pt>
                <c:pt idx="931" formatCode="0.0%">
                  <c:v>0.23908235141329073</c:v>
                </c:pt>
                <c:pt idx="932" formatCode="0.0%">
                  <c:v>0.24200701114372208</c:v>
                </c:pt>
                <c:pt idx="933" formatCode="0.0%">
                  <c:v>0.24200701114372208</c:v>
                </c:pt>
                <c:pt idx="934" formatCode="0.0%">
                  <c:v>0.24200701114372208</c:v>
                </c:pt>
                <c:pt idx="935" formatCode="0.0%">
                  <c:v>0.24892054953136267</c:v>
                </c:pt>
                <c:pt idx="936" formatCode="0.0%">
                  <c:v>0.25835205090010832</c:v>
                </c:pt>
                <c:pt idx="937" formatCode="0.0%">
                  <c:v>0.25594115804318318</c:v>
                </c:pt>
                <c:pt idx="938" formatCode="0.0%">
                  <c:v>0.2609757077068966</c:v>
                </c:pt>
                <c:pt idx="939" formatCode="0.0%">
                  <c:v>0.26575854261938203</c:v>
                </c:pt>
                <c:pt idx="940" formatCode="0.0%">
                  <c:v>0.26575854261938203</c:v>
                </c:pt>
                <c:pt idx="941" formatCode="0.0%">
                  <c:v>0.26575854261938203</c:v>
                </c:pt>
                <c:pt idx="942" formatCode="0.0%">
                  <c:v>0.26985601590189079</c:v>
                </c:pt>
                <c:pt idx="943" formatCode="0.0%">
                  <c:v>0.26881476142134092</c:v>
                </c:pt>
                <c:pt idx="944" formatCode="0.0%">
                  <c:v>0.253953281136438</c:v>
                </c:pt>
                <c:pt idx="945" formatCode="0.0%">
                  <c:v>0.24887888792695392</c:v>
                </c:pt>
                <c:pt idx="946" formatCode="0.0%">
                  <c:v>0.23774594958447692</c:v>
                </c:pt>
                <c:pt idx="947" formatCode="0.0%">
                  <c:v>0.23774594958447692</c:v>
                </c:pt>
                <c:pt idx="948" formatCode="0.0%">
                  <c:v>0.23774594958447692</c:v>
                </c:pt>
                <c:pt idx="949" formatCode="0.0%">
                  <c:v>0.24606334162704102</c:v>
                </c:pt>
                <c:pt idx="950" formatCode="0.0%">
                  <c:v>0.2450355864597806</c:v>
                </c:pt>
                <c:pt idx="951" formatCode="0.0%">
                  <c:v>0.23725370922465033</c:v>
                </c:pt>
                <c:pt idx="952" formatCode="0.0%">
                  <c:v>0.23681401383076689</c:v>
                </c:pt>
                <c:pt idx="953" formatCode="0.0%">
                  <c:v>0.23615504601178983</c:v>
                </c:pt>
                <c:pt idx="954" formatCode="0.0%">
                  <c:v>0.23615504601178983</c:v>
                </c:pt>
                <c:pt idx="955" formatCode="0.0%">
                  <c:v>0.23615504601178983</c:v>
                </c:pt>
                <c:pt idx="956" formatCode="0.0%">
                  <c:v>0.24417683501695464</c:v>
                </c:pt>
                <c:pt idx="957" formatCode="0.0%">
                  <c:v>0.22888656442656313</c:v>
                </c:pt>
                <c:pt idx="958" formatCode="0.0%">
                  <c:v>0.2234253957988841</c:v>
                </c:pt>
                <c:pt idx="959" formatCode="0.0%">
                  <c:v>0.21643479734336851</c:v>
                </c:pt>
                <c:pt idx="960" formatCode="0.0%">
                  <c:v>0.21535340186623059</c:v>
                </c:pt>
                <c:pt idx="961" formatCode="0.0%">
                  <c:v>0.21535340186623059</c:v>
                </c:pt>
                <c:pt idx="962" formatCode="0.0%">
                  <c:v>0.21535340186623059</c:v>
                </c:pt>
                <c:pt idx="963" formatCode="0.0%">
                  <c:v>0.21829104870561225</c:v>
                </c:pt>
                <c:pt idx="964" formatCode="0.0%">
                  <c:v>0.22295724196200267</c:v>
                </c:pt>
                <c:pt idx="965" formatCode="0.0%">
                  <c:v>0.23476834820285306</c:v>
                </c:pt>
                <c:pt idx="966" formatCode="0.0%">
                  <c:v>0.22536971921795981</c:v>
                </c:pt>
                <c:pt idx="967" formatCode="0.0%">
                  <c:v>0.2340212224668923</c:v>
                </c:pt>
                <c:pt idx="968" formatCode="0.0%">
                  <c:v>0.2340212224668923</c:v>
                </c:pt>
                <c:pt idx="969" formatCode="0.0%">
                  <c:v>0.2340212224668923</c:v>
                </c:pt>
                <c:pt idx="970" formatCode="0.0%">
                  <c:v>0.23978897655514131</c:v>
                </c:pt>
                <c:pt idx="971" formatCode="0.0%">
                  <c:v>0.25363065240485239</c:v>
                </c:pt>
                <c:pt idx="972" formatCode="0.0%">
                  <c:v>0.24827278643478023</c:v>
                </c:pt>
                <c:pt idx="973" formatCode="0.0%">
                  <c:v>0.2540301738714193</c:v>
                </c:pt>
                <c:pt idx="974" formatCode="0.0%">
                  <c:v>0.26145957442949624</c:v>
                </c:pt>
                <c:pt idx="975" formatCode="0.0%">
                  <c:v>0.26145957442949624</c:v>
                </c:pt>
                <c:pt idx="976" formatCode="0.0%">
                  <c:v>0.26145957442949624</c:v>
                </c:pt>
                <c:pt idx="977" formatCode="0.0%">
                  <c:v>0.26552872673207362</c:v>
                </c:pt>
                <c:pt idx="978" formatCode="0.0%">
                  <c:v>0.26725321655296014</c:v>
                </c:pt>
                <c:pt idx="979" formatCode="0.0%">
                  <c:v>0.26050464934088624</c:v>
                </c:pt>
                <c:pt idx="980" formatCode="0.0%">
                  <c:v>0.25691815172539451</c:v>
                </c:pt>
                <c:pt idx="981" formatCode="0.0%">
                  <c:v>0.25630521717018967</c:v>
                </c:pt>
                <c:pt idx="982" formatCode="0.0%">
                  <c:v>0.25630521717018967</c:v>
                </c:pt>
                <c:pt idx="983" formatCode="0.0%">
                  <c:v>0.25630521717018967</c:v>
                </c:pt>
                <c:pt idx="984" formatCode="0.0%">
                  <c:v>0.26131374567067495</c:v>
                </c:pt>
                <c:pt idx="985" formatCode="0.0%">
                  <c:v>0.25995326216583092</c:v>
                </c:pt>
                <c:pt idx="986" formatCode="0.0%">
                  <c:v>0.25740847474157064</c:v>
                </c:pt>
                <c:pt idx="987" formatCode="0.0%">
                  <c:v>0.27674653724570902</c:v>
                </c:pt>
                <c:pt idx="988" formatCode="0.0%">
                  <c:v>0.26887417046406026</c:v>
                </c:pt>
                <c:pt idx="989" formatCode="0.0%">
                  <c:v>0.26887417046406026</c:v>
                </c:pt>
                <c:pt idx="990" formatCode="0.0%">
                  <c:v>0.26887417046406026</c:v>
                </c:pt>
                <c:pt idx="991" formatCode="0.0%">
                  <c:v>0.26406043549150099</c:v>
                </c:pt>
                <c:pt idx="992" formatCode="0.0%">
                  <c:v>0.26019131996547146</c:v>
                </c:pt>
                <c:pt idx="993" formatCode="0.0%">
                  <c:v>0.25043201318491243</c:v>
                </c:pt>
                <c:pt idx="994" formatCode="0.0%">
                  <c:v>0.2364506193822129</c:v>
                </c:pt>
                <c:pt idx="995" formatCode="0.0%">
                  <c:v>0.23585744000474734</c:v>
                </c:pt>
                <c:pt idx="996" formatCode="0.0%">
                  <c:v>0.23585744000474734</c:v>
                </c:pt>
                <c:pt idx="997" formatCode="0.0%">
                  <c:v>0.23585744000474734</c:v>
                </c:pt>
                <c:pt idx="998" formatCode="0.0%">
                  <c:v>0.24437060828493087</c:v>
                </c:pt>
                <c:pt idx="999" formatCode="0.0%">
                  <c:v>0.22866136963531189</c:v>
                </c:pt>
                <c:pt idx="1000" formatCode="0.0%">
                  <c:v>0.23561023211563609</c:v>
                </c:pt>
                <c:pt idx="1001" formatCode="0.0%">
                  <c:v>0.2358085658823387</c:v>
                </c:pt>
                <c:pt idx="1002" formatCode="0.0%">
                  <c:v>0.2330312784864958</c:v>
                </c:pt>
                <c:pt idx="1003" formatCode="0.0%">
                  <c:v>0.2330312784864958</c:v>
                </c:pt>
                <c:pt idx="1004" formatCode="0.0%">
                  <c:v>0.2330312784864958</c:v>
                </c:pt>
                <c:pt idx="1005" formatCode="0.0%">
                  <c:v>0.23779100032838002</c:v>
                </c:pt>
                <c:pt idx="1006" formatCode="0.0%">
                  <c:v>0.22360936776387447</c:v>
                </c:pt>
                <c:pt idx="1007" formatCode="0.0%">
                  <c:v>0.22435563700650718</c:v>
                </c:pt>
                <c:pt idx="1008" formatCode="0.0%">
                  <c:v>0.2225343177438468</c:v>
                </c:pt>
                <c:pt idx="1009" formatCode="0.0%">
                  <c:v>0.23372055183602497</c:v>
                </c:pt>
                <c:pt idx="1010" formatCode="0.0%">
                  <c:v>0.23372055183602497</c:v>
                </c:pt>
                <c:pt idx="1011" formatCode="0.0%">
                  <c:v>0.23372055183602497</c:v>
                </c:pt>
                <c:pt idx="1012" formatCode="0.0%">
                  <c:v>0.23788605635545679</c:v>
                </c:pt>
                <c:pt idx="1013" formatCode="0.0%">
                  <c:v>0.24431614555136774</c:v>
                </c:pt>
                <c:pt idx="1014" formatCode="0.0%">
                  <c:v>0.24759743654229113</c:v>
                </c:pt>
                <c:pt idx="1015" formatCode="0.0%">
                  <c:v>0.25048498232466132</c:v>
                </c:pt>
                <c:pt idx="1016" formatCode="0.0%">
                  <c:v>0.24683421877667697</c:v>
                </c:pt>
                <c:pt idx="1017" formatCode="0.0%">
                  <c:v>0.24683421877667697</c:v>
                </c:pt>
                <c:pt idx="1018" formatCode="0.0%">
                  <c:v>0.24683421877667697</c:v>
                </c:pt>
                <c:pt idx="1019" formatCode="0.0%">
                  <c:v>0.24992489457337214</c:v>
                </c:pt>
                <c:pt idx="1020" formatCode="0.0%">
                  <c:v>0.24881562732701995</c:v>
                </c:pt>
                <c:pt idx="1021" formatCode="0.0%">
                  <c:v>0.23815931018228539</c:v>
                </c:pt>
                <c:pt idx="1022" formatCode="0.0%">
                  <c:v>0.22283537032063377</c:v>
                </c:pt>
                <c:pt idx="1023" formatCode="0.0%">
                  <c:v>0.20668769290451877</c:v>
                </c:pt>
                <c:pt idx="1024" formatCode="0.0%">
                  <c:v>0.20668769290451877</c:v>
                </c:pt>
                <c:pt idx="1025" formatCode="0.0%">
                  <c:v>0.20668769290451877</c:v>
                </c:pt>
                <c:pt idx="1026" formatCode="0.0%">
                  <c:v>0.19939234257825447</c:v>
                </c:pt>
                <c:pt idx="1027" formatCode="0.0%">
                  <c:v>0.20907668781030211</c:v>
                </c:pt>
                <c:pt idx="1028" formatCode="0.0%">
                  <c:v>0.19905388410810873</c:v>
                </c:pt>
                <c:pt idx="1029" formatCode="0.0%">
                  <c:v>0.19041874539638726</c:v>
                </c:pt>
                <c:pt idx="1030" formatCode="0.0%">
                  <c:v>0.18437308220918028</c:v>
                </c:pt>
                <c:pt idx="1031" formatCode="0.0%">
                  <c:v>0.18437308220918028</c:v>
                </c:pt>
                <c:pt idx="1032" formatCode="0.0%">
                  <c:v>0.18437308220918028</c:v>
                </c:pt>
                <c:pt idx="1033" formatCode="0.0%">
                  <c:v>0.19003129130265564</c:v>
                </c:pt>
                <c:pt idx="1034" formatCode="0.0%">
                  <c:v>0.19903908686160407</c:v>
                </c:pt>
                <c:pt idx="1035" formatCode="0.0%">
                  <c:v>0.21409910087406245</c:v>
                </c:pt>
                <c:pt idx="1036" formatCode="0.0%">
                  <c:v>0.22820170012137539</c:v>
                </c:pt>
                <c:pt idx="1037" formatCode="0.0%">
                  <c:v>0.22890593830973502</c:v>
                </c:pt>
                <c:pt idx="1038" formatCode="0.0%">
                  <c:v>0.22890593830973502</c:v>
                </c:pt>
                <c:pt idx="1039" formatCode="0.0%">
                  <c:v>0.22890593830973502</c:v>
                </c:pt>
                <c:pt idx="1040" formatCode="0.0%">
                  <c:v>0.23215836046206006</c:v>
                </c:pt>
                <c:pt idx="1041" formatCode="0.0%">
                  <c:v>0.23700381625132549</c:v>
                </c:pt>
                <c:pt idx="1042" formatCode="0.0%">
                  <c:v>0.23461461205648021</c:v>
                </c:pt>
                <c:pt idx="1043" formatCode="0.0%">
                  <c:v>0.22995235881582388</c:v>
                </c:pt>
                <c:pt idx="1044" formatCode="0.0%">
                  <c:v>0.2424162401157659</c:v>
                </c:pt>
                <c:pt idx="1045" formatCode="0.0%">
                  <c:v>0.2424162401157659</c:v>
                </c:pt>
                <c:pt idx="1046" formatCode="0.0%">
                  <c:v>0.2424162401157659</c:v>
                </c:pt>
                <c:pt idx="1047" formatCode="0.0%">
                  <c:v>0.24224632505686941</c:v>
                </c:pt>
                <c:pt idx="1048" formatCode="0.0%">
                  <c:v>0.24881079870035805</c:v>
                </c:pt>
                <c:pt idx="1049" formatCode="0.0%">
                  <c:v>0.2534093173290688</c:v>
                </c:pt>
                <c:pt idx="1050" formatCode="0.0%">
                  <c:v>0.25139507882735429</c:v>
                </c:pt>
                <c:pt idx="1051" formatCode="0.0%">
                  <c:v>0.25371822555073847</c:v>
                </c:pt>
                <c:pt idx="1052" formatCode="0.0%">
                  <c:v>0.25371822555073847</c:v>
                </c:pt>
                <c:pt idx="1053" formatCode="0.0%">
                  <c:v>0.25371822555073847</c:v>
                </c:pt>
                <c:pt idx="1054" formatCode="0.0%">
                  <c:v>0.25634492341440152</c:v>
                </c:pt>
                <c:pt idx="1055" formatCode="0.0%">
                  <c:v>0.25525562457899981</c:v>
                </c:pt>
                <c:pt idx="1056" formatCode="0.0%">
                  <c:v>0.26440565575987235</c:v>
                </c:pt>
                <c:pt idx="1057" formatCode="0.0%">
                  <c:v>0.26159694350137896</c:v>
                </c:pt>
                <c:pt idx="1058" formatCode="0.0%">
                  <c:v>0.2595314618692548</c:v>
                </c:pt>
                <c:pt idx="1059" formatCode="0.0%">
                  <c:v>0.2595314618692548</c:v>
                </c:pt>
                <c:pt idx="1060" formatCode="0.0%">
                  <c:v>0.2595314618692548</c:v>
                </c:pt>
                <c:pt idx="1061" formatCode="0.0%">
                  <c:v>0.2574343279310905</c:v>
                </c:pt>
                <c:pt idx="1062" formatCode="0.0%">
                  <c:v>0.25476162490899085</c:v>
                </c:pt>
                <c:pt idx="1063" formatCode="0.0%">
                  <c:v>0.25568949343040687</c:v>
                </c:pt>
                <c:pt idx="1064" formatCode="0.0%">
                  <c:v>0.26737993848473507</c:v>
                </c:pt>
                <c:pt idx="1065" formatCode="0.0%">
                  <c:v>0.2820539802695245</c:v>
                </c:pt>
                <c:pt idx="1066" formatCode="0.0%">
                  <c:v>0.2820539802695245</c:v>
                </c:pt>
                <c:pt idx="1067" formatCode="0.0%">
                  <c:v>0.2820539802695245</c:v>
                </c:pt>
                <c:pt idx="1068" formatCode="0.0%">
                  <c:v>0.2787800852563973</c:v>
                </c:pt>
                <c:pt idx="1069" formatCode="0.0%">
                  <c:v>0.27767709410932667</c:v>
                </c:pt>
                <c:pt idx="1070" formatCode="0.0%">
                  <c:v>0.27895409557829792</c:v>
                </c:pt>
                <c:pt idx="1071" formatCode="0.0%">
                  <c:v>0.2853167744392488</c:v>
                </c:pt>
                <c:pt idx="1072" formatCode="0.0%">
                  <c:v>0.2917224598577724</c:v>
                </c:pt>
                <c:pt idx="1073" formatCode="0.0%">
                  <c:v>0.2917224598577724</c:v>
                </c:pt>
                <c:pt idx="1074" formatCode="0.0%">
                  <c:v>0.2917224598577724</c:v>
                </c:pt>
                <c:pt idx="1075" formatCode="0.0%">
                  <c:v>0.29791628866691128</c:v>
                </c:pt>
                <c:pt idx="1076" formatCode="0.0%">
                  <c:v>0.29829367310159283</c:v>
                </c:pt>
                <c:pt idx="1077" formatCode="0.0%">
                  <c:v>0.30888379340332961</c:v>
                </c:pt>
                <c:pt idx="1078" formatCode="0.0%">
                  <c:v>0.29819736589080892</c:v>
                </c:pt>
                <c:pt idx="1079" formatCode="0.0%">
                  <c:v>0.30740162094561868</c:v>
                </c:pt>
                <c:pt idx="1080" formatCode="0.0%">
                  <c:v>0.30740162094561868</c:v>
                </c:pt>
                <c:pt idx="1081" formatCode="0.0%">
                  <c:v>0.30740162094561868</c:v>
                </c:pt>
                <c:pt idx="1082" formatCode="0.0%">
                  <c:v>0.30919694783428836</c:v>
                </c:pt>
                <c:pt idx="1083" formatCode="0.0%">
                  <c:v>0.30930679731022226</c:v>
                </c:pt>
                <c:pt idx="1084" formatCode="0.0%">
                  <c:v>0.29911352508804301</c:v>
                </c:pt>
                <c:pt idx="1085" formatCode="0.0%">
                  <c:v>0.30589299633513717</c:v>
                </c:pt>
                <c:pt idx="1086" formatCode="0.0%">
                  <c:v>0.30499244959719618</c:v>
                </c:pt>
                <c:pt idx="1087" formatCode="0.0%">
                  <c:v>0.30499244959719618</c:v>
                </c:pt>
                <c:pt idx="1088" formatCode="0.0%">
                  <c:v>0.30499244959719618</c:v>
                </c:pt>
                <c:pt idx="1089" formatCode="0.0%">
                  <c:v>0.30521037226002934</c:v>
                </c:pt>
                <c:pt idx="1090" formatCode="0.0%">
                  <c:v>0.30792293604514354</c:v>
                </c:pt>
                <c:pt idx="1091" formatCode="0.0%">
                  <c:v>0.30527046499422539</c:v>
                </c:pt>
                <c:pt idx="1092" formatCode="0.0%">
                  <c:v>0.30778551987567171</c:v>
                </c:pt>
                <c:pt idx="1093" formatCode="0.0%">
                  <c:v>0.31177433225998979</c:v>
                </c:pt>
                <c:pt idx="1094" formatCode="0.0%">
                  <c:v>0.31177433225998979</c:v>
                </c:pt>
                <c:pt idx="1095" formatCode="0.0%">
                  <c:v>0.31177433225998979</c:v>
                </c:pt>
                <c:pt idx="1096" formatCode="0.0%">
                  <c:v>0.31192534479024431</c:v>
                </c:pt>
                <c:pt idx="1097" formatCode="0.0%">
                  <c:v>0.31441471832640472</c:v>
                </c:pt>
                <c:pt idx="1098" formatCode="0.0%">
                  <c:v>0.30643086714141676</c:v>
                </c:pt>
                <c:pt idx="1099" formatCode="0.0%">
                  <c:v>0.30027504713403291</c:v>
                </c:pt>
                <c:pt idx="1100" formatCode="0.0%">
                  <c:v>0.29953308118485128</c:v>
                </c:pt>
                <c:pt idx="1101" formatCode="0.0%">
                  <c:v>0.29953308118485128</c:v>
                </c:pt>
                <c:pt idx="1102" formatCode="0.0%">
                  <c:v>0.29953308118485128</c:v>
                </c:pt>
                <c:pt idx="1103" formatCode="0.0%">
                  <c:v>0.31198514961518697</c:v>
                </c:pt>
                <c:pt idx="1104" formatCode="0.0%">
                  <c:v>0.31559751174778028</c:v>
                </c:pt>
                <c:pt idx="1105" formatCode="0.0%">
                  <c:v>0.31443781801445708</c:v>
                </c:pt>
                <c:pt idx="1106" formatCode="0.0%">
                  <c:v>0.31617571706087916</c:v>
                </c:pt>
                <c:pt idx="1107" formatCode="0.0%">
                  <c:v>0.31829429353425526</c:v>
                </c:pt>
                <c:pt idx="1108" formatCode="0.0%">
                  <c:v>0.31829429353425526</c:v>
                </c:pt>
                <c:pt idx="1109" formatCode="0.0%">
                  <c:v>0.31829429353425526</c:v>
                </c:pt>
                <c:pt idx="1110" formatCode="0.0%">
                  <c:v>0.31904328850406272</c:v>
                </c:pt>
                <c:pt idx="1111" formatCode="0.0%">
                  <c:v>0.31851722874132321</c:v>
                </c:pt>
                <c:pt idx="1112" formatCode="0.0%">
                  <c:v>0.30924219950391463</c:v>
                </c:pt>
                <c:pt idx="1113" formatCode="0.0%">
                  <c:v>0.31779992049452888</c:v>
                </c:pt>
                <c:pt idx="1114" formatCode="0.0%">
                  <c:v>0.32770258854600232</c:v>
                </c:pt>
                <c:pt idx="1115" formatCode="0.0%">
                  <c:v>0.32770258854600232</c:v>
                </c:pt>
                <c:pt idx="1116" formatCode="0.0%">
                  <c:v>0.32770258854600232</c:v>
                </c:pt>
                <c:pt idx="1117" formatCode="0.0%">
                  <c:v>0.33184536794361008</c:v>
                </c:pt>
                <c:pt idx="1118" formatCode="0.0%">
                  <c:v>0.33937538422721786</c:v>
                </c:pt>
                <c:pt idx="1119" formatCode="0.0%">
                  <c:v>0.33722426520863052</c:v>
                </c:pt>
                <c:pt idx="1120" formatCode="0.0%">
                  <c:v>0.34999629900666773</c:v>
                </c:pt>
                <c:pt idx="1121" formatCode="0.0%">
                  <c:v>0.34696250758371433</c:v>
                </c:pt>
                <c:pt idx="1122" formatCode="0.0%">
                  <c:v>0.34696250758371433</c:v>
                </c:pt>
                <c:pt idx="1123" formatCode="0.0%">
                  <c:v>0.34696250758371433</c:v>
                </c:pt>
                <c:pt idx="1124" formatCode="0.0%">
                  <c:v>0.3634007576940107</c:v>
                </c:pt>
                <c:pt idx="1125" formatCode="0.0%">
                  <c:v>0.35746469415012683</c:v>
                </c:pt>
                <c:pt idx="1126" formatCode="0.0%">
                  <c:v>0.34164561376186298</c:v>
                </c:pt>
                <c:pt idx="1127" formatCode="0.0%">
                  <c:v>0.35475977018457738</c:v>
                </c:pt>
                <c:pt idx="1128" formatCode="0.0%">
                  <c:v>0.36721966536612199</c:v>
                </c:pt>
                <c:pt idx="1129" formatCode="0.0%">
                  <c:v>0.36721966536612199</c:v>
                </c:pt>
                <c:pt idx="1130" formatCode="0.0%">
                  <c:v>0.36721966536612199</c:v>
                </c:pt>
                <c:pt idx="1131" formatCode="0.0%">
                  <c:v>0.37141270435079604</c:v>
                </c:pt>
                <c:pt idx="1132" formatCode="0.0%">
                  <c:v>0.37585308734263179</c:v>
                </c:pt>
                <c:pt idx="1133" formatCode="0.0%">
                  <c:v>0.38182148895702428</c:v>
                </c:pt>
                <c:pt idx="1134" formatCode="0.0%">
                  <c:v>0.38068899372399156</c:v>
                </c:pt>
                <c:pt idx="1135" formatCode="0.0%">
                  <c:v>0.38331697818302046</c:v>
                </c:pt>
                <c:pt idx="1136" formatCode="0.0%">
                  <c:v>0.38331697818302046</c:v>
                </c:pt>
                <c:pt idx="1137" formatCode="0.0%">
                  <c:v>0.38331697818302046</c:v>
                </c:pt>
                <c:pt idx="1138" formatCode="0.0%">
                  <c:v>0.38540221770294891</c:v>
                </c:pt>
                <c:pt idx="1139" formatCode="0.0%">
                  <c:v>0.37650836084627914</c:v>
                </c:pt>
                <c:pt idx="1140" formatCode="0.0%">
                  <c:v>0.38619897834991035</c:v>
                </c:pt>
                <c:pt idx="1141" formatCode="0.0%">
                  <c:v>0.39172717166765353</c:v>
                </c:pt>
                <c:pt idx="1142" formatCode="0.0%">
                  <c:v>0.38998217055730433</c:v>
                </c:pt>
                <c:pt idx="1143" formatCode="0.0%">
                  <c:v>0.38998217055730433</c:v>
                </c:pt>
                <c:pt idx="1144" formatCode="0.0%">
                  <c:v>0.38998217055730433</c:v>
                </c:pt>
                <c:pt idx="1145" formatCode="0.0%">
                  <c:v>0.39116654015686292</c:v>
                </c:pt>
                <c:pt idx="1146" formatCode="0.0%">
                  <c:v>0.37950165947577347</c:v>
                </c:pt>
                <c:pt idx="1147" formatCode="0.0%">
                  <c:v>0.38131576817071905</c:v>
                </c:pt>
                <c:pt idx="1148" formatCode="0.0%">
                  <c:v>0.40394767093916639</c:v>
                </c:pt>
                <c:pt idx="1149" formatCode="0.0%">
                  <c:v>0.40397619106407634</c:v>
                </c:pt>
                <c:pt idx="1150" formatCode="0.0%">
                  <c:v>0.40397619106407634</c:v>
                </c:pt>
                <c:pt idx="1151" formatCode="0.0%">
                  <c:v>0.40397619106407634</c:v>
                </c:pt>
                <c:pt idx="1152" formatCode="0.0%">
                  <c:v>0.39644989843222278</c:v>
                </c:pt>
                <c:pt idx="1153" formatCode="0.0%">
                  <c:v>0.39972322970092788</c:v>
                </c:pt>
                <c:pt idx="1154" formatCode="0.0%">
                  <c:v>0.39682591302179843</c:v>
                </c:pt>
                <c:pt idx="1155" formatCode="0.0%">
                  <c:v>0.40462430793762622</c:v>
                </c:pt>
                <c:pt idx="1156" formatCode="0.0%">
                  <c:v>0.41355317108285589</c:v>
                </c:pt>
                <c:pt idx="1157" formatCode="0.0%">
                  <c:v>0.41355317108285589</c:v>
                </c:pt>
                <c:pt idx="1158" formatCode="0.0%">
                  <c:v>0.41355317108285589</c:v>
                </c:pt>
                <c:pt idx="1159" formatCode="0.0%">
                  <c:v>0.4099711309503084</c:v>
                </c:pt>
                <c:pt idx="1160" formatCode="0.0%">
                  <c:v>0.39841766966804781</c:v>
                </c:pt>
                <c:pt idx="1161" formatCode="0.0%">
                  <c:v>0.40220423423266538</c:v>
                </c:pt>
                <c:pt idx="1162" formatCode="0.0%">
                  <c:v>0.41303782826155439</c:v>
                </c:pt>
                <c:pt idx="1163" formatCode="0.0%">
                  <c:v>0.40592557278496827</c:v>
                </c:pt>
                <c:pt idx="1164" formatCode="0.0%">
                  <c:v>0.40592557278496827</c:v>
                </c:pt>
                <c:pt idx="1165" formatCode="0.0%">
                  <c:v>0.40592557278496827</c:v>
                </c:pt>
                <c:pt idx="1166" formatCode="0.0%">
                  <c:v>0.405831240436479</c:v>
                </c:pt>
                <c:pt idx="1167" formatCode="0.0%">
                  <c:v>0.41990714335845014</c:v>
                </c:pt>
                <c:pt idx="1168" formatCode="0.0%">
                  <c:v>0.4160127709461659</c:v>
                </c:pt>
                <c:pt idx="1169" formatCode="0.0%">
                  <c:v>0.41884796398740404</c:v>
                </c:pt>
                <c:pt idx="1170" formatCode="0.0%">
                  <c:v>0.40966693079520866</c:v>
                </c:pt>
                <c:pt idx="1171" formatCode="0.0%">
                  <c:v>0.40966693079520866</c:v>
                </c:pt>
                <c:pt idx="1172" formatCode="0.0%">
                  <c:v>0.40966693079520866</c:v>
                </c:pt>
                <c:pt idx="1173" formatCode="0.0%">
                  <c:v>0.41709266621685515</c:v>
                </c:pt>
                <c:pt idx="1174" formatCode="0.0%">
                  <c:v>0.42399620653179254</c:v>
                </c:pt>
                <c:pt idx="1175" formatCode="0.0%">
                  <c:v>0.43349487799754544</c:v>
                </c:pt>
                <c:pt idx="1176" formatCode="0.0%">
                  <c:v>0.44263257807229595</c:v>
                </c:pt>
                <c:pt idx="1177" formatCode="0.0%">
                  <c:v>0.44506336576547995</c:v>
                </c:pt>
                <c:pt idx="1178" formatCode="0.0%">
                  <c:v>0.44506336576547995</c:v>
                </c:pt>
                <c:pt idx="1179" formatCode="0.0%">
                  <c:v>0.44506336576547995</c:v>
                </c:pt>
                <c:pt idx="1180" formatCode="0.0%">
                  <c:v>0.43875501722277876</c:v>
                </c:pt>
                <c:pt idx="1181" formatCode="0.0%">
                  <c:v>0.4385986972988502</c:v>
                </c:pt>
                <c:pt idx="1182" formatCode="0.0%">
                  <c:v>0.44779930567607434</c:v>
                </c:pt>
                <c:pt idx="1183" formatCode="0.0%">
                  <c:v>0.45178550319973054</c:v>
                </c:pt>
                <c:pt idx="1184" formatCode="0.0%">
                  <c:v>0.4525529340360589</c:v>
                </c:pt>
                <c:pt idx="1185" formatCode="0.0%">
                  <c:v>0.4525529340360589</c:v>
                </c:pt>
                <c:pt idx="1186" formatCode="0.0%">
                  <c:v>0.4525529340360589</c:v>
                </c:pt>
                <c:pt idx="1187" formatCode="0.0%">
                  <c:v>0.45490824877973551</c:v>
                </c:pt>
                <c:pt idx="1188" formatCode="0.0%">
                  <c:v>0.44486562775186028</c:v>
                </c:pt>
                <c:pt idx="1189" formatCode="0.0%">
                  <c:v>0.43900906925883787</c:v>
                </c:pt>
                <c:pt idx="1190" formatCode="0.0%">
                  <c:v>0.42503923330114274</c:v>
                </c:pt>
                <c:pt idx="1191" formatCode="0.0%">
                  <c:v>0.43726887224207273</c:v>
                </c:pt>
                <c:pt idx="1192" formatCode="0.0%">
                  <c:v>0.43726887224207273</c:v>
                </c:pt>
                <c:pt idx="1193" formatCode="0.0%">
                  <c:v>0.43726887224207273</c:v>
                </c:pt>
                <c:pt idx="1194" formatCode="0.0%">
                  <c:v>0.43556066774345908</c:v>
                </c:pt>
                <c:pt idx="1195" formatCode="0.0%">
                  <c:v>0.43733813959255147</c:v>
                </c:pt>
                <c:pt idx="1196" formatCode="0.0%">
                  <c:v>0.43928533960019789</c:v>
                </c:pt>
                <c:pt idx="1197" formatCode="0.0%">
                  <c:v>0.44972889242494063</c:v>
                </c:pt>
                <c:pt idx="1198" formatCode="0.0%">
                  <c:v>0.44304761961402817</c:v>
                </c:pt>
                <c:pt idx="1199" formatCode="0.0%">
                  <c:v>0.44304761961402817</c:v>
                </c:pt>
                <c:pt idx="1200" formatCode="0.0%">
                  <c:v>0.44304761961402817</c:v>
                </c:pt>
                <c:pt idx="1201" formatCode="0.0%">
                  <c:v>0.42907729496609986</c:v>
                </c:pt>
                <c:pt idx="1202" formatCode="0.0%">
                  <c:v>0.4177531295629075</c:v>
                </c:pt>
                <c:pt idx="1203" formatCode="0.0%">
                  <c:v>0.41139427697157716</c:v>
                </c:pt>
                <c:pt idx="1204" formatCode="0.0%">
                  <c:v>0.40944352550875918</c:v>
                </c:pt>
                <c:pt idx="1205" formatCode="0.0%">
                  <c:v>0.39615962808787086</c:v>
                </c:pt>
                <c:pt idx="1206" formatCode="0.0%">
                  <c:v>0.39615962808787086</c:v>
                </c:pt>
                <c:pt idx="1207" formatCode="0.0%">
                  <c:v>0.39615962808787086</c:v>
                </c:pt>
                <c:pt idx="1208" formatCode="0.0%">
                  <c:v>0.41081108529008958</c:v>
                </c:pt>
                <c:pt idx="1209" formatCode="0.0%">
                  <c:v>0.42028259165005238</c:v>
                </c:pt>
                <c:pt idx="1210" formatCode="0.0%">
                  <c:v>0.42371423508727218</c:v>
                </c:pt>
                <c:pt idx="1211" formatCode="0.0%">
                  <c:v>0.41337796777853753</c:v>
                </c:pt>
                <c:pt idx="1212" formatCode="0.0%">
                  <c:v>0.43061708124034054</c:v>
                </c:pt>
                <c:pt idx="1213" formatCode="0.0%">
                  <c:v>0.43061708124034054</c:v>
                </c:pt>
                <c:pt idx="1214" formatCode="0.0%">
                  <c:v>0.43061708124034054</c:v>
                </c:pt>
                <c:pt idx="1215" formatCode="0.0%">
                  <c:v>0.43238667484623167</c:v>
                </c:pt>
                <c:pt idx="1216" formatCode="0.0%">
                  <c:v>0.41862996941142766</c:v>
                </c:pt>
                <c:pt idx="1217" formatCode="0.0%">
                  <c:v>0.41549885690424415</c:v>
                </c:pt>
                <c:pt idx="1218" formatCode="0.0%">
                  <c:v>0.42649972268193265</c:v>
                </c:pt>
                <c:pt idx="1219" formatCode="0.0%">
                  <c:v>0.4327797315810068</c:v>
                </c:pt>
                <c:pt idx="1220" formatCode="0.0%">
                  <c:v>0.4327797315810068</c:v>
                </c:pt>
                <c:pt idx="1221" formatCode="0.0%">
                  <c:v>0.4327797315810068</c:v>
                </c:pt>
                <c:pt idx="1222" formatCode="0.0%">
                  <c:v>0.44337055684380033</c:v>
                </c:pt>
                <c:pt idx="1223" formatCode="0.0%">
                  <c:v>0.4480779155805939</c:v>
                </c:pt>
                <c:pt idx="1224" formatCode="0.0%">
                  <c:v>0.44949489910069046</c:v>
                </c:pt>
                <c:pt idx="1225" formatCode="0.0%">
                  <c:v>0.45176374689470122</c:v>
                </c:pt>
                <c:pt idx="1226" formatCode="0.0%">
                  <c:v>0.45830943599228874</c:v>
                </c:pt>
                <c:pt idx="1227" formatCode="0.0%">
                  <c:v>0.45830943599228874</c:v>
                </c:pt>
                <c:pt idx="1228" formatCode="0.0%">
                  <c:v>0.45830943599228874</c:v>
                </c:pt>
                <c:pt idx="1229" formatCode="0.0%">
                  <c:v>0.45450583301827518</c:v>
                </c:pt>
                <c:pt idx="1230" formatCode="0.0%">
                  <c:v>0.45766649038210178</c:v>
                </c:pt>
                <c:pt idx="1231" formatCode="0.0%">
                  <c:v>0.46828916392431152</c:v>
                </c:pt>
                <c:pt idx="1232" formatCode="0.0%">
                  <c:v>0.46724284537698424</c:v>
                </c:pt>
                <c:pt idx="1233" formatCode="0.0%">
                  <c:v>0.46837956880571058</c:v>
                </c:pt>
                <c:pt idx="1234" formatCode="0.0%">
                  <c:v>0.46837956880571058</c:v>
                </c:pt>
                <c:pt idx="1235" formatCode="0.0%">
                  <c:v>0.46837956880571058</c:v>
                </c:pt>
                <c:pt idx="1236" formatCode="0.0%">
                  <c:v>0.47199641071680676</c:v>
                </c:pt>
                <c:pt idx="1237" formatCode="0.0%">
                  <c:v>0.47275274829676306</c:v>
                </c:pt>
                <c:pt idx="1238" formatCode="0.0%">
                  <c:v>0.47125257201909848</c:v>
                </c:pt>
                <c:pt idx="1239" formatCode="0.0%">
                  <c:v>0.4644258045982616</c:v>
                </c:pt>
                <c:pt idx="1240" formatCode="0.0%">
                  <c:v>0.46658562248620711</c:v>
                </c:pt>
                <c:pt idx="1241" formatCode="0.0%">
                  <c:v>0.46658562248620711</c:v>
                </c:pt>
                <c:pt idx="1242" formatCode="0.0%">
                  <c:v>0.46658562248620711</c:v>
                </c:pt>
                <c:pt idx="1243" formatCode="0.0%">
                  <c:v>0.46834711029305853</c:v>
                </c:pt>
                <c:pt idx="1244" formatCode="0.0%">
                  <c:v>0.46439204318252736</c:v>
                </c:pt>
                <c:pt idx="1245" formatCode="0.0%">
                  <c:v>0.45724960315068047</c:v>
                </c:pt>
                <c:pt idx="1246" formatCode="0.0%">
                  <c:v>0.44775466093185656</c:v>
                </c:pt>
                <c:pt idx="1247" formatCode="0.0%">
                  <c:v>0.45409872296044168</c:v>
                </c:pt>
                <c:pt idx="1248" formatCode="0.0%">
                  <c:v>0.45409872296044168</c:v>
                </c:pt>
                <c:pt idx="1249" formatCode="0.0%">
                  <c:v>0.45409872296044168</c:v>
                </c:pt>
                <c:pt idx="1250" formatCode="0.0%">
                  <c:v>0.45831019880530588</c:v>
                </c:pt>
                <c:pt idx="1251" formatCode="0.0%">
                  <c:v>0.45470860763215287</c:v>
                </c:pt>
                <c:pt idx="1252" formatCode="0.0%">
                  <c:v>0.46941542696177663</c:v>
                </c:pt>
                <c:pt idx="1253" formatCode="0.0%">
                  <c:v>0.47182977622801192</c:v>
                </c:pt>
                <c:pt idx="1254" formatCode="0.0%">
                  <c:v>0.47698012711430576</c:v>
                </c:pt>
                <c:pt idx="1255" formatCode="0.0%">
                  <c:v>0.47698012711430576</c:v>
                </c:pt>
                <c:pt idx="1256" formatCode="0.0%">
                  <c:v>0.47698012711430576</c:v>
                </c:pt>
                <c:pt idx="1257" formatCode="0.0%">
                  <c:v>0.48835388222886167</c:v>
                </c:pt>
                <c:pt idx="1258" formatCode="0.0%">
                  <c:v>0.48860712065433659</c:v>
                </c:pt>
                <c:pt idx="1259" formatCode="0.0%">
                  <c:v>0.48575231848889644</c:v>
                </c:pt>
                <c:pt idx="1260" formatCode="0.0%">
                  <c:v>0.4929536665159131</c:v>
                </c:pt>
                <c:pt idx="1261" formatCode="0.0%">
                  <c:v>0.50044142347145448</c:v>
                </c:pt>
                <c:pt idx="1262" formatCode="0.0%">
                  <c:v>0.50044142347145448</c:v>
                </c:pt>
                <c:pt idx="1263" formatCode="0.0%">
                  <c:v>0.50044142347145448</c:v>
                </c:pt>
                <c:pt idx="1264" formatCode="0.0%">
                  <c:v>0.50226933982537503</c:v>
                </c:pt>
                <c:pt idx="1265" formatCode="0.0%">
                  <c:v>0.50573360071699081</c:v>
                </c:pt>
                <c:pt idx="1266" formatCode="0.0%">
                  <c:v>0.50645362295669716</c:v>
                </c:pt>
                <c:pt idx="1267" formatCode="0.0%">
                  <c:v>0.50879420379356932</c:v>
                </c:pt>
                <c:pt idx="1268" formatCode="0.0%">
                  <c:v>0.50873415406607136</c:v>
                </c:pt>
                <c:pt idx="1269" formatCode="0.0%">
                  <c:v>0.50873415406607136</c:v>
                </c:pt>
                <c:pt idx="1270" formatCode="0.0%">
                  <c:v>0.50873415406607136</c:v>
                </c:pt>
                <c:pt idx="1271" formatCode="0.0%">
                  <c:v>0.50214347579329288</c:v>
                </c:pt>
                <c:pt idx="1272" formatCode="0.0%">
                  <c:v>0.51092516292465007</c:v>
                </c:pt>
                <c:pt idx="1273" formatCode="0.0%">
                  <c:v>0.51354135337659246</c:v>
                </c:pt>
                <c:pt idx="1274" formatCode="0.0%">
                  <c:v>0.50944316304616566</c:v>
                </c:pt>
                <c:pt idx="1275" formatCode="0.0%">
                  <c:v>0.50541536482720661</c:v>
                </c:pt>
                <c:pt idx="1276" formatCode="0.0%">
                  <c:v>0.50541536482720661</c:v>
                </c:pt>
                <c:pt idx="1277" formatCode="0.0%">
                  <c:v>0.50541536482720661</c:v>
                </c:pt>
                <c:pt idx="1278" formatCode="0.0%">
                  <c:v>0.50722895439564752</c:v>
                </c:pt>
                <c:pt idx="1279" formatCode="0.0%">
                  <c:v>0.511122169390681</c:v>
                </c:pt>
                <c:pt idx="1280" formatCode="0.0%">
                  <c:v>0.51407882107631542</c:v>
                </c:pt>
                <c:pt idx="1281" formatCode="0.0%">
                  <c:v>0.51794698857958399</c:v>
                </c:pt>
                <c:pt idx="1282" formatCode="0.0%">
                  <c:v>0.52053599630931502</c:v>
                </c:pt>
                <c:pt idx="1283" formatCode="0.0%">
                  <c:v>0.52053599630931502</c:v>
                </c:pt>
                <c:pt idx="1284" formatCode="0.0%">
                  <c:v>0.52053599630931502</c:v>
                </c:pt>
                <c:pt idx="1285" formatCode="0.0%">
                  <c:v>0.52017386160413248</c:v>
                </c:pt>
                <c:pt idx="1286" formatCode="0.0%">
                  <c:v>0.52223252826320421</c:v>
                </c:pt>
                <c:pt idx="1287" formatCode="0.0%">
                  <c:v>0.53419586906389982</c:v>
                </c:pt>
                <c:pt idx="1288" formatCode="0.0%">
                  <c:v>0.52568939129710746</c:v>
                </c:pt>
                <c:pt idx="1289" formatCode="0.0%">
                  <c:v>0.5295893133574151</c:v>
                </c:pt>
                <c:pt idx="1290" formatCode="0.0%">
                  <c:v>0.5295893133574151</c:v>
                </c:pt>
                <c:pt idx="1291" formatCode="0.0%">
                  <c:v>0.5295893133574151</c:v>
                </c:pt>
                <c:pt idx="1292" formatCode="0.0%">
                  <c:v>0.52889600244907398</c:v>
                </c:pt>
                <c:pt idx="1293" formatCode="0.0%">
                  <c:v>0.53882266264876677</c:v>
                </c:pt>
                <c:pt idx="1294" formatCode="0.0%">
                  <c:v>0.51719500437544608</c:v>
                </c:pt>
                <c:pt idx="1295" formatCode="0.0%">
                  <c:v>0.50844784741684323</c:v>
                </c:pt>
                <c:pt idx="1296" formatCode="0.0%">
                  <c:v>0.49982665284701172</c:v>
                </c:pt>
                <c:pt idx="1297" formatCode="0.0%">
                  <c:v>0.49982665284701172</c:v>
                </c:pt>
                <c:pt idx="1298" formatCode="0.0%">
                  <c:v>0.49982665284701172</c:v>
                </c:pt>
                <c:pt idx="1299" formatCode="0.0%">
                  <c:v>0.51184350291609038</c:v>
                </c:pt>
                <c:pt idx="1300" formatCode="0.0%">
                  <c:v>0.51593899625249062</c:v>
                </c:pt>
                <c:pt idx="1301" formatCode="0.0%">
                  <c:v>0.48975092567450274</c:v>
                </c:pt>
                <c:pt idx="1302" formatCode="0.0%">
                  <c:v>0.4788158374978187</c:v>
                </c:pt>
                <c:pt idx="1303" formatCode="0.0%">
                  <c:v>0.49128354759714282</c:v>
                </c:pt>
                <c:pt idx="1304" formatCode="0.0%">
                  <c:v>0.49128354759714282</c:v>
                </c:pt>
                <c:pt idx="1305" formatCode="0.0%">
                  <c:v>0.49128354759714282</c:v>
                </c:pt>
                <c:pt idx="1306" formatCode="0.0%">
                  <c:v>0.49840034933948429</c:v>
                </c:pt>
                <c:pt idx="1307" formatCode="0.0%">
                  <c:v>0.49434811534172896</c:v>
                </c:pt>
                <c:pt idx="1308" formatCode="0.0%">
                  <c:v>0.51599787472693548</c:v>
                </c:pt>
                <c:pt idx="1309" formatCode="0.0%">
                  <c:v>0.50004931709062217</c:v>
                </c:pt>
                <c:pt idx="1310" formatCode="0.0%">
                  <c:v>0.45246007723723236</c:v>
                </c:pt>
                <c:pt idx="1311" formatCode="0.0%">
                  <c:v>0.45246007723723236</c:v>
                </c:pt>
                <c:pt idx="1312" formatCode="0.0%">
                  <c:v>0.45246007723723236</c:v>
                </c:pt>
                <c:pt idx="1313" formatCode="0.0%">
                  <c:v>0.39866979343830733</c:v>
                </c:pt>
                <c:pt idx="1314" formatCode="0.0%">
                  <c:v>0.42112660778871996</c:v>
                </c:pt>
                <c:pt idx="1315" formatCode="0.0%">
                  <c:v>0.42068216161382083</c:v>
                </c:pt>
                <c:pt idx="1316" formatCode="0.0%">
                  <c:v>0.44462889841460312</c:v>
                </c:pt>
                <c:pt idx="1317" formatCode="0.0%">
                  <c:v>0.4525017968919357</c:v>
                </c:pt>
                <c:pt idx="1318" formatCode="0.0%">
                  <c:v>0.4525017968919357</c:v>
                </c:pt>
                <c:pt idx="1319" formatCode="0.0%">
                  <c:v>0.4525017968919357</c:v>
                </c:pt>
                <c:pt idx="1320" formatCode="0.0%">
                  <c:v>0.45207953643944476</c:v>
                </c:pt>
                <c:pt idx="1321" formatCode="0.0%">
                  <c:v>0.46997196717498807</c:v>
                </c:pt>
                <c:pt idx="1322" formatCode="0.0%">
                  <c:v>0.46776192724497323</c:v>
                </c:pt>
                <c:pt idx="1323" formatCode="0.0%">
                  <c:v>0.49200071371651322</c:v>
                </c:pt>
                <c:pt idx="1324" formatCode="0.0%">
                  <c:v>0.49958715069625981</c:v>
                </c:pt>
                <c:pt idx="1325" formatCode="0.0%">
                  <c:v>0.49958715069625981</c:v>
                </c:pt>
                <c:pt idx="1326" formatCode="0.0%">
                  <c:v>0.49958715069625981</c:v>
                </c:pt>
                <c:pt idx="1327" formatCode="0.0%">
                  <c:v>0.50401435417502682</c:v>
                </c:pt>
                <c:pt idx="1328" formatCode="0.0%">
                  <c:v>0.49704121924931288</c:v>
                </c:pt>
                <c:pt idx="1329" formatCode="0.0%">
                  <c:v>0.50035022146925423</c:v>
                </c:pt>
                <c:pt idx="1330" formatCode="0.0%">
                  <c:v>0.49311211588629417</c:v>
                </c:pt>
                <c:pt idx="1331" formatCode="0.0%">
                  <c:v>0.50005221863648075</c:v>
                </c:pt>
                <c:pt idx="1332" formatCode="0.0%">
                  <c:v>0.50005221863648075</c:v>
                </c:pt>
                <c:pt idx="1333" formatCode="0.0%">
                  <c:v>0.50005221863648075</c:v>
                </c:pt>
                <c:pt idx="1334" formatCode="0.0%">
                  <c:v>0.49792045090399883</c:v>
                </c:pt>
                <c:pt idx="1335" formatCode="0.0%">
                  <c:v>0.50057215497187546</c:v>
                </c:pt>
                <c:pt idx="1336" formatCode="0.0%">
                  <c:v>0.4988705198986767</c:v>
                </c:pt>
                <c:pt idx="1337" formatCode="0.0%">
                  <c:v>0.50713379183760676</c:v>
                </c:pt>
                <c:pt idx="1338" formatCode="0.0%">
                  <c:v>0.51903975406004832</c:v>
                </c:pt>
                <c:pt idx="1339" formatCode="0.0%">
                  <c:v>0.51903975406004832</c:v>
                </c:pt>
                <c:pt idx="1340" formatCode="0.0%">
                  <c:v>0.51903975406004832</c:v>
                </c:pt>
                <c:pt idx="1341" formatCode="0.0%">
                  <c:v>0.51778089653583093</c:v>
                </c:pt>
                <c:pt idx="1342" formatCode="0.0%">
                  <c:v>0.49702421904977373</c:v>
                </c:pt>
                <c:pt idx="1343" formatCode="0.0%">
                  <c:v>0.48262636581506596</c:v>
                </c:pt>
                <c:pt idx="1344" formatCode="0.0%">
                  <c:v>0.48018804424178002</c:v>
                </c:pt>
                <c:pt idx="1345" formatCode="0.0%">
                  <c:v>0.45656100466349953</c:v>
                </c:pt>
                <c:pt idx="1346" formatCode="0.0%">
                  <c:v>0.45656100466349953</c:v>
                </c:pt>
                <c:pt idx="1347" formatCode="0.0%">
                  <c:v>0.45656100466349953</c:v>
                </c:pt>
                <c:pt idx="1348" formatCode="0.0%">
                  <c:v>0.47565897403884205</c:v>
                </c:pt>
                <c:pt idx="1349" formatCode="0.0%">
                  <c:v>0.48118254008712369</c:v>
                </c:pt>
                <c:pt idx="1350" formatCode="0.0%">
                  <c:v>0.49177226329868434</c:v>
                </c:pt>
                <c:pt idx="1351" formatCode="0.0%">
                  <c:v>0.50249975833559435</c:v>
                </c:pt>
                <c:pt idx="1352" formatCode="0.0%">
                  <c:v>0.50577176283927516</c:v>
                </c:pt>
                <c:pt idx="1353" formatCode="0.0%">
                  <c:v>0.50577176283927516</c:v>
                </c:pt>
                <c:pt idx="1354" formatCode="0.0%">
                  <c:v>0.50577176283927516</c:v>
                </c:pt>
                <c:pt idx="1355" formatCode="0.0%">
                  <c:v>0.50371417720576717</c:v>
                </c:pt>
                <c:pt idx="1356" formatCode="0.0%">
                  <c:v>0.50419674299685113</c:v>
                </c:pt>
                <c:pt idx="1357" formatCode="0.0%">
                  <c:v>0.50038548442719188</c:v>
                </c:pt>
                <c:pt idx="1358" formatCode="0.0%">
                  <c:v>0.52270710031301293</c:v>
                </c:pt>
                <c:pt idx="1359" formatCode="0.0%">
                  <c:v>0.51681440808091028</c:v>
                </c:pt>
                <c:pt idx="1360" formatCode="0.0%">
                  <c:v>0.51681440808091028</c:v>
                </c:pt>
                <c:pt idx="1361" formatCode="0.0%">
                  <c:v>0.51681440808091028</c:v>
                </c:pt>
                <c:pt idx="1362" formatCode="0.0%">
                  <c:v>0.52305569016944276</c:v>
                </c:pt>
                <c:pt idx="1363" formatCode="0.0%">
                  <c:v>0.5282819732396018</c:v>
                </c:pt>
                <c:pt idx="1364" formatCode="0.0%">
                  <c:v>0.5240024915340723</c:v>
                </c:pt>
                <c:pt idx="1365" formatCode="0.0%">
                  <c:v>0.537547365848425</c:v>
                </c:pt>
                <c:pt idx="1366" formatCode="0.0%">
                  <c:v>0.54039305646407199</c:v>
                </c:pt>
                <c:pt idx="1367" formatCode="0.0%">
                  <c:v>0.54039305646407199</c:v>
                </c:pt>
                <c:pt idx="1368" formatCode="0.0%">
                  <c:v>0.54039305646407199</c:v>
                </c:pt>
                <c:pt idx="1369" formatCode="0.0%">
                  <c:v>0.54069723707649586</c:v>
                </c:pt>
                <c:pt idx="1370" formatCode="0.0%">
                  <c:v>0.54225352685230777</c:v>
                </c:pt>
                <c:pt idx="1371" formatCode="0.0%">
                  <c:v>0.5477541334775734</c:v>
                </c:pt>
                <c:pt idx="1372" formatCode="0.0%">
                  <c:v>0.54445478483050069</c:v>
                </c:pt>
                <c:pt idx="1373" formatCode="0.0%">
                  <c:v>0.55989487731769083</c:v>
                </c:pt>
                <c:pt idx="1374" formatCode="0.0%">
                  <c:v>0.55989487731769083</c:v>
                </c:pt>
                <c:pt idx="1375" formatCode="0.0%">
                  <c:v>0.55989487731769083</c:v>
                </c:pt>
                <c:pt idx="1376" formatCode="0.0%">
                  <c:v>0.55248868957073005</c:v>
                </c:pt>
                <c:pt idx="1377" formatCode="0.0%">
                  <c:v>0.55538096795600322</c:v>
                </c:pt>
                <c:pt idx="1378" formatCode="0.0%">
                  <c:v>0.5658775887084101</c:v>
                </c:pt>
                <c:pt idx="1379" formatCode="0.0%">
                  <c:v>0.56922497225690449</c:v>
                </c:pt>
                <c:pt idx="1380" formatCode="0.0%">
                  <c:v>0.57454858435516087</c:v>
                </c:pt>
                <c:pt idx="1381" formatCode="0.0%">
                  <c:v>0.57454858435516087</c:v>
                </c:pt>
                <c:pt idx="1382" formatCode="0.0%">
                  <c:v>0.57454858435516087</c:v>
                </c:pt>
                <c:pt idx="1383" formatCode="0.0%">
                  <c:v>0.58696216020002312</c:v>
                </c:pt>
                <c:pt idx="1384" formatCode="0.0%">
                  <c:v>0.57803123905043974</c:v>
                </c:pt>
                <c:pt idx="1385" formatCode="0.0%">
                  <c:v>0.58323650955294282</c:v>
                </c:pt>
                <c:pt idx="1386" formatCode="0.0%">
                  <c:v>0.5899893909956424</c:v>
                </c:pt>
                <c:pt idx="1387" formatCode="0.0%">
                  <c:v>0.59433521885895058</c:v>
                </c:pt>
                <c:pt idx="1388" formatCode="0.0%">
                  <c:v>0.59433521885895058</c:v>
                </c:pt>
                <c:pt idx="1389" formatCode="0.0%">
                  <c:v>0.59433521885895058</c:v>
                </c:pt>
                <c:pt idx="1390" formatCode="0.0%">
                  <c:v>0.59118087748460313</c:v>
                </c:pt>
                <c:pt idx="1391" formatCode="0.0%">
                  <c:v>0.59098973518392683</c:v>
                </c:pt>
                <c:pt idx="1392" formatCode="0.0%">
                  <c:v>0.58347423179982116</c:v>
                </c:pt>
                <c:pt idx="1393" formatCode="0.0%">
                  <c:v>0.58286813163588025</c:v>
                </c:pt>
                <c:pt idx="1394" formatCode="0.0%">
                  <c:v>0.57781241995925936</c:v>
                </c:pt>
                <c:pt idx="1395" formatCode="0.0%">
                  <c:v>0.57781241995925936</c:v>
                </c:pt>
                <c:pt idx="1396" formatCode="0.0%">
                  <c:v>0.57781241995925936</c:v>
                </c:pt>
                <c:pt idx="1397" formatCode="0.0%">
                  <c:v>0.58348642271277329</c:v>
                </c:pt>
                <c:pt idx="1398" formatCode="0.0%">
                  <c:v>0.58728509520680061</c:v>
                </c:pt>
                <c:pt idx="1399" formatCode="0.0%">
                  <c:v>0.57166348370128672</c:v>
                </c:pt>
                <c:pt idx="1400" formatCode="0.0%">
                  <c:v>0.54905584859667977</c:v>
                </c:pt>
                <c:pt idx="1401" formatCode="0.0%">
                  <c:v>0.55525819283265543</c:v>
                </c:pt>
                <c:pt idx="1402" formatCode="0.0%">
                  <c:v>0.55525819283265543</c:v>
                </c:pt>
                <c:pt idx="1403" formatCode="0.0%">
                  <c:v>0.55525819283265543</c:v>
                </c:pt>
                <c:pt idx="1404" formatCode="0.0%">
                  <c:v>0.54782867398456037</c:v>
                </c:pt>
                <c:pt idx="1405" formatCode="0.0%">
                  <c:v>0.56296128298088577</c:v>
                </c:pt>
                <c:pt idx="1406" formatCode="0.0%">
                  <c:v>0.60797766086696414</c:v>
                </c:pt>
                <c:pt idx="1407" formatCode="0.0%">
                  <c:v>0.61243674997306752</c:v>
                </c:pt>
                <c:pt idx="1408" formatCode="0.0%">
                  <c:v>0.62233207684980985</c:v>
                </c:pt>
                <c:pt idx="1409" formatCode="0.0%">
                  <c:v>0.62233207684980985</c:v>
                </c:pt>
                <c:pt idx="1410" formatCode="0.0%">
                  <c:v>0.62233207684980985</c:v>
                </c:pt>
                <c:pt idx="1411" formatCode="0.0%">
                  <c:v>0.63823618210320598</c:v>
                </c:pt>
                <c:pt idx="1412" formatCode="0.0%">
                  <c:v>0.6327316833649016</c:v>
                </c:pt>
                <c:pt idx="1413" formatCode="0.0%">
                  <c:v>0.63222048098196038</c:v>
                </c:pt>
                <c:pt idx="1414" formatCode="0.0%">
                  <c:v>0.62719416903625869</c:v>
                </c:pt>
                <c:pt idx="1415" formatCode="0.0%">
                  <c:v>0.61715537219348793</c:v>
                </c:pt>
                <c:pt idx="1416" formatCode="0.0%">
                  <c:v>0.61715537219348793</c:v>
                </c:pt>
                <c:pt idx="1417" formatCode="0.0%">
                  <c:v>0.61715537219348793</c:v>
                </c:pt>
                <c:pt idx="1418" formatCode="0.0%">
                  <c:v>0.61743499192313378</c:v>
                </c:pt>
                <c:pt idx="1419" formatCode="0.0%">
                  <c:v>0.62246925342592474</c:v>
                </c:pt>
                <c:pt idx="1420" formatCode="0.0%">
                  <c:v>0.62994292092052606</c:v>
                </c:pt>
                <c:pt idx="1421" formatCode="0.0%">
                  <c:v>0.63829469444662179</c:v>
                </c:pt>
                <c:pt idx="1422" formatCode="0.0%">
                  <c:v>0.65931326760638886</c:v>
                </c:pt>
                <c:pt idx="1423" formatCode="0.0%">
                  <c:v>0.65931326760638886</c:v>
                </c:pt>
                <c:pt idx="1424" formatCode="0.0%">
                  <c:v>0.65931326760638886</c:v>
                </c:pt>
                <c:pt idx="1425" formatCode="0.0%">
                  <c:v>0.65407099013178827</c:v>
                </c:pt>
                <c:pt idx="1426" formatCode="0.0%">
                  <c:v>0.65786365671769031</c:v>
                </c:pt>
                <c:pt idx="1427" formatCode="0.0%">
                  <c:v>0.6422372888046729</c:v>
                </c:pt>
                <c:pt idx="1428" formatCode="0.0%">
                  <c:v>0.64488977424833649</c:v>
                </c:pt>
                <c:pt idx="1429" formatCode="0.0%">
                  <c:v>0.65168475186701103</c:v>
                </c:pt>
                <c:pt idx="1430" formatCode="0.0%">
                  <c:v>0.65168475186701103</c:v>
                </c:pt>
                <c:pt idx="1431" formatCode="0.0%">
                  <c:v>0.65168475186701103</c:v>
                </c:pt>
                <c:pt idx="1432" formatCode="0.0%">
                  <c:v>0.67076505488337657</c:v>
                </c:pt>
                <c:pt idx="1433" formatCode="0.0%">
                  <c:v>0.66959016459914233</c:v>
                </c:pt>
                <c:pt idx="1434" formatCode="0.0%">
                  <c:v>0.67569525002304487</c:v>
                </c:pt>
                <c:pt idx="1435" formatCode="0.0%">
                  <c:v>0.66856457578801154</c:v>
                </c:pt>
                <c:pt idx="1436" formatCode="0.0%">
                  <c:v>0.67334469016205334</c:v>
                </c:pt>
                <c:pt idx="1437" formatCode="0.0%">
                  <c:v>0.67334469016205334</c:v>
                </c:pt>
                <c:pt idx="1438" formatCode="0.0%">
                  <c:v>0.67334469016205334</c:v>
                </c:pt>
                <c:pt idx="1439" formatCode="0.0%">
                  <c:v>0.66341301032492761</c:v>
                </c:pt>
                <c:pt idx="1440" formatCode="0.0%">
                  <c:v>0.66861579968527673</c:v>
                </c:pt>
                <c:pt idx="1441" formatCode="0.0%">
                  <c:v>0.68077019554668627</c:v>
                </c:pt>
                <c:pt idx="1442" formatCode="0.0%">
                  <c:v>0.67769424130999656</c:v>
                </c:pt>
                <c:pt idx="1443" formatCode="0.0%">
                  <c:v>0.67097572673771222</c:v>
                </c:pt>
                <c:pt idx="1444" formatCode="0.0%">
                  <c:v>0.67097572673771222</c:v>
                </c:pt>
                <c:pt idx="1445" formatCode="0.0%">
                  <c:v>0.67097572673771222</c:v>
                </c:pt>
                <c:pt idx="1446" formatCode="0.0%">
                  <c:v>0.67174057730639791</c:v>
                </c:pt>
                <c:pt idx="1447" formatCode="0.0%">
                  <c:v>0.6658581867218919</c:v>
                </c:pt>
                <c:pt idx="1448" formatCode="0.0%">
                  <c:v>0.63444740458320947</c:v>
                </c:pt>
                <c:pt idx="1449" formatCode="0.0%">
                  <c:v>0.63735324025193218</c:v>
                </c:pt>
                <c:pt idx="1450" formatCode="0.0%">
                  <c:v>0.64339964772519154</c:v>
                </c:pt>
                <c:pt idx="1451" formatCode="0.0%">
                  <c:v>0.64339964772519154</c:v>
                </c:pt>
                <c:pt idx="1452" formatCode="0.0%">
                  <c:v>0.64339964772519154</c:v>
                </c:pt>
                <c:pt idx="1453" formatCode="0.0%">
                  <c:v>0.65456671133909794</c:v>
                </c:pt>
                <c:pt idx="1454" formatCode="0.0%">
                  <c:v>0.66855962698340166</c:v>
                </c:pt>
                <c:pt idx="1455" formatCode="0.0%">
                  <c:v>0.6689438749612</c:v>
                </c:pt>
                <c:pt idx="1456" formatCode="0.0%">
                  <c:v>0.66590829640769411</c:v>
                </c:pt>
                <c:pt idx="1457" formatCode="0.0%">
                  <c:v>0.65471157225927701</c:v>
                </c:pt>
                <c:pt idx="1458" formatCode="0.0%">
                  <c:v>0.65471157225927701</c:v>
                </c:pt>
                <c:pt idx="1459" formatCode="0.0%">
                  <c:v>0.65471157225927701</c:v>
                </c:pt>
                <c:pt idx="1460" formatCode="0.0%">
                  <c:v>0.64566494320006085</c:v>
                </c:pt>
                <c:pt idx="1461" formatCode="0.0%">
                  <c:v>0.64469843019980144</c:v>
                </c:pt>
                <c:pt idx="1462" formatCode="0.0%">
                  <c:v>0.64487181273089444</c:v>
                </c:pt>
                <c:pt idx="1463" formatCode="0.0%">
                  <c:v>0.65533748289986216</c:v>
                </c:pt>
                <c:pt idx="1464" formatCode="0.0%">
                  <c:v>0.66722660727550875</c:v>
                </c:pt>
                <c:pt idx="1465" formatCode="0.0%">
                  <c:v>0.66722660727550875</c:v>
                </c:pt>
                <c:pt idx="1466" formatCode="0.0%">
                  <c:v>0.66722660727550875</c:v>
                </c:pt>
                <c:pt idx="1467" formatCode="0.0%">
                  <c:v>0.66184785618097297</c:v>
                </c:pt>
                <c:pt idx="1468" formatCode="0.0%">
                  <c:v>0.65369680023628829</c:v>
                </c:pt>
                <c:pt idx="1469" formatCode="0.0%">
                  <c:v>0.66375218721329932</c:v>
                </c:pt>
                <c:pt idx="1470" formatCode="0.0%">
                  <c:v>0.66310691201375505</c:v>
                </c:pt>
                <c:pt idx="1471" formatCode="0.0%">
                  <c:v>0.64818466582540535</c:v>
                </c:pt>
                <c:pt idx="1472" formatCode="0.0%">
                  <c:v>0.64818466582540535</c:v>
                </c:pt>
                <c:pt idx="1473" formatCode="0.0%">
                  <c:v>0.64818466582540535</c:v>
                </c:pt>
                <c:pt idx="1474" formatCode="0.0%">
                  <c:v>0.65248601191002253</c:v>
                </c:pt>
                <c:pt idx="1475" formatCode="0.0%">
                  <c:v>0.64230474569430729</c:v>
                </c:pt>
                <c:pt idx="1476" formatCode="0.0%">
                  <c:v>0.66562112023519293</c:v>
                </c:pt>
                <c:pt idx="1477" formatCode="0.0%">
                  <c:v>0.66918256314376523</c:v>
                </c:pt>
                <c:pt idx="1478" formatCode="0.0%">
                  <c:v>0.68204260120368843</c:v>
                </c:pt>
                <c:pt idx="1479" formatCode="0.0%">
                  <c:v>0.68204260120368843</c:v>
                </c:pt>
                <c:pt idx="1480" formatCode="0.0%">
                  <c:v>0.68204260120368843</c:v>
                </c:pt>
                <c:pt idx="1481" formatCode="0.0%">
                  <c:v>0.67190210961896268</c:v>
                </c:pt>
                <c:pt idx="1482" formatCode="0.0%">
                  <c:v>0.68356419901142995</c:v>
                </c:pt>
                <c:pt idx="1483" formatCode="0.0%">
                  <c:v>0.68883952520117053</c:v>
                </c:pt>
                <c:pt idx="1484" formatCode="0.0%">
                  <c:v>0.6994177115014909</c:v>
                </c:pt>
                <c:pt idx="1485" formatCode="0.0%">
                  <c:v>0.68191597643634394</c:v>
                </c:pt>
                <c:pt idx="1486" formatCode="0.0%">
                  <c:v>0.68191597643634394</c:v>
                </c:pt>
                <c:pt idx="1487" formatCode="0.0%">
                  <c:v>0.68191597643634394</c:v>
                </c:pt>
                <c:pt idx="1488" formatCode="0.0%">
                  <c:v>0.66759322340546734</c:v>
                </c:pt>
                <c:pt idx="1489" formatCode="0.0%">
                  <c:v>0.68878605324890341</c:v>
                </c:pt>
                <c:pt idx="1490" formatCode="0.0%">
                  <c:v>0.68708555645796654</c:v>
                </c:pt>
                <c:pt idx="1491" formatCode="0.0%">
                  <c:v>0.69548458832832383</c:v>
                </c:pt>
                <c:pt idx="1492" formatCode="0.0%">
                  <c:v>0.69437918564960854</c:v>
                </c:pt>
                <c:pt idx="1493" formatCode="0.0%">
                  <c:v>0.69437918564960854</c:v>
                </c:pt>
                <c:pt idx="1494" formatCode="0.0%">
                  <c:v>0.69437918564960854</c:v>
                </c:pt>
                <c:pt idx="1495" formatCode="0.0%">
                  <c:v>0.68844273369391262</c:v>
                </c:pt>
                <c:pt idx="1496" formatCode="0.0%">
                  <c:v>0.69210825465630621</c:v>
                </c:pt>
                <c:pt idx="1497" formatCode="0.0%">
                  <c:v>0.69480638076463608</c:v>
                </c:pt>
                <c:pt idx="1498" formatCode="0.0%">
                  <c:v>0.71051763094756981</c:v>
                </c:pt>
                <c:pt idx="1499" formatCode="0.0%">
                  <c:v>0.70319954424026887</c:v>
                </c:pt>
                <c:pt idx="1500" formatCode="0.0%">
                  <c:v>0.70319954424026887</c:v>
                </c:pt>
                <c:pt idx="1501" formatCode="0.0%">
                  <c:v>0.70319954424026887</c:v>
                </c:pt>
                <c:pt idx="1502" formatCode="0.0%">
                  <c:v>0.71627603040151799</c:v>
                </c:pt>
                <c:pt idx="1503" formatCode="0.0%">
                  <c:v>0.71181032971524671</c:v>
                </c:pt>
                <c:pt idx="1504" formatCode="0.0%">
                  <c:v>0.70491462223502166</c:v>
                </c:pt>
                <c:pt idx="1505" formatCode="0.0%">
                  <c:v>0.71371468899265922</c:v>
                </c:pt>
                <c:pt idx="1506" formatCode="0.0%">
                  <c:v>0.70546619782798015</c:v>
                </c:pt>
                <c:pt idx="1507" formatCode="0.0%">
                  <c:v>0.70546619782798015</c:v>
                </c:pt>
                <c:pt idx="1508" formatCode="0.0%">
                  <c:v>0.70546619782798015</c:v>
                </c:pt>
                <c:pt idx="1509" formatCode="0.0%">
                  <c:v>0.71237375807502645</c:v>
                </c:pt>
                <c:pt idx="1510" formatCode="0.0%">
                  <c:v>0.71910212388140904</c:v>
                </c:pt>
                <c:pt idx="1511" formatCode="0.0%">
                  <c:v>0.72446201850163527</c:v>
                </c:pt>
                <c:pt idx="1512" formatCode="0.0%">
                  <c:v>0.71055758119607904</c:v>
                </c:pt>
                <c:pt idx="1513" formatCode="0.0%">
                  <c:v>0.69625191078708271</c:v>
                </c:pt>
                <c:pt idx="1514" formatCode="0.0%">
                  <c:v>0.69625191078708271</c:v>
                </c:pt>
                <c:pt idx="1515" formatCode="0.0%">
                  <c:v>0.69625191078708271</c:v>
                </c:pt>
                <c:pt idx="1516" formatCode="0.0%">
                  <c:v>0.68638932048840839</c:v>
                </c:pt>
                <c:pt idx="1517" formatCode="0.0%">
                  <c:v>0.67413576463750813</c:v>
                </c:pt>
                <c:pt idx="1518" formatCode="0.0%">
                  <c:v>0.67722852450722115</c:v>
                </c:pt>
                <c:pt idx="1519" formatCode="0.0%">
                  <c:v>0.66922667958051196</c:v>
                </c:pt>
                <c:pt idx="1520" formatCode="0.0%">
                  <c:v>0.68246054149806834</c:v>
                </c:pt>
                <c:pt idx="1521" formatCode="0.0%">
                  <c:v>0.68246054149806834</c:v>
                </c:pt>
                <c:pt idx="1522" formatCode="0.0%">
                  <c:v>0.68246054149806834</c:v>
                </c:pt>
                <c:pt idx="1523" formatCode="0.0%">
                  <c:v>0.65510208861985797</c:v>
                </c:pt>
                <c:pt idx="1524" formatCode="0.0%">
                  <c:v>0.63015483951984153</c:v>
                </c:pt>
                <c:pt idx="1525" formatCode="0.0%">
                  <c:v>0.61804994031178273</c:v>
                </c:pt>
                <c:pt idx="1526" formatCode="0.0%">
                  <c:v>0.59472139437682581</c:v>
                </c:pt>
                <c:pt idx="1527" formatCode="0.0%">
                  <c:v>0.59026192861797455</c:v>
                </c:pt>
                <c:pt idx="1528" formatCode="0.0%">
                  <c:v>0.59026192861797455</c:v>
                </c:pt>
                <c:pt idx="1529" formatCode="0.0%">
                  <c:v>0.59026192861797455</c:v>
                </c:pt>
                <c:pt idx="1530" formatCode="0.0%">
                  <c:v>0.55895704718848971</c:v>
                </c:pt>
                <c:pt idx="1531" formatCode="0.0%">
                  <c:v>0.53496770897261625</c:v>
                </c:pt>
                <c:pt idx="1532" formatCode="0.0%">
                  <c:v>0.54373425529622066</c:v>
                </c:pt>
                <c:pt idx="1533" formatCode="0.0%">
                  <c:v>0.53586895391223721</c:v>
                </c:pt>
                <c:pt idx="1534" formatCode="0.0%">
                  <c:v>0.56134567970831317</c:v>
                </c:pt>
                <c:pt idx="1535" formatCode="0.0%">
                  <c:v>0.56134567970831317</c:v>
                </c:pt>
                <c:pt idx="1536" formatCode="0.0%">
                  <c:v>0.56134567970831317</c:v>
                </c:pt>
                <c:pt idx="1537" formatCode="0.0%">
                  <c:v>0.56804939175970304</c:v>
                </c:pt>
                <c:pt idx="1538" formatCode="0.0%">
                  <c:v>0.55961407254400997</c:v>
                </c:pt>
                <c:pt idx="1539" formatCode="0.0%">
                  <c:v>0.57785491120275367</c:v>
                </c:pt>
                <c:pt idx="1540" formatCode="0.0%">
                  <c:v>0.57868787956616041</c:v>
                </c:pt>
                <c:pt idx="1541" formatCode="0.0%">
                  <c:v>0.58157203234979027</c:v>
                </c:pt>
                <c:pt idx="1542" formatCode="0.0%">
                  <c:v>0.58157203234979027</c:v>
                </c:pt>
                <c:pt idx="1543" formatCode="0.0%">
                  <c:v>0.58157203234979027</c:v>
                </c:pt>
                <c:pt idx="1544" formatCode="0.0%">
                  <c:v>0.60232273161135164</c:v>
                </c:pt>
                <c:pt idx="1545" formatCode="0.0%">
                  <c:v>0.60492538987637146</c:v>
                </c:pt>
                <c:pt idx="1546" formatCode="0.0%">
                  <c:v>0.59356725574896929</c:v>
                </c:pt>
                <c:pt idx="1547" formatCode="0.0%">
                  <c:v>0.58638910194675897</c:v>
                </c:pt>
                <c:pt idx="1548" formatCode="0.0%">
                  <c:v>0.55868740813751061</c:v>
                </c:pt>
                <c:pt idx="1549" formatCode="0.0%">
                  <c:v>0.55868740813751061</c:v>
                </c:pt>
                <c:pt idx="1550" formatCode="0.0%">
                  <c:v>0.55868740813751061</c:v>
                </c:pt>
                <c:pt idx="1551" formatCode="0.0%">
                  <c:v>0.55645682825199316</c:v>
                </c:pt>
                <c:pt idx="1552" formatCode="0.0%">
                  <c:v>0.56487626162637217</c:v>
                </c:pt>
                <c:pt idx="1553" formatCode="0.0%">
                  <c:v>0.56564310119265937</c:v>
                </c:pt>
                <c:pt idx="1554" formatCode="0.0%">
                  <c:v>0.47691968158955461</c:v>
                </c:pt>
                <c:pt idx="1555" formatCode="0.0%">
                  <c:v>0.41407549667812704</c:v>
                </c:pt>
                <c:pt idx="1556" formatCode="0.0%">
                  <c:v>0.41407549667812704</c:v>
                </c:pt>
                <c:pt idx="1557" formatCode="0.0%">
                  <c:v>0.41407549667812704</c:v>
                </c:pt>
                <c:pt idx="1558" formatCode="0.0%">
                  <c:v>0.38840755312125708</c:v>
                </c:pt>
                <c:pt idx="1559" formatCode="0.0%">
                  <c:v>0.38545040785165041</c:v>
                </c:pt>
                <c:pt idx="1560" formatCode="0.0%">
                  <c:v>0.44796917514215695</c:v>
                </c:pt>
                <c:pt idx="1561" formatCode="0.0%">
                  <c:v>0.41799051215060617</c:v>
                </c:pt>
                <c:pt idx="1562" formatCode="0.0%">
                  <c:v>0.41981304333082192</c:v>
                </c:pt>
                <c:pt idx="1563" formatCode="0.0%">
                  <c:v>0.41981304333082192</c:v>
                </c:pt>
                <c:pt idx="1564" formatCode="0.0%">
                  <c:v>0.41981304333082192</c:v>
                </c:pt>
                <c:pt idx="1565" formatCode="0.0%">
                  <c:v>0.43357618304262419</c:v>
                </c:pt>
                <c:pt idx="1566" formatCode="0.0%">
                  <c:v>0.44305326256998512</c:v>
                </c:pt>
                <c:pt idx="1567" formatCode="0.0%">
                  <c:v>0.41527208797349913</c:v>
                </c:pt>
                <c:pt idx="1568" formatCode="0.0%">
                  <c:v>0.4223530828974813</c:v>
                </c:pt>
                <c:pt idx="1569" formatCode="0.0%">
                  <c:v>0.42329633267219746</c:v>
                </c:pt>
                <c:pt idx="1570" formatCode="0.0%">
                  <c:v>0.42329633267219746</c:v>
                </c:pt>
                <c:pt idx="1571" formatCode="0.0%">
                  <c:v>0.42329633267219746</c:v>
                </c:pt>
                <c:pt idx="1572" formatCode="0.0%">
                  <c:v>0.38669985676038721</c:v>
                </c:pt>
                <c:pt idx="1573" formatCode="0.0%">
                  <c:v>0.41252690872558928</c:v>
                </c:pt>
                <c:pt idx="1574" formatCode="0.0%">
                  <c:v>0.45035942115902972</c:v>
                </c:pt>
                <c:pt idx="1575" formatCode="0.0%">
                  <c:v>0.46812102896112179</c:v>
                </c:pt>
                <c:pt idx="1576" formatCode="0.0%">
                  <c:v>0.47759475271995455</c:v>
                </c:pt>
                <c:pt idx="1577" formatCode="0.0%">
                  <c:v>0.47759475271995455</c:v>
                </c:pt>
                <c:pt idx="1578" formatCode="0.0%">
                  <c:v>0.47759475271995455</c:v>
                </c:pt>
                <c:pt idx="1579" formatCode="0.0%">
                  <c:v>0.48053236656199971</c:v>
                </c:pt>
                <c:pt idx="1580" formatCode="0.0%">
                  <c:v>0.4871104156387574</c:v>
                </c:pt>
                <c:pt idx="1581" formatCode="0.0%">
                  <c:v>0.49335372881279654</c:v>
                </c:pt>
                <c:pt idx="1582" formatCode="0.0%">
                  <c:v>0.50767827226075724</c:v>
                </c:pt>
                <c:pt idx="1583" formatCode="0.0%">
                  <c:v>0.52128691528048787</c:v>
                </c:pt>
                <c:pt idx="1584" formatCode="0.0%">
                  <c:v>0.52128691528048787</c:v>
                </c:pt>
                <c:pt idx="1585" formatCode="0.0%">
                  <c:v>0.52128691528048787</c:v>
                </c:pt>
                <c:pt idx="1586" formatCode="0.0%">
                  <c:v>0.52006711964027175</c:v>
                </c:pt>
                <c:pt idx="1587" formatCode="0.0%">
                  <c:v>0.51200151419697904</c:v>
                </c:pt>
                <c:pt idx="1588" formatCode="0.0%">
                  <c:v>0.5122662279900192</c:v>
                </c:pt>
                <c:pt idx="1589" formatCode="0.0%">
                  <c:v>0.52771774817221195</c:v>
                </c:pt>
                <c:pt idx="1590" formatCode="0.0%">
                  <c:v>0.53124405878645831</c:v>
                </c:pt>
                <c:pt idx="1591" formatCode="0.0%">
                  <c:v>0.53124405878645831</c:v>
                </c:pt>
                <c:pt idx="1592" formatCode="0.0%">
                  <c:v>0.53124405878645831</c:v>
                </c:pt>
                <c:pt idx="1593" formatCode="0.0%">
                  <c:v>0.58691571595942149</c:v>
                </c:pt>
                <c:pt idx="1594" formatCode="0.0%">
                  <c:v>0.59000589861714448</c:v>
                </c:pt>
                <c:pt idx="1595" formatCode="0.0%">
                  <c:v>0.58852936738346784</c:v>
                </c:pt>
                <c:pt idx="1596" formatCode="0.0%">
                  <c:v>0.59674978089887276</c:v>
                </c:pt>
                <c:pt idx="1597" formatCode="0.0%">
                  <c:v>0.6092383522153878</c:v>
                </c:pt>
                <c:pt idx="1598" formatCode="0.0%">
                  <c:v>0.6092383522153878</c:v>
                </c:pt>
                <c:pt idx="1599" formatCode="0.0%">
                  <c:v>0.6092383522153878</c:v>
                </c:pt>
                <c:pt idx="1600" formatCode="0.0%">
                  <c:v>0.59873157713729885</c:v>
                </c:pt>
                <c:pt idx="1601" formatCode="0.0%">
                  <c:v>0.59524045551839977</c:v>
                </c:pt>
                <c:pt idx="1602" formatCode="0.0%">
                  <c:v>0.57162178193397073</c:v>
                </c:pt>
                <c:pt idx="1603" formatCode="0.0%">
                  <c:v>0.57475573731242124</c:v>
                </c:pt>
                <c:pt idx="1604" formatCode="0.0%">
                  <c:v>0.56057492212183968</c:v>
                </c:pt>
                <c:pt idx="1605" formatCode="0.0%">
                  <c:v>0.56057492212183968</c:v>
                </c:pt>
                <c:pt idx="1606" formatCode="0.0%">
                  <c:v>0.56057492212183968</c:v>
                </c:pt>
                <c:pt idx="1607" formatCode="0.0%">
                  <c:v>0.55908208141445981</c:v>
                </c:pt>
                <c:pt idx="1608" formatCode="0.0%">
                  <c:v>0.58446591764802147</c:v>
                </c:pt>
                <c:pt idx="1609" formatCode="0.0%">
                  <c:v>0.58153502208589236</c:v>
                </c:pt>
                <c:pt idx="1610" formatCode="0.0%">
                  <c:v>0.58196103926059661</c:v>
                </c:pt>
                <c:pt idx="1611" formatCode="0.0%">
                  <c:v>0.58046479940786722</c:v>
                </c:pt>
                <c:pt idx="1612" formatCode="0.0%">
                  <c:v>0.58046479940786722</c:v>
                </c:pt>
                <c:pt idx="1613" formatCode="0.0%">
                  <c:v>0.58046479940786722</c:v>
                </c:pt>
                <c:pt idx="1614" formatCode="0.0%">
                  <c:v>0.57536783139929815</c:v>
                </c:pt>
                <c:pt idx="1615" formatCode="0.0%">
                  <c:v>0.58662294945461635</c:v>
                </c:pt>
                <c:pt idx="1616" formatCode="0.0%">
                  <c:v>0.58645245671858703</c:v>
                </c:pt>
                <c:pt idx="1617" formatCode="0.0%">
                  <c:v>0.5795060006487861</c:v>
                </c:pt>
                <c:pt idx="1618" formatCode="0.0%">
                  <c:v>0.59815341482714612</c:v>
                </c:pt>
                <c:pt idx="1619" formatCode="0.0%">
                  <c:v>0.59815341482714612</c:v>
                </c:pt>
                <c:pt idx="1620" formatCode="0.0%">
                  <c:v>0.59815341482714612</c:v>
                </c:pt>
                <c:pt idx="1621" formatCode="0.0%">
                  <c:v>0.59885591544294214</c:v>
                </c:pt>
                <c:pt idx="1622" formatCode="0.0%">
                  <c:v>0.60308801195878037</c:v>
                </c:pt>
                <c:pt idx="1623" formatCode="0.0%">
                  <c:v>0.59443390696151421</c:v>
                </c:pt>
                <c:pt idx="1624" formatCode="0.0%">
                  <c:v>0.58526031023030611</c:v>
                </c:pt>
                <c:pt idx="1625" formatCode="0.0%">
                  <c:v>0.57307703005974731</c:v>
                </c:pt>
                <c:pt idx="1626" formatCode="0.0%">
                  <c:v>0.57307703005974731</c:v>
                </c:pt>
                <c:pt idx="1627" formatCode="0.0%">
                  <c:v>0.57307703005974731</c:v>
                </c:pt>
                <c:pt idx="1628" formatCode="0.0%">
                  <c:v>0.58028658579397496</c:v>
                </c:pt>
                <c:pt idx="1629" formatCode="0.0%">
                  <c:v>0.57679622912267914</c:v>
                </c:pt>
                <c:pt idx="1630" formatCode="0.0%">
                  <c:v>0.57819073359298723</c:v>
                </c:pt>
                <c:pt idx="1631" formatCode="0.0%">
                  <c:v>0.57706241928876867</c:v>
                </c:pt>
                <c:pt idx="1632" formatCode="0.0%">
                  <c:v>0.57039160888852936</c:v>
                </c:pt>
                <c:pt idx="1633" formatCode="0.0%">
                  <c:v>0.57039160888852936</c:v>
                </c:pt>
                <c:pt idx="1634" formatCode="0.0%">
                  <c:v>0.57039160888852936</c:v>
                </c:pt>
                <c:pt idx="1635" formatCode="0.0%">
                  <c:v>0.5761603496388702</c:v>
                </c:pt>
                <c:pt idx="1636" formatCode="0.0%">
                  <c:v>0.58735848475666985</c:v>
                </c:pt>
                <c:pt idx="1637" formatCode="0.0%">
                  <c:v>0.5853085804248559</c:v>
                </c:pt>
                <c:pt idx="1638" formatCode="0.0%">
                  <c:v>0.58685309095769778</c:v>
                </c:pt>
                <c:pt idx="1639" formatCode="0.0%">
                  <c:v>0.59447682615441921</c:v>
                </c:pt>
                <c:pt idx="1640" formatCode="0.0%">
                  <c:v>0.59447682615441921</c:v>
                </c:pt>
                <c:pt idx="1641" formatCode="0.0%">
                  <c:v>0.59447682615441921</c:v>
                </c:pt>
                <c:pt idx="1642" formatCode="0.0%">
                  <c:v>0.59740590766064372</c:v>
                </c:pt>
                <c:pt idx="1643" formatCode="0.0%">
                  <c:v>0.59132714360869698</c:v>
                </c:pt>
                <c:pt idx="1644" formatCode="0.0%">
                  <c:v>0.59811258898313502</c:v>
                </c:pt>
                <c:pt idx="1645" formatCode="0.0%">
                  <c:v>0.61099477027664539</c:v>
                </c:pt>
                <c:pt idx="1646" formatCode="0.0%">
                  <c:v>0.60621839396738753</c:v>
                </c:pt>
                <c:pt idx="1647" formatCode="0.0%">
                  <c:v>0.60621839396738753</c:v>
                </c:pt>
                <c:pt idx="1648" formatCode="0.0%">
                  <c:v>0.60621839396738753</c:v>
                </c:pt>
                <c:pt idx="1649" formatCode="0.0%">
                  <c:v>0.60137144060735837</c:v>
                </c:pt>
                <c:pt idx="1650" formatCode="0.0%">
                  <c:v>0.60648965270434674</c:v>
                </c:pt>
                <c:pt idx="1651" formatCode="0.0%">
                  <c:v>0.612321537370068</c:v>
                </c:pt>
                <c:pt idx="1652" formatCode="0.0%">
                  <c:v>0.62063310788535941</c:v>
                </c:pt>
                <c:pt idx="1653" formatCode="0.0%">
                  <c:v>0.61241789856779205</c:v>
                </c:pt>
                <c:pt idx="1654" formatCode="0.0%">
                  <c:v>0.61241789856779205</c:v>
                </c:pt>
                <c:pt idx="1655" formatCode="0.0%">
                  <c:v>0.61241789856779205</c:v>
                </c:pt>
                <c:pt idx="1656" formatCode="0.0%">
                  <c:v>0.61589375628758714</c:v>
                </c:pt>
                <c:pt idx="1657" formatCode="0.0%">
                  <c:v>0.61946336747219588</c:v>
                </c:pt>
                <c:pt idx="1658" formatCode="0.0%">
                  <c:v>0.62394585023230831</c:v>
                </c:pt>
                <c:pt idx="1659" formatCode="0.0%">
                  <c:v>0.63438422451342913</c:v>
                </c:pt>
                <c:pt idx="1660" formatCode="0.0%">
                  <c:v>0.62912964963272178</c:v>
                </c:pt>
                <c:pt idx="1661" formatCode="0.0%">
                  <c:v>0.62912964963272178</c:v>
                </c:pt>
                <c:pt idx="1662" formatCode="0.0%">
                  <c:v>0.62912964963272178</c:v>
                </c:pt>
                <c:pt idx="1663" formatCode="0.0%">
                  <c:v>0.62500198336299773</c:v>
                </c:pt>
                <c:pt idx="1664" formatCode="0.0%">
                  <c:v>0.62202032282068187</c:v>
                </c:pt>
                <c:pt idx="1665" formatCode="0.0%">
                  <c:v>0.63700042334448681</c:v>
                </c:pt>
                <c:pt idx="1666" formatCode="0.0%">
                  <c:v>0.63619017971824632</c:v>
                </c:pt>
                <c:pt idx="1667" formatCode="0.0%">
                  <c:v>0.64105851267019998</c:v>
                </c:pt>
                <c:pt idx="1668" formatCode="0.0%">
                  <c:v>0.64105851267019998</c:v>
                </c:pt>
                <c:pt idx="1669" formatCode="0.0%">
                  <c:v>0.64105851267019998</c:v>
                </c:pt>
                <c:pt idx="1670" formatCode="0.0%">
                  <c:v>0.65061551774177273</c:v>
                </c:pt>
                <c:pt idx="1671" formatCode="0.0%">
                  <c:v>0.66077264858850815</c:v>
                </c:pt>
                <c:pt idx="1672" formatCode="0.0%">
                  <c:v>0.66379345024103287</c:v>
                </c:pt>
                <c:pt idx="1673" formatCode="0.0%">
                  <c:v>0.66085964985777734</c:v>
                </c:pt>
                <c:pt idx="1674" formatCode="0.0%">
                  <c:v>0.62377918538763166</c:v>
                </c:pt>
                <c:pt idx="1675" formatCode="0.0%">
                  <c:v>0.62377918538763166</c:v>
                </c:pt>
                <c:pt idx="1676" formatCode="0.0%">
                  <c:v>0.62377918538763166</c:v>
                </c:pt>
                <c:pt idx="1677" formatCode="0.0%">
                  <c:v>0.64195904878475007</c:v>
                </c:pt>
                <c:pt idx="1678" formatCode="0.0%">
                  <c:v>0.63953731630571753</c:v>
                </c:pt>
                <c:pt idx="1679" formatCode="0.0%">
                  <c:v>0.64156556525902031</c:v>
                </c:pt>
                <c:pt idx="1680" formatCode="0.0%">
                  <c:v>0.64638758319606693</c:v>
                </c:pt>
                <c:pt idx="1681" formatCode="0.0%">
                  <c:v>0.650599360666541</c:v>
                </c:pt>
                <c:pt idx="1682" formatCode="0.0%">
                  <c:v>0.650599360666541</c:v>
                </c:pt>
                <c:pt idx="1683" formatCode="0.0%">
                  <c:v>0.650599360666541</c:v>
                </c:pt>
                <c:pt idx="1684" formatCode="0.0%">
                  <c:v>0.65487412489064045</c:v>
                </c:pt>
                <c:pt idx="1685" formatCode="0.0%">
                  <c:v>0.66188140793376504</c:v>
                </c:pt>
                <c:pt idx="1686" formatCode="0.0%">
                  <c:v>0.66364602274577211</c:v>
                </c:pt>
                <c:pt idx="1687" formatCode="0.0%">
                  <c:v>0.6703756933000995</c:v>
                </c:pt>
                <c:pt idx="1688" formatCode="0.0%">
                  <c:v>0.66364990867890528</c:v>
                </c:pt>
                <c:pt idx="1689" formatCode="0.0%">
                  <c:v>0.66364990867890528</c:v>
                </c:pt>
                <c:pt idx="1690" formatCode="0.0%">
                  <c:v>0.66364990867890528</c:v>
                </c:pt>
                <c:pt idx="1691" formatCode="0.0%">
                  <c:v>0.66921568852029167</c:v>
                </c:pt>
                <c:pt idx="1692" formatCode="0.0%">
                  <c:v>0.66244670991879329</c:v>
                </c:pt>
                <c:pt idx="1693" formatCode="0.0%">
                  <c:v>0.66039011040697693</c:v>
                </c:pt>
                <c:pt idx="1694" formatCode="0.0%">
                  <c:v>0.66127219049129848</c:v>
                </c:pt>
                <c:pt idx="1695" formatCode="0.0%">
                  <c:v>0.66928510918354622</c:v>
                </c:pt>
                <c:pt idx="1696" formatCode="0.0%">
                  <c:v>0.66928510918354622</c:v>
                </c:pt>
                <c:pt idx="1697" formatCode="0.0%">
                  <c:v>0.66928510918354622</c:v>
                </c:pt>
                <c:pt idx="1698" formatCode="0.0%">
                  <c:v>0.6690830687829975</c:v>
                </c:pt>
                <c:pt idx="1699" formatCode="0.0%">
                  <c:v>0.67378646844119883</c:v>
                </c:pt>
                <c:pt idx="1700" formatCode="0.0%">
                  <c:v>0.68335957966522076</c:v>
                </c:pt>
                <c:pt idx="1701" formatCode="0.0%">
                  <c:v>0.67784991663104621</c:v>
                </c:pt>
                <c:pt idx="1702" formatCode="0.0%">
                  <c:v>0.66464499754297546</c:v>
                </c:pt>
                <c:pt idx="1703" formatCode="0.0%">
                  <c:v>0.66464499754297546</c:v>
                </c:pt>
                <c:pt idx="1704" formatCode="0.0%">
                  <c:v>0.66464499754297546</c:v>
                </c:pt>
                <c:pt idx="1705" formatCode="0.0%">
                  <c:v>0.66450356243682163</c:v>
                </c:pt>
                <c:pt idx="1706" formatCode="0.0%">
                  <c:v>0.65904944327746873</c:v>
                </c:pt>
                <c:pt idx="1707" formatCode="0.0%">
                  <c:v>0.66504215149303914</c:v>
                </c:pt>
                <c:pt idx="1708" formatCode="0.0%">
                  <c:v>0.67957977388750634</c:v>
                </c:pt>
                <c:pt idx="1709" formatCode="0.0%">
                  <c:v>0.66807415762605071</c:v>
                </c:pt>
                <c:pt idx="1710" formatCode="0.0%">
                  <c:v>0.66807415762605071</c:v>
                </c:pt>
                <c:pt idx="1711" formatCode="0.0%">
                  <c:v>0.66807415762605071</c:v>
                </c:pt>
                <c:pt idx="1712" formatCode="0.0%">
                  <c:v>0.67275503903868017</c:v>
                </c:pt>
                <c:pt idx="1713" formatCode="0.0%">
                  <c:v>0.67917095365551405</c:v>
                </c:pt>
                <c:pt idx="1714" formatCode="0.0%">
                  <c:v>0.68549949428370638</c:v>
                </c:pt>
                <c:pt idx="1715" formatCode="0.0%">
                  <c:v>0.69681742084588105</c:v>
                </c:pt>
                <c:pt idx="1716" formatCode="0.0%">
                  <c:v>0.69819070736805999</c:v>
                </c:pt>
                <c:pt idx="1717" formatCode="0.0%">
                  <c:v>0.69819070736805999</c:v>
                </c:pt>
                <c:pt idx="1718" formatCode="0.0%">
                  <c:v>0.69819070736805999</c:v>
                </c:pt>
                <c:pt idx="1719" formatCode="0.0%">
                  <c:v>0.70161487613015339</c:v>
                </c:pt>
                <c:pt idx="1720" formatCode="0.0%">
                  <c:v>0.68867995644636215</c:v>
                </c:pt>
                <c:pt idx="1721" formatCode="0.0%">
                  <c:v>0.68832022813366278</c:v>
                </c:pt>
                <c:pt idx="1722" formatCode="0.0%">
                  <c:v>0.70381258497559174</c:v>
                </c:pt>
                <c:pt idx="1723" formatCode="0.0%">
                  <c:v>0.71085868347684089</c:v>
                </c:pt>
                <c:pt idx="1724" formatCode="0.0%">
                  <c:v>0.71085868347684089</c:v>
                </c:pt>
                <c:pt idx="1725" formatCode="0.0%">
                  <c:v>0.71085868347684089</c:v>
                </c:pt>
                <c:pt idx="1726" formatCode="0.0%">
                  <c:v>0.71454644309105586</c:v>
                </c:pt>
                <c:pt idx="1727" formatCode="0.0%">
                  <c:v>0.70600432401446567</c:v>
                </c:pt>
                <c:pt idx="1728" formatCode="0.0%">
                  <c:v>0.70861929251319167</c:v>
                </c:pt>
                <c:pt idx="1729" formatCode="0.0%">
                  <c:v>0.70830154654771948</c:v>
                </c:pt>
                <c:pt idx="1730" formatCode="0.0%">
                  <c:v>0.71236185314333</c:v>
                </c:pt>
                <c:pt idx="1731" formatCode="0.0%">
                  <c:v>0.71236185314333</c:v>
                </c:pt>
                <c:pt idx="1732" formatCode="0.0%">
                  <c:v>0.71236185314333</c:v>
                </c:pt>
                <c:pt idx="1733" formatCode="0.0%">
                  <c:v>0.71374571793810448</c:v>
                </c:pt>
                <c:pt idx="1734" formatCode="0.0%">
                  <c:v>0.71836034149670469</c:v>
                </c:pt>
                <c:pt idx="1735" formatCode="0.0%">
                  <c:v>0.7262327899659573</c:v>
                </c:pt>
                <c:pt idx="1736" formatCode="0.0%">
                  <c:v>0.73480643965809633</c:v>
                </c:pt>
                <c:pt idx="1737" formatCode="0.0%">
                  <c:v>0.7352986083008608</c:v>
                </c:pt>
                <c:pt idx="1738" formatCode="0.0%">
                  <c:v>0.7352986083008608</c:v>
                </c:pt>
                <c:pt idx="1739" formatCode="0.0%">
                  <c:v>0.7352986083008608</c:v>
                </c:pt>
                <c:pt idx="1740" formatCode="0.0%">
                  <c:v>0.74355871470372736</c:v>
                </c:pt>
                <c:pt idx="1741" formatCode="0.0%">
                  <c:v>0.74463967738979819</c:v>
                </c:pt>
                <c:pt idx="1742" formatCode="0.0%">
                  <c:v>0.75826684806442923</c:v>
                </c:pt>
                <c:pt idx="1743" formatCode="0.0%">
                  <c:v>0.75972765023764055</c:v>
                </c:pt>
                <c:pt idx="1744" formatCode="0.0%">
                  <c:v>0.72260442400904878</c:v>
                </c:pt>
                <c:pt idx="1745" formatCode="0.0%">
                  <c:v>0.72260442400904878</c:v>
                </c:pt>
                <c:pt idx="1746" formatCode="0.0%">
                  <c:v>0.72260442400904878</c:v>
                </c:pt>
                <c:pt idx="1747" formatCode="0.0%">
                  <c:v>0.74121150782832645</c:v>
                </c:pt>
                <c:pt idx="1748" formatCode="0.0%">
                  <c:v>0.73141071968248417</c:v>
                </c:pt>
                <c:pt idx="1749" formatCode="0.0%">
                  <c:v>0.7396550416698906</c:v>
                </c:pt>
                <c:pt idx="1750" formatCode="0.0%">
                  <c:v>0.73008886537173512</c:v>
                </c:pt>
                <c:pt idx="1751" formatCode="0.0%">
                  <c:v>0.7307043955782524</c:v>
                </c:pt>
                <c:pt idx="1752" formatCode="0.0%">
                  <c:v>0.7307043955782524</c:v>
                </c:pt>
                <c:pt idx="1753" formatCode="0.0%">
                  <c:v>0.7307043955782524</c:v>
                </c:pt>
                <c:pt idx="1754" formatCode="0.0%">
                  <c:v>0.75337152194758739</c:v>
                </c:pt>
                <c:pt idx="1755" formatCode="0.0%">
                  <c:v>0.75952505716132546</c:v>
                </c:pt>
                <c:pt idx="1756" formatCode="0.0%">
                  <c:v>0.75127974448102719</c:v>
                </c:pt>
                <c:pt idx="1757" formatCode="0.0%">
                  <c:v>0.75855374261351616</c:v>
                </c:pt>
                <c:pt idx="1758" formatCode="0.0%">
                  <c:v>0.76796873691242984</c:v>
                </c:pt>
                <c:pt idx="1759" formatCode="0.0%">
                  <c:v>0.76796873691242984</c:v>
                </c:pt>
                <c:pt idx="1760" formatCode="0.0%">
                  <c:v>0.76796873691242984</c:v>
                </c:pt>
                <c:pt idx="1761" formatCode="0.0%">
                  <c:v>0.78612447981337741</c:v>
                </c:pt>
                <c:pt idx="1762" formatCode="0.0%">
                  <c:v>0.78438545430234596</c:v>
                </c:pt>
                <c:pt idx="1763" formatCode="0.0%">
                  <c:v>0.78502634285678252</c:v>
                </c:pt>
                <c:pt idx="1764" formatCode="0.0%">
                  <c:v>0.78362973875174191</c:v>
                </c:pt>
                <c:pt idx="1765" formatCode="0.0%">
                  <c:v>0.78907867148244037</c:v>
                </c:pt>
                <c:pt idx="1766" formatCode="0.0%">
                  <c:v>0.78907867148244037</c:v>
                </c:pt>
                <c:pt idx="1767" formatCode="0.0%">
                  <c:v>0.78907867148244037</c:v>
                </c:pt>
                <c:pt idx="1768" formatCode="0.0%">
                  <c:v>0.79422613966110533</c:v>
                </c:pt>
                <c:pt idx="1769" formatCode="0.0%">
                  <c:v>0.77963517664034865</c:v>
                </c:pt>
                <c:pt idx="1770" formatCode="0.0%">
                  <c:v>0.78356170188334229</c:v>
                </c:pt>
                <c:pt idx="1771" formatCode="0.0%">
                  <c:v>0.76410065254170856</c:v>
                </c:pt>
                <c:pt idx="1772" formatCode="0.0%">
                  <c:v>0.75813728025332017</c:v>
                </c:pt>
                <c:pt idx="1773" formatCode="0.0%">
                  <c:v>0.75813728025332017</c:v>
                </c:pt>
                <c:pt idx="1774" formatCode="0.0%">
                  <c:v>0.75813728025332017</c:v>
                </c:pt>
                <c:pt idx="1775" formatCode="0.0%">
                  <c:v>0.78664065710039466</c:v>
                </c:pt>
                <c:pt idx="1776" formatCode="0.0%">
                  <c:v>0.78672855544635356</c:v>
                </c:pt>
                <c:pt idx="1777" formatCode="0.0%">
                  <c:v>0.79124912376226864</c:v>
                </c:pt>
                <c:pt idx="1778" formatCode="0.0%">
                  <c:v>0.76419024805416369</c:v>
                </c:pt>
                <c:pt idx="1779" formatCode="0.0%">
                  <c:v>0.76020541066474978</c:v>
                </c:pt>
                <c:pt idx="1780" formatCode="0.0%">
                  <c:v>0.76020541066474978</c:v>
                </c:pt>
                <c:pt idx="1781" formatCode="0.0%">
                  <c:v>0.76020541066474978</c:v>
                </c:pt>
                <c:pt idx="1782" formatCode="0.0%">
                  <c:v>0.74915994515592099</c:v>
                </c:pt>
                <c:pt idx="1783" formatCode="0.0%">
                  <c:v>0.73086474168756921</c:v>
                </c:pt>
                <c:pt idx="1784" formatCode="0.0%">
                  <c:v>0.73823248740698033</c:v>
                </c:pt>
                <c:pt idx="1785" formatCode="0.0%">
                  <c:v>0.72621876139159014</c:v>
                </c:pt>
                <c:pt idx="1786" formatCode="0.0%">
                  <c:v>0.73387603542659829</c:v>
                </c:pt>
                <c:pt idx="1787" formatCode="0.0%">
                  <c:v>0.73387603542659829</c:v>
                </c:pt>
                <c:pt idx="1788" formatCode="0.0%">
                  <c:v>0.73387603542659829</c:v>
                </c:pt>
                <c:pt idx="1789" formatCode="0.0%">
                  <c:v>0.75023565210383514</c:v>
                </c:pt>
                <c:pt idx="1790" formatCode="0.0%">
                  <c:v>0.76100745430528638</c:v>
                </c:pt>
                <c:pt idx="1791" formatCode="0.0%">
                  <c:v>0.77299304391416712</c:v>
                </c:pt>
                <c:pt idx="1792" formatCode="0.0%">
                  <c:v>0.77327818772275803</c:v>
                </c:pt>
                <c:pt idx="1793" formatCode="0.0%">
                  <c:v>0.77946650693384101</c:v>
                </c:pt>
                <c:pt idx="1794" formatCode="0.0%">
                  <c:v>0.77946650693384101</c:v>
                </c:pt>
                <c:pt idx="1795" formatCode="0.0%">
                  <c:v>0.77946650693384101</c:v>
                </c:pt>
                <c:pt idx="1796" formatCode="0.0%">
                  <c:v>0.76880490652156508</c:v>
                </c:pt>
                <c:pt idx="1797" formatCode="0.0%">
                  <c:v>0.77589101655857118</c:v>
                </c:pt>
                <c:pt idx="1798" formatCode="0.0%">
                  <c:v>0.77355096295310743</c:v>
                </c:pt>
                <c:pt idx="1799" formatCode="0.0%">
                  <c:v>0.77822601040501438</c:v>
                </c:pt>
                <c:pt idx="1800" formatCode="0.0%">
                  <c:v>0.78351950985790209</c:v>
                </c:pt>
                <c:pt idx="1801" formatCode="0.0%">
                  <c:v>0.78351950985790209</c:v>
                </c:pt>
                <c:pt idx="1802" formatCode="0.0%">
                  <c:v>0.78351950985790209</c:v>
                </c:pt>
                <c:pt idx="1803" formatCode="0.0%">
                  <c:v>0.78223523488118929</c:v>
                </c:pt>
                <c:pt idx="1804" formatCode="0.0%">
                  <c:v>0.77883183526618327</c:v>
                </c:pt>
                <c:pt idx="1805" formatCode="0.0%">
                  <c:v>0.78644591486311666</c:v>
                </c:pt>
                <c:pt idx="1806" formatCode="0.0%">
                  <c:v>0.77524400124167159</c:v>
                </c:pt>
                <c:pt idx="1807" formatCode="0.0%">
                  <c:v>0.76698463075099566</c:v>
                </c:pt>
                <c:pt idx="1808" formatCode="0.0%">
                  <c:v>0.76698463075099566</c:v>
                </c:pt>
                <c:pt idx="1809" formatCode="0.0%">
                  <c:v>0.76698463075099566</c:v>
                </c:pt>
                <c:pt idx="1810" formatCode="0.0%">
                  <c:v>0.7617649829211266</c:v>
                </c:pt>
                <c:pt idx="1811" formatCode="0.0%">
                  <c:v>0.75234113314453221</c:v>
                </c:pt>
                <c:pt idx="1812" formatCode="0.0%">
                  <c:v>0.741095675619307</c:v>
                </c:pt>
                <c:pt idx="1813" formatCode="0.0%">
                  <c:v>0.75584433013725405</c:v>
                </c:pt>
                <c:pt idx="1814" formatCode="0.0%">
                  <c:v>0.77099392421013757</c:v>
                </c:pt>
                <c:pt idx="1815" formatCode="0.0%">
                  <c:v>0.77099392421013757</c:v>
                </c:pt>
                <c:pt idx="1816" formatCode="0.0%">
                  <c:v>0.77099392421013757</c:v>
                </c:pt>
                <c:pt idx="1817" formatCode="0.0%">
                  <c:v>0.77524561865506825</c:v>
                </c:pt>
                <c:pt idx="1818" formatCode="0.0%">
                  <c:v>0.78144363154959395</c:v>
                </c:pt>
                <c:pt idx="1819" formatCode="0.0%">
                  <c:v>0.78532419935955322</c:v>
                </c:pt>
                <c:pt idx="1820" formatCode="0.0%">
                  <c:v>0.7854258401806794</c:v>
                </c:pt>
                <c:pt idx="1821" formatCode="0.0%">
                  <c:v>0.78592735614466502</c:v>
                </c:pt>
                <c:pt idx="1822" formatCode="0.0%">
                  <c:v>0.78592735614466502</c:v>
                </c:pt>
                <c:pt idx="1823" formatCode="0.0%">
                  <c:v>0.78592735614466502</c:v>
                </c:pt>
                <c:pt idx="1824" formatCode="0.0%">
                  <c:v>0.78399338436816091</c:v>
                </c:pt>
                <c:pt idx="1825" formatCode="0.0%">
                  <c:v>0.78403924913959544</c:v>
                </c:pt>
                <c:pt idx="1826" formatCode="0.0%">
                  <c:v>0.77683190937357749</c:v>
                </c:pt>
              </c:numCache>
            </c:numRef>
          </c:val>
          <c:smooth val="0"/>
          <c:extLst>
            <c:ext xmlns:c16="http://schemas.microsoft.com/office/drawing/2014/chart" uri="{C3380CC4-5D6E-409C-BE32-E72D297353CC}">
              <c16:uniqueId val="{00000005-C592-43EE-8D08-8400729D0F8F}"/>
            </c:ext>
          </c:extLst>
        </c:ser>
        <c:ser>
          <c:idx val="6"/>
          <c:order val="6"/>
          <c:tx>
            <c:strRef>
              <c:f>Sheet1!$H$1</c:f>
              <c:strCache>
                <c:ptCount val="1"/>
                <c:pt idx="0">
                  <c:v>MSCI ACWI Growth NR USD (77.1%)</c:v>
                </c:pt>
              </c:strCache>
            </c:strRef>
          </c:tx>
          <c:spPr>
            <a:ln w="28575" cap="rnd">
              <a:solidFill>
                <a:schemeClr val="accent2"/>
              </a:solidFill>
              <a:round/>
            </a:ln>
            <a:effectLst/>
          </c:spPr>
          <c:marker>
            <c:symbol val="none"/>
          </c:marker>
          <c:cat>
            <c:numRef>
              <c:f>Sheet1!$A$2:$A$2069</c:f>
              <c:numCache>
                <c:formatCode>d\-mmm\-yy</c:formatCode>
                <c:ptCount val="2068"/>
                <c:pt idx="0">
                  <c:v>44196</c:v>
                </c:pt>
                <c:pt idx="1">
                  <c:v>44197</c:v>
                </c:pt>
                <c:pt idx="2">
                  <c:v>44198</c:v>
                </c:pt>
                <c:pt idx="3">
                  <c:v>44199</c:v>
                </c:pt>
                <c:pt idx="4">
                  <c:v>44200</c:v>
                </c:pt>
                <c:pt idx="5">
                  <c:v>44201</c:v>
                </c:pt>
                <c:pt idx="6">
                  <c:v>44202</c:v>
                </c:pt>
                <c:pt idx="7">
                  <c:v>44203</c:v>
                </c:pt>
                <c:pt idx="8">
                  <c:v>44204</c:v>
                </c:pt>
                <c:pt idx="9">
                  <c:v>44205</c:v>
                </c:pt>
                <c:pt idx="10">
                  <c:v>44206</c:v>
                </c:pt>
                <c:pt idx="11">
                  <c:v>44207</c:v>
                </c:pt>
                <c:pt idx="12">
                  <c:v>44208</c:v>
                </c:pt>
                <c:pt idx="13">
                  <c:v>44209</c:v>
                </c:pt>
                <c:pt idx="14">
                  <c:v>44210</c:v>
                </c:pt>
                <c:pt idx="15">
                  <c:v>44211</c:v>
                </c:pt>
                <c:pt idx="16">
                  <c:v>44212</c:v>
                </c:pt>
                <c:pt idx="17">
                  <c:v>44213</c:v>
                </c:pt>
                <c:pt idx="18">
                  <c:v>44214</c:v>
                </c:pt>
                <c:pt idx="19">
                  <c:v>44215</c:v>
                </c:pt>
                <c:pt idx="20">
                  <c:v>44216</c:v>
                </c:pt>
                <c:pt idx="21">
                  <c:v>44217</c:v>
                </c:pt>
                <c:pt idx="22">
                  <c:v>44218</c:v>
                </c:pt>
                <c:pt idx="23">
                  <c:v>44219</c:v>
                </c:pt>
                <c:pt idx="24">
                  <c:v>44220</c:v>
                </c:pt>
                <c:pt idx="25">
                  <c:v>44221</c:v>
                </c:pt>
                <c:pt idx="26">
                  <c:v>44222</c:v>
                </c:pt>
                <c:pt idx="27">
                  <c:v>44223</c:v>
                </c:pt>
                <c:pt idx="28">
                  <c:v>44224</c:v>
                </c:pt>
                <c:pt idx="29">
                  <c:v>44225</c:v>
                </c:pt>
                <c:pt idx="30">
                  <c:v>44226</c:v>
                </c:pt>
                <c:pt idx="31">
                  <c:v>44227</c:v>
                </c:pt>
                <c:pt idx="32">
                  <c:v>44228</c:v>
                </c:pt>
                <c:pt idx="33">
                  <c:v>44229</c:v>
                </c:pt>
                <c:pt idx="34">
                  <c:v>44230</c:v>
                </c:pt>
                <c:pt idx="35">
                  <c:v>44231</c:v>
                </c:pt>
                <c:pt idx="36">
                  <c:v>44232</c:v>
                </c:pt>
                <c:pt idx="37">
                  <c:v>44233</c:v>
                </c:pt>
                <c:pt idx="38">
                  <c:v>44234</c:v>
                </c:pt>
                <c:pt idx="39">
                  <c:v>44235</c:v>
                </c:pt>
                <c:pt idx="40">
                  <c:v>44236</c:v>
                </c:pt>
                <c:pt idx="41">
                  <c:v>44237</c:v>
                </c:pt>
                <c:pt idx="42">
                  <c:v>44238</c:v>
                </c:pt>
                <c:pt idx="43">
                  <c:v>44239</c:v>
                </c:pt>
                <c:pt idx="44">
                  <c:v>44240</c:v>
                </c:pt>
                <c:pt idx="45">
                  <c:v>44241</c:v>
                </c:pt>
                <c:pt idx="46">
                  <c:v>44242</c:v>
                </c:pt>
                <c:pt idx="47">
                  <c:v>44243</c:v>
                </c:pt>
                <c:pt idx="48">
                  <c:v>44244</c:v>
                </c:pt>
                <c:pt idx="49">
                  <c:v>44245</c:v>
                </c:pt>
                <c:pt idx="50">
                  <c:v>44246</c:v>
                </c:pt>
                <c:pt idx="51">
                  <c:v>44247</c:v>
                </c:pt>
                <c:pt idx="52">
                  <c:v>44248</c:v>
                </c:pt>
                <c:pt idx="53">
                  <c:v>44249</c:v>
                </c:pt>
                <c:pt idx="54">
                  <c:v>44250</c:v>
                </c:pt>
                <c:pt idx="55">
                  <c:v>44251</c:v>
                </c:pt>
                <c:pt idx="56">
                  <c:v>44252</c:v>
                </c:pt>
                <c:pt idx="57">
                  <c:v>44253</c:v>
                </c:pt>
                <c:pt idx="58">
                  <c:v>44254</c:v>
                </c:pt>
                <c:pt idx="59">
                  <c:v>44255</c:v>
                </c:pt>
                <c:pt idx="60">
                  <c:v>44256</c:v>
                </c:pt>
                <c:pt idx="61">
                  <c:v>44257</c:v>
                </c:pt>
                <c:pt idx="62">
                  <c:v>44258</c:v>
                </c:pt>
                <c:pt idx="63">
                  <c:v>44259</c:v>
                </c:pt>
                <c:pt idx="64">
                  <c:v>44260</c:v>
                </c:pt>
                <c:pt idx="65">
                  <c:v>44261</c:v>
                </c:pt>
                <c:pt idx="66">
                  <c:v>44262</c:v>
                </c:pt>
                <c:pt idx="67">
                  <c:v>44263</c:v>
                </c:pt>
                <c:pt idx="68">
                  <c:v>44264</c:v>
                </c:pt>
                <c:pt idx="69">
                  <c:v>44265</c:v>
                </c:pt>
                <c:pt idx="70">
                  <c:v>44266</c:v>
                </c:pt>
                <c:pt idx="71">
                  <c:v>44267</c:v>
                </c:pt>
                <c:pt idx="72">
                  <c:v>44268</c:v>
                </c:pt>
                <c:pt idx="73">
                  <c:v>44269</c:v>
                </c:pt>
                <c:pt idx="74">
                  <c:v>44270</c:v>
                </c:pt>
                <c:pt idx="75">
                  <c:v>44271</c:v>
                </c:pt>
                <c:pt idx="76">
                  <c:v>44272</c:v>
                </c:pt>
                <c:pt idx="77">
                  <c:v>44273</c:v>
                </c:pt>
                <c:pt idx="78">
                  <c:v>44274</c:v>
                </c:pt>
                <c:pt idx="79">
                  <c:v>44275</c:v>
                </c:pt>
                <c:pt idx="80">
                  <c:v>44276</c:v>
                </c:pt>
                <c:pt idx="81">
                  <c:v>44277</c:v>
                </c:pt>
                <c:pt idx="82">
                  <c:v>44278</c:v>
                </c:pt>
                <c:pt idx="83">
                  <c:v>44279</c:v>
                </c:pt>
                <c:pt idx="84">
                  <c:v>44280</c:v>
                </c:pt>
                <c:pt idx="85">
                  <c:v>44281</c:v>
                </c:pt>
                <c:pt idx="86">
                  <c:v>44282</c:v>
                </c:pt>
                <c:pt idx="87">
                  <c:v>44283</c:v>
                </c:pt>
                <c:pt idx="88">
                  <c:v>44284</c:v>
                </c:pt>
                <c:pt idx="89">
                  <c:v>44285</c:v>
                </c:pt>
                <c:pt idx="90">
                  <c:v>44286</c:v>
                </c:pt>
                <c:pt idx="91">
                  <c:v>44287</c:v>
                </c:pt>
                <c:pt idx="92">
                  <c:v>44288</c:v>
                </c:pt>
                <c:pt idx="93">
                  <c:v>44289</c:v>
                </c:pt>
                <c:pt idx="94">
                  <c:v>44290</c:v>
                </c:pt>
                <c:pt idx="95">
                  <c:v>44291</c:v>
                </c:pt>
                <c:pt idx="96">
                  <c:v>44292</c:v>
                </c:pt>
                <c:pt idx="97">
                  <c:v>44293</c:v>
                </c:pt>
                <c:pt idx="98">
                  <c:v>44294</c:v>
                </c:pt>
                <c:pt idx="99">
                  <c:v>44295</c:v>
                </c:pt>
                <c:pt idx="100">
                  <c:v>44296</c:v>
                </c:pt>
                <c:pt idx="101">
                  <c:v>44297</c:v>
                </c:pt>
                <c:pt idx="102">
                  <c:v>44298</c:v>
                </c:pt>
                <c:pt idx="103">
                  <c:v>44299</c:v>
                </c:pt>
                <c:pt idx="104">
                  <c:v>44300</c:v>
                </c:pt>
                <c:pt idx="105">
                  <c:v>44301</c:v>
                </c:pt>
                <c:pt idx="106">
                  <c:v>44302</c:v>
                </c:pt>
                <c:pt idx="107">
                  <c:v>44303</c:v>
                </c:pt>
                <c:pt idx="108">
                  <c:v>44304</c:v>
                </c:pt>
                <c:pt idx="109">
                  <c:v>44305</c:v>
                </c:pt>
                <c:pt idx="110">
                  <c:v>44306</c:v>
                </c:pt>
                <c:pt idx="111">
                  <c:v>44307</c:v>
                </c:pt>
                <c:pt idx="112">
                  <c:v>44308</c:v>
                </c:pt>
                <c:pt idx="113">
                  <c:v>44309</c:v>
                </c:pt>
                <c:pt idx="114">
                  <c:v>44310</c:v>
                </c:pt>
                <c:pt idx="115">
                  <c:v>44311</c:v>
                </c:pt>
                <c:pt idx="116">
                  <c:v>44312</c:v>
                </c:pt>
                <c:pt idx="117">
                  <c:v>44313</c:v>
                </c:pt>
                <c:pt idx="118">
                  <c:v>44314</c:v>
                </c:pt>
                <c:pt idx="119">
                  <c:v>44315</c:v>
                </c:pt>
                <c:pt idx="120">
                  <c:v>44316</c:v>
                </c:pt>
                <c:pt idx="121">
                  <c:v>44317</c:v>
                </c:pt>
                <c:pt idx="122">
                  <c:v>44318</c:v>
                </c:pt>
                <c:pt idx="123">
                  <c:v>44319</c:v>
                </c:pt>
                <c:pt idx="124">
                  <c:v>44320</c:v>
                </c:pt>
                <c:pt idx="125">
                  <c:v>44321</c:v>
                </c:pt>
                <c:pt idx="126">
                  <c:v>44322</c:v>
                </c:pt>
                <c:pt idx="127">
                  <c:v>44323</c:v>
                </c:pt>
                <c:pt idx="128">
                  <c:v>44324</c:v>
                </c:pt>
                <c:pt idx="129">
                  <c:v>44325</c:v>
                </c:pt>
                <c:pt idx="130">
                  <c:v>44326</c:v>
                </c:pt>
                <c:pt idx="131">
                  <c:v>44327</c:v>
                </c:pt>
                <c:pt idx="132">
                  <c:v>44328</c:v>
                </c:pt>
                <c:pt idx="133">
                  <c:v>44329</c:v>
                </c:pt>
                <c:pt idx="134">
                  <c:v>44330</c:v>
                </c:pt>
                <c:pt idx="135">
                  <c:v>44331</c:v>
                </c:pt>
                <c:pt idx="136">
                  <c:v>44332</c:v>
                </c:pt>
                <c:pt idx="137">
                  <c:v>44333</c:v>
                </c:pt>
                <c:pt idx="138">
                  <c:v>44334</c:v>
                </c:pt>
                <c:pt idx="139">
                  <c:v>44335</c:v>
                </c:pt>
                <c:pt idx="140">
                  <c:v>44336</c:v>
                </c:pt>
                <c:pt idx="141">
                  <c:v>44337</c:v>
                </c:pt>
                <c:pt idx="142">
                  <c:v>44338</c:v>
                </c:pt>
                <c:pt idx="143">
                  <c:v>44339</c:v>
                </c:pt>
                <c:pt idx="144">
                  <c:v>44340</c:v>
                </c:pt>
                <c:pt idx="145">
                  <c:v>44341</c:v>
                </c:pt>
                <c:pt idx="146">
                  <c:v>44342</c:v>
                </c:pt>
                <c:pt idx="147">
                  <c:v>44343</c:v>
                </c:pt>
                <c:pt idx="148">
                  <c:v>44344</c:v>
                </c:pt>
                <c:pt idx="149">
                  <c:v>44345</c:v>
                </c:pt>
                <c:pt idx="150">
                  <c:v>44346</c:v>
                </c:pt>
                <c:pt idx="151">
                  <c:v>44347</c:v>
                </c:pt>
                <c:pt idx="152">
                  <c:v>44348</c:v>
                </c:pt>
                <c:pt idx="153">
                  <c:v>44349</c:v>
                </c:pt>
                <c:pt idx="154">
                  <c:v>44350</c:v>
                </c:pt>
                <c:pt idx="155">
                  <c:v>44351</c:v>
                </c:pt>
                <c:pt idx="156">
                  <c:v>44352</c:v>
                </c:pt>
                <c:pt idx="157">
                  <c:v>44353</c:v>
                </c:pt>
                <c:pt idx="158">
                  <c:v>44354</c:v>
                </c:pt>
                <c:pt idx="159">
                  <c:v>44355</c:v>
                </c:pt>
                <c:pt idx="160">
                  <c:v>44356</c:v>
                </c:pt>
                <c:pt idx="161">
                  <c:v>44357</c:v>
                </c:pt>
                <c:pt idx="162">
                  <c:v>44358</c:v>
                </c:pt>
                <c:pt idx="163">
                  <c:v>44359</c:v>
                </c:pt>
                <c:pt idx="164">
                  <c:v>44360</c:v>
                </c:pt>
                <c:pt idx="165">
                  <c:v>44361</c:v>
                </c:pt>
                <c:pt idx="166">
                  <c:v>44362</c:v>
                </c:pt>
                <c:pt idx="167">
                  <c:v>44363</c:v>
                </c:pt>
                <c:pt idx="168">
                  <c:v>44364</c:v>
                </c:pt>
                <c:pt idx="169">
                  <c:v>44365</c:v>
                </c:pt>
                <c:pt idx="170">
                  <c:v>44366</c:v>
                </c:pt>
                <c:pt idx="171">
                  <c:v>44367</c:v>
                </c:pt>
                <c:pt idx="172">
                  <c:v>44368</c:v>
                </c:pt>
                <c:pt idx="173">
                  <c:v>44369</c:v>
                </c:pt>
                <c:pt idx="174">
                  <c:v>44370</c:v>
                </c:pt>
                <c:pt idx="175">
                  <c:v>44371</c:v>
                </c:pt>
                <c:pt idx="176">
                  <c:v>44372</c:v>
                </c:pt>
                <c:pt idx="177">
                  <c:v>44373</c:v>
                </c:pt>
                <c:pt idx="178">
                  <c:v>44374</c:v>
                </c:pt>
                <c:pt idx="179">
                  <c:v>44375</c:v>
                </c:pt>
                <c:pt idx="180">
                  <c:v>44376</c:v>
                </c:pt>
                <c:pt idx="181">
                  <c:v>44377</c:v>
                </c:pt>
                <c:pt idx="182">
                  <c:v>44378</c:v>
                </c:pt>
                <c:pt idx="183">
                  <c:v>44379</c:v>
                </c:pt>
                <c:pt idx="184">
                  <c:v>44380</c:v>
                </c:pt>
                <c:pt idx="185">
                  <c:v>44381</c:v>
                </c:pt>
                <c:pt idx="186">
                  <c:v>44382</c:v>
                </c:pt>
                <c:pt idx="187">
                  <c:v>44383</c:v>
                </c:pt>
                <c:pt idx="188">
                  <c:v>44384</c:v>
                </c:pt>
                <c:pt idx="189">
                  <c:v>44385</c:v>
                </c:pt>
                <c:pt idx="190">
                  <c:v>44386</c:v>
                </c:pt>
                <c:pt idx="191">
                  <c:v>44387</c:v>
                </c:pt>
                <c:pt idx="192">
                  <c:v>44388</c:v>
                </c:pt>
                <c:pt idx="193">
                  <c:v>44389</c:v>
                </c:pt>
                <c:pt idx="194">
                  <c:v>44390</c:v>
                </c:pt>
                <c:pt idx="195">
                  <c:v>44391</c:v>
                </c:pt>
                <c:pt idx="196">
                  <c:v>44392</c:v>
                </c:pt>
                <c:pt idx="197">
                  <c:v>44393</c:v>
                </c:pt>
                <c:pt idx="198">
                  <c:v>44394</c:v>
                </c:pt>
                <c:pt idx="199">
                  <c:v>44395</c:v>
                </c:pt>
                <c:pt idx="200">
                  <c:v>44396</c:v>
                </c:pt>
                <c:pt idx="201">
                  <c:v>44397</c:v>
                </c:pt>
                <c:pt idx="202">
                  <c:v>44398</c:v>
                </c:pt>
                <c:pt idx="203">
                  <c:v>44399</c:v>
                </c:pt>
                <c:pt idx="204">
                  <c:v>44400</c:v>
                </c:pt>
                <c:pt idx="205">
                  <c:v>44401</c:v>
                </c:pt>
                <c:pt idx="206">
                  <c:v>44402</c:v>
                </c:pt>
                <c:pt idx="207">
                  <c:v>44403</c:v>
                </c:pt>
                <c:pt idx="208">
                  <c:v>44404</c:v>
                </c:pt>
                <c:pt idx="209">
                  <c:v>44405</c:v>
                </c:pt>
                <c:pt idx="210">
                  <c:v>44406</c:v>
                </c:pt>
                <c:pt idx="211">
                  <c:v>44407</c:v>
                </c:pt>
                <c:pt idx="212">
                  <c:v>44408</c:v>
                </c:pt>
                <c:pt idx="213">
                  <c:v>44409</c:v>
                </c:pt>
                <c:pt idx="214">
                  <c:v>44410</c:v>
                </c:pt>
                <c:pt idx="215">
                  <c:v>44411</c:v>
                </c:pt>
                <c:pt idx="216">
                  <c:v>44412</c:v>
                </c:pt>
                <c:pt idx="217">
                  <c:v>44413</c:v>
                </c:pt>
                <c:pt idx="218">
                  <c:v>44414</c:v>
                </c:pt>
                <c:pt idx="219">
                  <c:v>44415</c:v>
                </c:pt>
                <c:pt idx="220">
                  <c:v>44416</c:v>
                </c:pt>
                <c:pt idx="221">
                  <c:v>44417</c:v>
                </c:pt>
                <c:pt idx="222">
                  <c:v>44418</c:v>
                </c:pt>
                <c:pt idx="223">
                  <c:v>44419</c:v>
                </c:pt>
                <c:pt idx="224">
                  <c:v>44420</c:v>
                </c:pt>
                <c:pt idx="225">
                  <c:v>44421</c:v>
                </c:pt>
                <c:pt idx="226">
                  <c:v>44422</c:v>
                </c:pt>
                <c:pt idx="227">
                  <c:v>44423</c:v>
                </c:pt>
                <c:pt idx="228">
                  <c:v>44424</c:v>
                </c:pt>
                <c:pt idx="229">
                  <c:v>44425</c:v>
                </c:pt>
                <c:pt idx="230">
                  <c:v>44426</c:v>
                </c:pt>
                <c:pt idx="231">
                  <c:v>44427</c:v>
                </c:pt>
                <c:pt idx="232">
                  <c:v>44428</c:v>
                </c:pt>
                <c:pt idx="233">
                  <c:v>44429</c:v>
                </c:pt>
                <c:pt idx="234">
                  <c:v>44430</c:v>
                </c:pt>
                <c:pt idx="235">
                  <c:v>44431</c:v>
                </c:pt>
                <c:pt idx="236">
                  <c:v>44432</c:v>
                </c:pt>
                <c:pt idx="237">
                  <c:v>44433</c:v>
                </c:pt>
                <c:pt idx="238">
                  <c:v>44434</c:v>
                </c:pt>
                <c:pt idx="239">
                  <c:v>44435</c:v>
                </c:pt>
                <c:pt idx="240">
                  <c:v>44436</c:v>
                </c:pt>
                <c:pt idx="241">
                  <c:v>44437</c:v>
                </c:pt>
                <c:pt idx="242">
                  <c:v>44438</c:v>
                </c:pt>
                <c:pt idx="243">
                  <c:v>44439</c:v>
                </c:pt>
                <c:pt idx="244">
                  <c:v>44440</c:v>
                </c:pt>
                <c:pt idx="245">
                  <c:v>44441</c:v>
                </c:pt>
                <c:pt idx="246">
                  <c:v>44442</c:v>
                </c:pt>
                <c:pt idx="247">
                  <c:v>44443</c:v>
                </c:pt>
                <c:pt idx="248">
                  <c:v>44444</c:v>
                </c:pt>
                <c:pt idx="249">
                  <c:v>44445</c:v>
                </c:pt>
                <c:pt idx="250">
                  <c:v>44446</c:v>
                </c:pt>
                <c:pt idx="251">
                  <c:v>44447</c:v>
                </c:pt>
                <c:pt idx="252">
                  <c:v>44448</c:v>
                </c:pt>
                <c:pt idx="253">
                  <c:v>44449</c:v>
                </c:pt>
                <c:pt idx="254">
                  <c:v>44450</c:v>
                </c:pt>
                <c:pt idx="255">
                  <c:v>44451</c:v>
                </c:pt>
                <c:pt idx="256">
                  <c:v>44452</c:v>
                </c:pt>
                <c:pt idx="257">
                  <c:v>44453</c:v>
                </c:pt>
                <c:pt idx="258">
                  <c:v>44454</c:v>
                </c:pt>
                <c:pt idx="259">
                  <c:v>44455</c:v>
                </c:pt>
                <c:pt idx="260">
                  <c:v>44456</c:v>
                </c:pt>
                <c:pt idx="261">
                  <c:v>44457</c:v>
                </c:pt>
                <c:pt idx="262">
                  <c:v>44458</c:v>
                </c:pt>
                <c:pt idx="263">
                  <c:v>44459</c:v>
                </c:pt>
                <c:pt idx="264">
                  <c:v>44460</c:v>
                </c:pt>
                <c:pt idx="265">
                  <c:v>44461</c:v>
                </c:pt>
                <c:pt idx="266">
                  <c:v>44462</c:v>
                </c:pt>
                <c:pt idx="267">
                  <c:v>44463</c:v>
                </c:pt>
                <c:pt idx="268">
                  <c:v>44464</c:v>
                </c:pt>
                <c:pt idx="269">
                  <c:v>44465</c:v>
                </c:pt>
                <c:pt idx="270">
                  <c:v>44466</c:v>
                </c:pt>
                <c:pt idx="271">
                  <c:v>44467</c:v>
                </c:pt>
                <c:pt idx="272">
                  <c:v>44468</c:v>
                </c:pt>
                <c:pt idx="273">
                  <c:v>44469</c:v>
                </c:pt>
                <c:pt idx="274">
                  <c:v>44470</c:v>
                </c:pt>
                <c:pt idx="275">
                  <c:v>44471</c:v>
                </c:pt>
                <c:pt idx="276">
                  <c:v>44472</c:v>
                </c:pt>
                <c:pt idx="277">
                  <c:v>44473</c:v>
                </c:pt>
                <c:pt idx="278">
                  <c:v>44474</c:v>
                </c:pt>
                <c:pt idx="279">
                  <c:v>44475</c:v>
                </c:pt>
                <c:pt idx="280">
                  <c:v>44476</c:v>
                </c:pt>
                <c:pt idx="281">
                  <c:v>44477</c:v>
                </c:pt>
                <c:pt idx="282">
                  <c:v>44478</c:v>
                </c:pt>
                <c:pt idx="283">
                  <c:v>44479</c:v>
                </c:pt>
                <c:pt idx="284">
                  <c:v>44480</c:v>
                </c:pt>
                <c:pt idx="285">
                  <c:v>44481</c:v>
                </c:pt>
                <c:pt idx="286">
                  <c:v>44482</c:v>
                </c:pt>
                <c:pt idx="287">
                  <c:v>44483</c:v>
                </c:pt>
                <c:pt idx="288">
                  <c:v>44484</c:v>
                </c:pt>
                <c:pt idx="289">
                  <c:v>44485</c:v>
                </c:pt>
                <c:pt idx="290">
                  <c:v>44486</c:v>
                </c:pt>
                <c:pt idx="291">
                  <c:v>44487</c:v>
                </c:pt>
                <c:pt idx="292">
                  <c:v>44488</c:v>
                </c:pt>
                <c:pt idx="293">
                  <c:v>44489</c:v>
                </c:pt>
                <c:pt idx="294">
                  <c:v>44490</c:v>
                </c:pt>
                <c:pt idx="295">
                  <c:v>44491</c:v>
                </c:pt>
                <c:pt idx="296">
                  <c:v>44492</c:v>
                </c:pt>
                <c:pt idx="297">
                  <c:v>44493</c:v>
                </c:pt>
                <c:pt idx="298">
                  <c:v>44494</c:v>
                </c:pt>
                <c:pt idx="299">
                  <c:v>44495</c:v>
                </c:pt>
                <c:pt idx="300">
                  <c:v>44496</c:v>
                </c:pt>
                <c:pt idx="301">
                  <c:v>44497</c:v>
                </c:pt>
                <c:pt idx="302">
                  <c:v>44498</c:v>
                </c:pt>
                <c:pt idx="303">
                  <c:v>44499</c:v>
                </c:pt>
                <c:pt idx="304">
                  <c:v>44500</c:v>
                </c:pt>
                <c:pt idx="305">
                  <c:v>44501</c:v>
                </c:pt>
                <c:pt idx="306">
                  <c:v>44502</c:v>
                </c:pt>
                <c:pt idx="307">
                  <c:v>44503</c:v>
                </c:pt>
                <c:pt idx="308">
                  <c:v>44504</c:v>
                </c:pt>
                <c:pt idx="309">
                  <c:v>44505</c:v>
                </c:pt>
                <c:pt idx="310">
                  <c:v>44506</c:v>
                </c:pt>
                <c:pt idx="311">
                  <c:v>44507</c:v>
                </c:pt>
                <c:pt idx="312">
                  <c:v>44508</c:v>
                </c:pt>
                <c:pt idx="313">
                  <c:v>44509</c:v>
                </c:pt>
                <c:pt idx="314">
                  <c:v>44510</c:v>
                </c:pt>
                <c:pt idx="315">
                  <c:v>44511</c:v>
                </c:pt>
                <c:pt idx="316">
                  <c:v>44512</c:v>
                </c:pt>
                <c:pt idx="317">
                  <c:v>44513</c:v>
                </c:pt>
                <c:pt idx="318">
                  <c:v>44514</c:v>
                </c:pt>
                <c:pt idx="319">
                  <c:v>44515</c:v>
                </c:pt>
                <c:pt idx="320">
                  <c:v>44516</c:v>
                </c:pt>
                <c:pt idx="321">
                  <c:v>44517</c:v>
                </c:pt>
                <c:pt idx="322">
                  <c:v>44518</c:v>
                </c:pt>
                <c:pt idx="323">
                  <c:v>44519</c:v>
                </c:pt>
                <c:pt idx="324">
                  <c:v>44520</c:v>
                </c:pt>
                <c:pt idx="325">
                  <c:v>44521</c:v>
                </c:pt>
                <c:pt idx="326">
                  <c:v>44522</c:v>
                </c:pt>
                <c:pt idx="327">
                  <c:v>44523</c:v>
                </c:pt>
                <c:pt idx="328">
                  <c:v>44524</c:v>
                </c:pt>
                <c:pt idx="329">
                  <c:v>44525</c:v>
                </c:pt>
                <c:pt idx="330">
                  <c:v>44526</c:v>
                </c:pt>
                <c:pt idx="331">
                  <c:v>44527</c:v>
                </c:pt>
                <c:pt idx="332">
                  <c:v>44528</c:v>
                </c:pt>
                <c:pt idx="333">
                  <c:v>44529</c:v>
                </c:pt>
                <c:pt idx="334">
                  <c:v>44530</c:v>
                </c:pt>
                <c:pt idx="335">
                  <c:v>44531</c:v>
                </c:pt>
                <c:pt idx="336">
                  <c:v>44532</c:v>
                </c:pt>
                <c:pt idx="337">
                  <c:v>44533</c:v>
                </c:pt>
                <c:pt idx="338">
                  <c:v>44534</c:v>
                </c:pt>
                <c:pt idx="339">
                  <c:v>44535</c:v>
                </c:pt>
                <c:pt idx="340">
                  <c:v>44536</c:v>
                </c:pt>
                <c:pt idx="341">
                  <c:v>44537</c:v>
                </c:pt>
                <c:pt idx="342">
                  <c:v>44538</c:v>
                </c:pt>
                <c:pt idx="343">
                  <c:v>44539</c:v>
                </c:pt>
                <c:pt idx="344">
                  <c:v>44540</c:v>
                </c:pt>
                <c:pt idx="345">
                  <c:v>44541</c:v>
                </c:pt>
                <c:pt idx="346">
                  <c:v>44542</c:v>
                </c:pt>
                <c:pt idx="347">
                  <c:v>44543</c:v>
                </c:pt>
                <c:pt idx="348">
                  <c:v>44544</c:v>
                </c:pt>
                <c:pt idx="349">
                  <c:v>44545</c:v>
                </c:pt>
                <c:pt idx="350">
                  <c:v>44546</c:v>
                </c:pt>
                <c:pt idx="351">
                  <c:v>44547</c:v>
                </c:pt>
                <c:pt idx="352">
                  <c:v>44548</c:v>
                </c:pt>
                <c:pt idx="353">
                  <c:v>44549</c:v>
                </c:pt>
                <c:pt idx="354">
                  <c:v>44550</c:v>
                </c:pt>
                <c:pt idx="355">
                  <c:v>44551</c:v>
                </c:pt>
                <c:pt idx="356">
                  <c:v>44552</c:v>
                </c:pt>
                <c:pt idx="357">
                  <c:v>44553</c:v>
                </c:pt>
                <c:pt idx="358">
                  <c:v>44554</c:v>
                </c:pt>
                <c:pt idx="359">
                  <c:v>44555</c:v>
                </c:pt>
                <c:pt idx="360">
                  <c:v>44556</c:v>
                </c:pt>
                <c:pt idx="361">
                  <c:v>44557</c:v>
                </c:pt>
                <c:pt idx="362">
                  <c:v>44558</c:v>
                </c:pt>
                <c:pt idx="363">
                  <c:v>44559</c:v>
                </c:pt>
                <c:pt idx="364">
                  <c:v>44560</c:v>
                </c:pt>
                <c:pt idx="365">
                  <c:v>44561</c:v>
                </c:pt>
                <c:pt idx="366">
                  <c:v>44562</c:v>
                </c:pt>
                <c:pt idx="367">
                  <c:v>44563</c:v>
                </c:pt>
                <c:pt idx="368">
                  <c:v>44564</c:v>
                </c:pt>
                <c:pt idx="369">
                  <c:v>44565</c:v>
                </c:pt>
                <c:pt idx="370">
                  <c:v>44566</c:v>
                </c:pt>
                <c:pt idx="371">
                  <c:v>44567</c:v>
                </c:pt>
                <c:pt idx="372">
                  <c:v>44568</c:v>
                </c:pt>
                <c:pt idx="373">
                  <c:v>44569</c:v>
                </c:pt>
                <c:pt idx="374">
                  <c:v>44570</c:v>
                </c:pt>
                <c:pt idx="375">
                  <c:v>44571</c:v>
                </c:pt>
                <c:pt idx="376">
                  <c:v>44572</c:v>
                </c:pt>
                <c:pt idx="377">
                  <c:v>44573</c:v>
                </c:pt>
                <c:pt idx="378">
                  <c:v>44574</c:v>
                </c:pt>
                <c:pt idx="379">
                  <c:v>44575</c:v>
                </c:pt>
                <c:pt idx="380">
                  <c:v>44576</c:v>
                </c:pt>
                <c:pt idx="381">
                  <c:v>44577</c:v>
                </c:pt>
                <c:pt idx="382">
                  <c:v>44578</c:v>
                </c:pt>
                <c:pt idx="383">
                  <c:v>44579</c:v>
                </c:pt>
                <c:pt idx="384">
                  <c:v>44580</c:v>
                </c:pt>
                <c:pt idx="385">
                  <c:v>44581</c:v>
                </c:pt>
                <c:pt idx="386">
                  <c:v>44582</c:v>
                </c:pt>
                <c:pt idx="387">
                  <c:v>44583</c:v>
                </c:pt>
                <c:pt idx="388">
                  <c:v>44584</c:v>
                </c:pt>
                <c:pt idx="389">
                  <c:v>44585</c:v>
                </c:pt>
                <c:pt idx="390">
                  <c:v>44586</c:v>
                </c:pt>
                <c:pt idx="391">
                  <c:v>44587</c:v>
                </c:pt>
                <c:pt idx="392">
                  <c:v>44588</c:v>
                </c:pt>
                <c:pt idx="393">
                  <c:v>44589</c:v>
                </c:pt>
                <c:pt idx="394">
                  <c:v>44590</c:v>
                </c:pt>
                <c:pt idx="395">
                  <c:v>44591</c:v>
                </c:pt>
                <c:pt idx="396">
                  <c:v>44592</c:v>
                </c:pt>
                <c:pt idx="397">
                  <c:v>44593</c:v>
                </c:pt>
                <c:pt idx="398">
                  <c:v>44594</c:v>
                </c:pt>
                <c:pt idx="399">
                  <c:v>44595</c:v>
                </c:pt>
                <c:pt idx="400">
                  <c:v>44596</c:v>
                </c:pt>
                <c:pt idx="401">
                  <c:v>44597</c:v>
                </c:pt>
                <c:pt idx="402">
                  <c:v>44598</c:v>
                </c:pt>
                <c:pt idx="403">
                  <c:v>44599</c:v>
                </c:pt>
                <c:pt idx="404">
                  <c:v>44600</c:v>
                </c:pt>
                <c:pt idx="405">
                  <c:v>44601</c:v>
                </c:pt>
                <c:pt idx="406">
                  <c:v>44602</c:v>
                </c:pt>
                <c:pt idx="407">
                  <c:v>44603</c:v>
                </c:pt>
                <c:pt idx="408">
                  <c:v>44604</c:v>
                </c:pt>
                <c:pt idx="409">
                  <c:v>44605</c:v>
                </c:pt>
                <c:pt idx="410">
                  <c:v>44606</c:v>
                </c:pt>
                <c:pt idx="411">
                  <c:v>44607</c:v>
                </c:pt>
                <c:pt idx="412">
                  <c:v>44608</c:v>
                </c:pt>
                <c:pt idx="413">
                  <c:v>44609</c:v>
                </c:pt>
                <c:pt idx="414">
                  <c:v>44610</c:v>
                </c:pt>
                <c:pt idx="415">
                  <c:v>44611</c:v>
                </c:pt>
                <c:pt idx="416">
                  <c:v>44612</c:v>
                </c:pt>
                <c:pt idx="417">
                  <c:v>44613</c:v>
                </c:pt>
                <c:pt idx="418">
                  <c:v>44614</c:v>
                </c:pt>
                <c:pt idx="419">
                  <c:v>44615</c:v>
                </c:pt>
                <c:pt idx="420">
                  <c:v>44616</c:v>
                </c:pt>
                <c:pt idx="421">
                  <c:v>44617</c:v>
                </c:pt>
                <c:pt idx="422">
                  <c:v>44618</c:v>
                </c:pt>
                <c:pt idx="423">
                  <c:v>44619</c:v>
                </c:pt>
                <c:pt idx="424">
                  <c:v>44620</c:v>
                </c:pt>
                <c:pt idx="425">
                  <c:v>44621</c:v>
                </c:pt>
                <c:pt idx="426">
                  <c:v>44622</c:v>
                </c:pt>
                <c:pt idx="427">
                  <c:v>44623</c:v>
                </c:pt>
                <c:pt idx="428">
                  <c:v>44624</c:v>
                </c:pt>
                <c:pt idx="429">
                  <c:v>44625</c:v>
                </c:pt>
                <c:pt idx="430">
                  <c:v>44626</c:v>
                </c:pt>
                <c:pt idx="431">
                  <c:v>44627</c:v>
                </c:pt>
                <c:pt idx="432">
                  <c:v>44628</c:v>
                </c:pt>
                <c:pt idx="433">
                  <c:v>44629</c:v>
                </c:pt>
                <c:pt idx="434">
                  <c:v>44630</c:v>
                </c:pt>
                <c:pt idx="435">
                  <c:v>44631</c:v>
                </c:pt>
                <c:pt idx="436">
                  <c:v>44632</c:v>
                </c:pt>
                <c:pt idx="437">
                  <c:v>44633</c:v>
                </c:pt>
                <c:pt idx="438">
                  <c:v>44634</c:v>
                </c:pt>
                <c:pt idx="439">
                  <c:v>44635</c:v>
                </c:pt>
                <c:pt idx="440">
                  <c:v>44636</c:v>
                </c:pt>
                <c:pt idx="441">
                  <c:v>44637</c:v>
                </c:pt>
                <c:pt idx="442">
                  <c:v>44638</c:v>
                </c:pt>
                <c:pt idx="443">
                  <c:v>44639</c:v>
                </c:pt>
                <c:pt idx="444">
                  <c:v>44640</c:v>
                </c:pt>
                <c:pt idx="445">
                  <c:v>44641</c:v>
                </c:pt>
                <c:pt idx="446">
                  <c:v>44642</c:v>
                </c:pt>
                <c:pt idx="447">
                  <c:v>44643</c:v>
                </c:pt>
                <c:pt idx="448">
                  <c:v>44644</c:v>
                </c:pt>
                <c:pt idx="449">
                  <c:v>44645</c:v>
                </c:pt>
                <c:pt idx="450">
                  <c:v>44646</c:v>
                </c:pt>
                <c:pt idx="451">
                  <c:v>44647</c:v>
                </c:pt>
                <c:pt idx="452">
                  <c:v>44648</c:v>
                </c:pt>
                <c:pt idx="453">
                  <c:v>44649</c:v>
                </c:pt>
                <c:pt idx="454">
                  <c:v>44650</c:v>
                </c:pt>
                <c:pt idx="455">
                  <c:v>44651</c:v>
                </c:pt>
                <c:pt idx="456">
                  <c:v>44652</c:v>
                </c:pt>
                <c:pt idx="457">
                  <c:v>44653</c:v>
                </c:pt>
                <c:pt idx="458">
                  <c:v>44654</c:v>
                </c:pt>
                <c:pt idx="459">
                  <c:v>44655</c:v>
                </c:pt>
                <c:pt idx="460">
                  <c:v>44656</c:v>
                </c:pt>
                <c:pt idx="461">
                  <c:v>44657</c:v>
                </c:pt>
                <c:pt idx="462">
                  <c:v>44658</c:v>
                </c:pt>
                <c:pt idx="463">
                  <c:v>44659</c:v>
                </c:pt>
                <c:pt idx="464">
                  <c:v>44660</c:v>
                </c:pt>
                <c:pt idx="465">
                  <c:v>44661</c:v>
                </c:pt>
                <c:pt idx="466">
                  <c:v>44662</c:v>
                </c:pt>
                <c:pt idx="467">
                  <c:v>44663</c:v>
                </c:pt>
                <c:pt idx="468">
                  <c:v>44664</c:v>
                </c:pt>
                <c:pt idx="469">
                  <c:v>44665</c:v>
                </c:pt>
                <c:pt idx="470">
                  <c:v>44666</c:v>
                </c:pt>
                <c:pt idx="471">
                  <c:v>44667</c:v>
                </c:pt>
                <c:pt idx="472">
                  <c:v>44668</c:v>
                </c:pt>
                <c:pt idx="473">
                  <c:v>44669</c:v>
                </c:pt>
                <c:pt idx="474">
                  <c:v>44670</c:v>
                </c:pt>
                <c:pt idx="475">
                  <c:v>44671</c:v>
                </c:pt>
                <c:pt idx="476">
                  <c:v>44672</c:v>
                </c:pt>
                <c:pt idx="477">
                  <c:v>44673</c:v>
                </c:pt>
                <c:pt idx="478">
                  <c:v>44674</c:v>
                </c:pt>
                <c:pt idx="479">
                  <c:v>44675</c:v>
                </c:pt>
                <c:pt idx="480">
                  <c:v>44676</c:v>
                </c:pt>
                <c:pt idx="481">
                  <c:v>44677</c:v>
                </c:pt>
                <c:pt idx="482">
                  <c:v>44678</c:v>
                </c:pt>
                <c:pt idx="483">
                  <c:v>44679</c:v>
                </c:pt>
                <c:pt idx="484">
                  <c:v>44680</c:v>
                </c:pt>
                <c:pt idx="485">
                  <c:v>44681</c:v>
                </c:pt>
                <c:pt idx="486">
                  <c:v>44682</c:v>
                </c:pt>
                <c:pt idx="487">
                  <c:v>44683</c:v>
                </c:pt>
                <c:pt idx="488">
                  <c:v>44684</c:v>
                </c:pt>
                <c:pt idx="489">
                  <c:v>44685</c:v>
                </c:pt>
                <c:pt idx="490">
                  <c:v>44686</c:v>
                </c:pt>
                <c:pt idx="491">
                  <c:v>44687</c:v>
                </c:pt>
                <c:pt idx="492">
                  <c:v>44688</c:v>
                </c:pt>
                <c:pt idx="493">
                  <c:v>44689</c:v>
                </c:pt>
                <c:pt idx="494">
                  <c:v>44690</c:v>
                </c:pt>
                <c:pt idx="495">
                  <c:v>44691</c:v>
                </c:pt>
                <c:pt idx="496">
                  <c:v>44692</c:v>
                </c:pt>
                <c:pt idx="497">
                  <c:v>44693</c:v>
                </c:pt>
                <c:pt idx="498">
                  <c:v>44694</c:v>
                </c:pt>
                <c:pt idx="499">
                  <c:v>44695</c:v>
                </c:pt>
                <c:pt idx="500">
                  <c:v>44696</c:v>
                </c:pt>
                <c:pt idx="501">
                  <c:v>44697</c:v>
                </c:pt>
                <c:pt idx="502">
                  <c:v>44698</c:v>
                </c:pt>
                <c:pt idx="503">
                  <c:v>44699</c:v>
                </c:pt>
                <c:pt idx="504">
                  <c:v>44700</c:v>
                </c:pt>
                <c:pt idx="505">
                  <c:v>44701</c:v>
                </c:pt>
                <c:pt idx="506">
                  <c:v>44702</c:v>
                </c:pt>
                <c:pt idx="507">
                  <c:v>44703</c:v>
                </c:pt>
                <c:pt idx="508">
                  <c:v>44704</c:v>
                </c:pt>
                <c:pt idx="509">
                  <c:v>44705</c:v>
                </c:pt>
                <c:pt idx="510">
                  <c:v>44706</c:v>
                </c:pt>
                <c:pt idx="511">
                  <c:v>44707</c:v>
                </c:pt>
                <c:pt idx="512">
                  <c:v>44708</c:v>
                </c:pt>
                <c:pt idx="513">
                  <c:v>44709</c:v>
                </c:pt>
                <c:pt idx="514">
                  <c:v>44710</c:v>
                </c:pt>
                <c:pt idx="515">
                  <c:v>44711</c:v>
                </c:pt>
                <c:pt idx="516">
                  <c:v>44712</c:v>
                </c:pt>
                <c:pt idx="517">
                  <c:v>44713</c:v>
                </c:pt>
                <c:pt idx="518">
                  <c:v>44714</c:v>
                </c:pt>
                <c:pt idx="519">
                  <c:v>44715</c:v>
                </c:pt>
                <c:pt idx="520">
                  <c:v>44716</c:v>
                </c:pt>
                <c:pt idx="521">
                  <c:v>44717</c:v>
                </c:pt>
                <c:pt idx="522">
                  <c:v>44718</c:v>
                </c:pt>
                <c:pt idx="523">
                  <c:v>44719</c:v>
                </c:pt>
                <c:pt idx="524">
                  <c:v>44720</c:v>
                </c:pt>
                <c:pt idx="525">
                  <c:v>44721</c:v>
                </c:pt>
                <c:pt idx="526">
                  <c:v>44722</c:v>
                </c:pt>
                <c:pt idx="527">
                  <c:v>44723</c:v>
                </c:pt>
                <c:pt idx="528">
                  <c:v>44724</c:v>
                </c:pt>
                <c:pt idx="529">
                  <c:v>44725</c:v>
                </c:pt>
                <c:pt idx="530">
                  <c:v>44726</c:v>
                </c:pt>
                <c:pt idx="531">
                  <c:v>44727</c:v>
                </c:pt>
                <c:pt idx="532">
                  <c:v>44728</c:v>
                </c:pt>
                <c:pt idx="533">
                  <c:v>44729</c:v>
                </c:pt>
                <c:pt idx="534">
                  <c:v>44730</c:v>
                </c:pt>
                <c:pt idx="535">
                  <c:v>44731</c:v>
                </c:pt>
                <c:pt idx="536">
                  <c:v>44732</c:v>
                </c:pt>
                <c:pt idx="537">
                  <c:v>44733</c:v>
                </c:pt>
                <c:pt idx="538">
                  <c:v>44734</c:v>
                </c:pt>
                <c:pt idx="539">
                  <c:v>44735</c:v>
                </c:pt>
                <c:pt idx="540">
                  <c:v>44736</c:v>
                </c:pt>
                <c:pt idx="541">
                  <c:v>44737</c:v>
                </c:pt>
                <c:pt idx="542">
                  <c:v>44738</c:v>
                </c:pt>
                <c:pt idx="543">
                  <c:v>44739</c:v>
                </c:pt>
                <c:pt idx="544">
                  <c:v>44740</c:v>
                </c:pt>
                <c:pt idx="545">
                  <c:v>44741</c:v>
                </c:pt>
                <c:pt idx="546">
                  <c:v>44742</c:v>
                </c:pt>
                <c:pt idx="547">
                  <c:v>44743</c:v>
                </c:pt>
                <c:pt idx="548">
                  <c:v>44744</c:v>
                </c:pt>
                <c:pt idx="549">
                  <c:v>44745</c:v>
                </c:pt>
                <c:pt idx="550">
                  <c:v>44746</c:v>
                </c:pt>
                <c:pt idx="551">
                  <c:v>44747</c:v>
                </c:pt>
                <c:pt idx="552">
                  <c:v>44748</c:v>
                </c:pt>
                <c:pt idx="553">
                  <c:v>44749</c:v>
                </c:pt>
                <c:pt idx="554">
                  <c:v>44750</c:v>
                </c:pt>
                <c:pt idx="555">
                  <c:v>44751</c:v>
                </c:pt>
                <c:pt idx="556">
                  <c:v>44752</c:v>
                </c:pt>
                <c:pt idx="557">
                  <c:v>44753</c:v>
                </c:pt>
                <c:pt idx="558">
                  <c:v>44754</c:v>
                </c:pt>
                <c:pt idx="559">
                  <c:v>44755</c:v>
                </c:pt>
                <c:pt idx="560">
                  <c:v>44756</c:v>
                </c:pt>
                <c:pt idx="561">
                  <c:v>44757</c:v>
                </c:pt>
                <c:pt idx="562">
                  <c:v>44758</c:v>
                </c:pt>
                <c:pt idx="563">
                  <c:v>44759</c:v>
                </c:pt>
                <c:pt idx="564">
                  <c:v>44760</c:v>
                </c:pt>
                <c:pt idx="565">
                  <c:v>44761</c:v>
                </c:pt>
                <c:pt idx="566">
                  <c:v>44762</c:v>
                </c:pt>
                <c:pt idx="567">
                  <c:v>44763</c:v>
                </c:pt>
                <c:pt idx="568">
                  <c:v>44764</c:v>
                </c:pt>
                <c:pt idx="569">
                  <c:v>44765</c:v>
                </c:pt>
                <c:pt idx="570">
                  <c:v>44766</c:v>
                </c:pt>
                <c:pt idx="571">
                  <c:v>44767</c:v>
                </c:pt>
                <c:pt idx="572">
                  <c:v>44768</c:v>
                </c:pt>
                <c:pt idx="573">
                  <c:v>44769</c:v>
                </c:pt>
                <c:pt idx="574">
                  <c:v>44770</c:v>
                </c:pt>
                <c:pt idx="575">
                  <c:v>44771</c:v>
                </c:pt>
                <c:pt idx="576">
                  <c:v>44772</c:v>
                </c:pt>
                <c:pt idx="577">
                  <c:v>44773</c:v>
                </c:pt>
                <c:pt idx="578">
                  <c:v>44774</c:v>
                </c:pt>
                <c:pt idx="579">
                  <c:v>44775</c:v>
                </c:pt>
                <c:pt idx="580">
                  <c:v>44776</c:v>
                </c:pt>
                <c:pt idx="581">
                  <c:v>44777</c:v>
                </c:pt>
                <c:pt idx="582">
                  <c:v>44778</c:v>
                </c:pt>
                <c:pt idx="583">
                  <c:v>44779</c:v>
                </c:pt>
                <c:pt idx="584">
                  <c:v>44780</c:v>
                </c:pt>
                <c:pt idx="585">
                  <c:v>44781</c:v>
                </c:pt>
                <c:pt idx="586">
                  <c:v>44782</c:v>
                </c:pt>
                <c:pt idx="587">
                  <c:v>44783</c:v>
                </c:pt>
                <c:pt idx="588">
                  <c:v>44784</c:v>
                </c:pt>
                <c:pt idx="589">
                  <c:v>44785</c:v>
                </c:pt>
                <c:pt idx="590">
                  <c:v>44786</c:v>
                </c:pt>
                <c:pt idx="591">
                  <c:v>44787</c:v>
                </c:pt>
                <c:pt idx="592">
                  <c:v>44788</c:v>
                </c:pt>
                <c:pt idx="593">
                  <c:v>44789</c:v>
                </c:pt>
                <c:pt idx="594">
                  <c:v>44790</c:v>
                </c:pt>
                <c:pt idx="595">
                  <c:v>44791</c:v>
                </c:pt>
                <c:pt idx="596">
                  <c:v>44792</c:v>
                </c:pt>
                <c:pt idx="597">
                  <c:v>44793</c:v>
                </c:pt>
                <c:pt idx="598">
                  <c:v>44794</c:v>
                </c:pt>
                <c:pt idx="599">
                  <c:v>44795</c:v>
                </c:pt>
                <c:pt idx="600">
                  <c:v>44796</c:v>
                </c:pt>
                <c:pt idx="601">
                  <c:v>44797</c:v>
                </c:pt>
                <c:pt idx="602">
                  <c:v>44798</c:v>
                </c:pt>
                <c:pt idx="603">
                  <c:v>44799</c:v>
                </c:pt>
                <c:pt idx="604">
                  <c:v>44800</c:v>
                </c:pt>
                <c:pt idx="605">
                  <c:v>44801</c:v>
                </c:pt>
                <c:pt idx="606">
                  <c:v>44802</c:v>
                </c:pt>
                <c:pt idx="607">
                  <c:v>44803</c:v>
                </c:pt>
                <c:pt idx="608">
                  <c:v>44804</c:v>
                </c:pt>
                <c:pt idx="609">
                  <c:v>44805</c:v>
                </c:pt>
                <c:pt idx="610">
                  <c:v>44806</c:v>
                </c:pt>
                <c:pt idx="611">
                  <c:v>44807</c:v>
                </c:pt>
                <c:pt idx="612">
                  <c:v>44808</c:v>
                </c:pt>
                <c:pt idx="613">
                  <c:v>44809</c:v>
                </c:pt>
                <c:pt idx="614">
                  <c:v>44810</c:v>
                </c:pt>
                <c:pt idx="615">
                  <c:v>44811</c:v>
                </c:pt>
                <c:pt idx="616">
                  <c:v>44812</c:v>
                </c:pt>
                <c:pt idx="617">
                  <c:v>44813</c:v>
                </c:pt>
                <c:pt idx="618">
                  <c:v>44814</c:v>
                </c:pt>
                <c:pt idx="619">
                  <c:v>44815</c:v>
                </c:pt>
                <c:pt idx="620">
                  <c:v>44816</c:v>
                </c:pt>
                <c:pt idx="621">
                  <c:v>44817</c:v>
                </c:pt>
                <c:pt idx="622">
                  <c:v>44818</c:v>
                </c:pt>
                <c:pt idx="623">
                  <c:v>44819</c:v>
                </c:pt>
                <c:pt idx="624">
                  <c:v>44820</c:v>
                </c:pt>
                <c:pt idx="625">
                  <c:v>44821</c:v>
                </c:pt>
                <c:pt idx="626">
                  <c:v>44822</c:v>
                </c:pt>
                <c:pt idx="627">
                  <c:v>44823</c:v>
                </c:pt>
                <c:pt idx="628">
                  <c:v>44824</c:v>
                </c:pt>
                <c:pt idx="629">
                  <c:v>44825</c:v>
                </c:pt>
                <c:pt idx="630">
                  <c:v>44826</c:v>
                </c:pt>
                <c:pt idx="631">
                  <c:v>44827</c:v>
                </c:pt>
                <c:pt idx="632">
                  <c:v>44828</c:v>
                </c:pt>
                <c:pt idx="633">
                  <c:v>44829</c:v>
                </c:pt>
                <c:pt idx="634">
                  <c:v>44830</c:v>
                </c:pt>
                <c:pt idx="635">
                  <c:v>44831</c:v>
                </c:pt>
                <c:pt idx="636">
                  <c:v>44832</c:v>
                </c:pt>
                <c:pt idx="637">
                  <c:v>44833</c:v>
                </c:pt>
                <c:pt idx="638">
                  <c:v>44834</c:v>
                </c:pt>
                <c:pt idx="639">
                  <c:v>44835</c:v>
                </c:pt>
                <c:pt idx="640">
                  <c:v>44836</c:v>
                </c:pt>
                <c:pt idx="641">
                  <c:v>44837</c:v>
                </c:pt>
                <c:pt idx="642">
                  <c:v>44838</c:v>
                </c:pt>
                <c:pt idx="643">
                  <c:v>44839</c:v>
                </c:pt>
                <c:pt idx="644">
                  <c:v>44840</c:v>
                </c:pt>
                <c:pt idx="645">
                  <c:v>44841</c:v>
                </c:pt>
                <c:pt idx="646">
                  <c:v>44842</c:v>
                </c:pt>
                <c:pt idx="647">
                  <c:v>44843</c:v>
                </c:pt>
                <c:pt idx="648">
                  <c:v>44844</c:v>
                </c:pt>
                <c:pt idx="649">
                  <c:v>44845</c:v>
                </c:pt>
                <c:pt idx="650">
                  <c:v>44846</c:v>
                </c:pt>
                <c:pt idx="651">
                  <c:v>44847</c:v>
                </c:pt>
                <c:pt idx="652">
                  <c:v>44848</c:v>
                </c:pt>
                <c:pt idx="653">
                  <c:v>44849</c:v>
                </c:pt>
                <c:pt idx="654">
                  <c:v>44850</c:v>
                </c:pt>
                <c:pt idx="655">
                  <c:v>44851</c:v>
                </c:pt>
                <c:pt idx="656">
                  <c:v>44852</c:v>
                </c:pt>
                <c:pt idx="657">
                  <c:v>44853</c:v>
                </c:pt>
                <c:pt idx="658">
                  <c:v>44854</c:v>
                </c:pt>
                <c:pt idx="659">
                  <c:v>44855</c:v>
                </c:pt>
                <c:pt idx="660">
                  <c:v>44856</c:v>
                </c:pt>
                <c:pt idx="661">
                  <c:v>44857</c:v>
                </c:pt>
                <c:pt idx="662">
                  <c:v>44858</c:v>
                </c:pt>
                <c:pt idx="663">
                  <c:v>44859</c:v>
                </c:pt>
                <c:pt idx="664">
                  <c:v>44860</c:v>
                </c:pt>
                <c:pt idx="665">
                  <c:v>44861</c:v>
                </c:pt>
                <c:pt idx="666">
                  <c:v>44862</c:v>
                </c:pt>
                <c:pt idx="667">
                  <c:v>44863</c:v>
                </c:pt>
                <c:pt idx="668">
                  <c:v>44864</c:v>
                </c:pt>
                <c:pt idx="669">
                  <c:v>44865</c:v>
                </c:pt>
                <c:pt idx="670">
                  <c:v>44866</c:v>
                </c:pt>
                <c:pt idx="671">
                  <c:v>44867</c:v>
                </c:pt>
                <c:pt idx="672">
                  <c:v>44868</c:v>
                </c:pt>
                <c:pt idx="673">
                  <c:v>44869</c:v>
                </c:pt>
                <c:pt idx="674">
                  <c:v>44870</c:v>
                </c:pt>
                <c:pt idx="675">
                  <c:v>44871</c:v>
                </c:pt>
                <c:pt idx="676">
                  <c:v>44872</c:v>
                </c:pt>
                <c:pt idx="677">
                  <c:v>44873</c:v>
                </c:pt>
                <c:pt idx="678">
                  <c:v>44874</c:v>
                </c:pt>
                <c:pt idx="679">
                  <c:v>44875</c:v>
                </c:pt>
                <c:pt idx="680">
                  <c:v>44876</c:v>
                </c:pt>
                <c:pt idx="681">
                  <c:v>44877</c:v>
                </c:pt>
                <c:pt idx="682">
                  <c:v>44878</c:v>
                </c:pt>
                <c:pt idx="683">
                  <c:v>44879</c:v>
                </c:pt>
                <c:pt idx="684">
                  <c:v>44880</c:v>
                </c:pt>
                <c:pt idx="685">
                  <c:v>44881</c:v>
                </c:pt>
                <c:pt idx="686">
                  <c:v>44882</c:v>
                </c:pt>
                <c:pt idx="687">
                  <c:v>44883</c:v>
                </c:pt>
                <c:pt idx="688">
                  <c:v>44884</c:v>
                </c:pt>
                <c:pt idx="689">
                  <c:v>44885</c:v>
                </c:pt>
                <c:pt idx="690">
                  <c:v>44886</c:v>
                </c:pt>
                <c:pt idx="691">
                  <c:v>44887</c:v>
                </c:pt>
                <c:pt idx="692">
                  <c:v>44888</c:v>
                </c:pt>
                <c:pt idx="693">
                  <c:v>44889</c:v>
                </c:pt>
                <c:pt idx="694">
                  <c:v>44890</c:v>
                </c:pt>
                <c:pt idx="695">
                  <c:v>44891</c:v>
                </c:pt>
                <c:pt idx="696">
                  <c:v>44892</c:v>
                </c:pt>
                <c:pt idx="697">
                  <c:v>44893</c:v>
                </c:pt>
                <c:pt idx="698">
                  <c:v>44894</c:v>
                </c:pt>
                <c:pt idx="699">
                  <c:v>44895</c:v>
                </c:pt>
                <c:pt idx="700">
                  <c:v>44896</c:v>
                </c:pt>
                <c:pt idx="701">
                  <c:v>44897</c:v>
                </c:pt>
                <c:pt idx="702">
                  <c:v>44898</c:v>
                </c:pt>
                <c:pt idx="703">
                  <c:v>44899</c:v>
                </c:pt>
                <c:pt idx="704">
                  <c:v>44900</c:v>
                </c:pt>
                <c:pt idx="705">
                  <c:v>44901</c:v>
                </c:pt>
                <c:pt idx="706">
                  <c:v>44902</c:v>
                </c:pt>
                <c:pt idx="707">
                  <c:v>44903</c:v>
                </c:pt>
                <c:pt idx="708">
                  <c:v>44904</c:v>
                </c:pt>
                <c:pt idx="709">
                  <c:v>44905</c:v>
                </c:pt>
                <c:pt idx="710">
                  <c:v>44906</c:v>
                </c:pt>
                <c:pt idx="711">
                  <c:v>44907</c:v>
                </c:pt>
                <c:pt idx="712">
                  <c:v>44908</c:v>
                </c:pt>
                <c:pt idx="713">
                  <c:v>44909</c:v>
                </c:pt>
                <c:pt idx="714">
                  <c:v>44910</c:v>
                </c:pt>
                <c:pt idx="715">
                  <c:v>44911</c:v>
                </c:pt>
                <c:pt idx="716">
                  <c:v>44912</c:v>
                </c:pt>
                <c:pt idx="717">
                  <c:v>44913</c:v>
                </c:pt>
                <c:pt idx="718">
                  <c:v>44914</c:v>
                </c:pt>
                <c:pt idx="719">
                  <c:v>44915</c:v>
                </c:pt>
                <c:pt idx="720">
                  <c:v>44916</c:v>
                </c:pt>
                <c:pt idx="721">
                  <c:v>44917</c:v>
                </c:pt>
                <c:pt idx="722">
                  <c:v>44918</c:v>
                </c:pt>
                <c:pt idx="723">
                  <c:v>44919</c:v>
                </c:pt>
                <c:pt idx="724">
                  <c:v>44920</c:v>
                </c:pt>
                <c:pt idx="725">
                  <c:v>44921</c:v>
                </c:pt>
                <c:pt idx="726">
                  <c:v>44922</c:v>
                </c:pt>
                <c:pt idx="727">
                  <c:v>44923</c:v>
                </c:pt>
                <c:pt idx="728">
                  <c:v>44924</c:v>
                </c:pt>
                <c:pt idx="729">
                  <c:v>44925</c:v>
                </c:pt>
                <c:pt idx="730">
                  <c:v>44926</c:v>
                </c:pt>
                <c:pt idx="731">
                  <c:v>44927</c:v>
                </c:pt>
                <c:pt idx="732">
                  <c:v>44928</c:v>
                </c:pt>
                <c:pt idx="733">
                  <c:v>44929</c:v>
                </c:pt>
                <c:pt idx="734">
                  <c:v>44930</c:v>
                </c:pt>
                <c:pt idx="735">
                  <c:v>44931</c:v>
                </c:pt>
                <c:pt idx="736">
                  <c:v>44932</c:v>
                </c:pt>
                <c:pt idx="737">
                  <c:v>44933</c:v>
                </c:pt>
                <c:pt idx="738">
                  <c:v>44934</c:v>
                </c:pt>
                <c:pt idx="739">
                  <c:v>44935</c:v>
                </c:pt>
                <c:pt idx="740">
                  <c:v>44936</c:v>
                </c:pt>
                <c:pt idx="741">
                  <c:v>44937</c:v>
                </c:pt>
                <c:pt idx="742">
                  <c:v>44938</c:v>
                </c:pt>
                <c:pt idx="743">
                  <c:v>44939</c:v>
                </c:pt>
                <c:pt idx="744">
                  <c:v>44940</c:v>
                </c:pt>
                <c:pt idx="745">
                  <c:v>44941</c:v>
                </c:pt>
                <c:pt idx="746">
                  <c:v>44942</c:v>
                </c:pt>
                <c:pt idx="747">
                  <c:v>44943</c:v>
                </c:pt>
                <c:pt idx="748">
                  <c:v>44944</c:v>
                </c:pt>
                <c:pt idx="749">
                  <c:v>44945</c:v>
                </c:pt>
                <c:pt idx="750">
                  <c:v>44946</c:v>
                </c:pt>
                <c:pt idx="751">
                  <c:v>44947</c:v>
                </c:pt>
                <c:pt idx="752">
                  <c:v>44948</c:v>
                </c:pt>
                <c:pt idx="753">
                  <c:v>44949</c:v>
                </c:pt>
                <c:pt idx="754">
                  <c:v>44950</c:v>
                </c:pt>
                <c:pt idx="755">
                  <c:v>44951</c:v>
                </c:pt>
                <c:pt idx="756">
                  <c:v>44952</c:v>
                </c:pt>
                <c:pt idx="757">
                  <c:v>44953</c:v>
                </c:pt>
                <c:pt idx="758">
                  <c:v>44954</c:v>
                </c:pt>
                <c:pt idx="759">
                  <c:v>44955</c:v>
                </c:pt>
                <c:pt idx="760">
                  <c:v>44956</c:v>
                </c:pt>
                <c:pt idx="761">
                  <c:v>44957</c:v>
                </c:pt>
                <c:pt idx="762">
                  <c:v>44958</c:v>
                </c:pt>
                <c:pt idx="763">
                  <c:v>44959</c:v>
                </c:pt>
                <c:pt idx="764">
                  <c:v>44960</c:v>
                </c:pt>
                <c:pt idx="765">
                  <c:v>44961</c:v>
                </c:pt>
                <c:pt idx="766">
                  <c:v>44962</c:v>
                </c:pt>
                <c:pt idx="767">
                  <c:v>44963</c:v>
                </c:pt>
                <c:pt idx="768">
                  <c:v>44964</c:v>
                </c:pt>
                <c:pt idx="769">
                  <c:v>44965</c:v>
                </c:pt>
                <c:pt idx="770">
                  <c:v>44966</c:v>
                </c:pt>
                <c:pt idx="771">
                  <c:v>44967</c:v>
                </c:pt>
                <c:pt idx="772">
                  <c:v>44968</c:v>
                </c:pt>
                <c:pt idx="773">
                  <c:v>44969</c:v>
                </c:pt>
                <c:pt idx="774">
                  <c:v>44970</c:v>
                </c:pt>
                <c:pt idx="775">
                  <c:v>44971</c:v>
                </c:pt>
                <c:pt idx="776">
                  <c:v>44972</c:v>
                </c:pt>
                <c:pt idx="777">
                  <c:v>44973</c:v>
                </c:pt>
                <c:pt idx="778">
                  <c:v>44974</c:v>
                </c:pt>
                <c:pt idx="779">
                  <c:v>44975</c:v>
                </c:pt>
                <c:pt idx="780">
                  <c:v>44976</c:v>
                </c:pt>
                <c:pt idx="781">
                  <c:v>44977</c:v>
                </c:pt>
                <c:pt idx="782">
                  <c:v>44978</c:v>
                </c:pt>
                <c:pt idx="783">
                  <c:v>44979</c:v>
                </c:pt>
                <c:pt idx="784">
                  <c:v>44980</c:v>
                </c:pt>
                <c:pt idx="785">
                  <c:v>44981</c:v>
                </c:pt>
                <c:pt idx="786">
                  <c:v>44982</c:v>
                </c:pt>
                <c:pt idx="787">
                  <c:v>44983</c:v>
                </c:pt>
                <c:pt idx="788">
                  <c:v>44984</c:v>
                </c:pt>
                <c:pt idx="789">
                  <c:v>44985</c:v>
                </c:pt>
                <c:pt idx="790">
                  <c:v>44986</c:v>
                </c:pt>
                <c:pt idx="791">
                  <c:v>44987</c:v>
                </c:pt>
                <c:pt idx="792">
                  <c:v>44988</c:v>
                </c:pt>
                <c:pt idx="793">
                  <c:v>44989</c:v>
                </c:pt>
                <c:pt idx="794">
                  <c:v>44990</c:v>
                </c:pt>
                <c:pt idx="795">
                  <c:v>44991</c:v>
                </c:pt>
                <c:pt idx="796">
                  <c:v>44992</c:v>
                </c:pt>
                <c:pt idx="797">
                  <c:v>44993</c:v>
                </c:pt>
                <c:pt idx="798">
                  <c:v>44994</c:v>
                </c:pt>
                <c:pt idx="799">
                  <c:v>44995</c:v>
                </c:pt>
                <c:pt idx="800">
                  <c:v>44996</c:v>
                </c:pt>
                <c:pt idx="801">
                  <c:v>44997</c:v>
                </c:pt>
                <c:pt idx="802">
                  <c:v>44998</c:v>
                </c:pt>
                <c:pt idx="803">
                  <c:v>44999</c:v>
                </c:pt>
                <c:pt idx="804">
                  <c:v>45000</c:v>
                </c:pt>
                <c:pt idx="805">
                  <c:v>45001</c:v>
                </c:pt>
                <c:pt idx="806">
                  <c:v>45002</c:v>
                </c:pt>
                <c:pt idx="807">
                  <c:v>45003</c:v>
                </c:pt>
                <c:pt idx="808">
                  <c:v>45004</c:v>
                </c:pt>
                <c:pt idx="809">
                  <c:v>45005</c:v>
                </c:pt>
                <c:pt idx="810">
                  <c:v>45006</c:v>
                </c:pt>
                <c:pt idx="811">
                  <c:v>45007</c:v>
                </c:pt>
                <c:pt idx="812">
                  <c:v>45008</c:v>
                </c:pt>
                <c:pt idx="813">
                  <c:v>45009</c:v>
                </c:pt>
                <c:pt idx="814">
                  <c:v>45010</c:v>
                </c:pt>
                <c:pt idx="815">
                  <c:v>45011</c:v>
                </c:pt>
                <c:pt idx="816">
                  <c:v>45012</c:v>
                </c:pt>
                <c:pt idx="817">
                  <c:v>45013</c:v>
                </c:pt>
                <c:pt idx="818">
                  <c:v>45014</c:v>
                </c:pt>
                <c:pt idx="819">
                  <c:v>45015</c:v>
                </c:pt>
                <c:pt idx="820">
                  <c:v>45016</c:v>
                </c:pt>
                <c:pt idx="821">
                  <c:v>45017</c:v>
                </c:pt>
                <c:pt idx="822">
                  <c:v>45018</c:v>
                </c:pt>
                <c:pt idx="823">
                  <c:v>45019</c:v>
                </c:pt>
                <c:pt idx="824">
                  <c:v>45020</c:v>
                </c:pt>
                <c:pt idx="825">
                  <c:v>45021</c:v>
                </c:pt>
                <c:pt idx="826">
                  <c:v>45022</c:v>
                </c:pt>
                <c:pt idx="827">
                  <c:v>45023</c:v>
                </c:pt>
                <c:pt idx="828">
                  <c:v>45024</c:v>
                </c:pt>
                <c:pt idx="829">
                  <c:v>45025</c:v>
                </c:pt>
                <c:pt idx="830">
                  <c:v>45026</c:v>
                </c:pt>
                <c:pt idx="831">
                  <c:v>45027</c:v>
                </c:pt>
                <c:pt idx="832">
                  <c:v>45028</c:v>
                </c:pt>
                <c:pt idx="833">
                  <c:v>45029</c:v>
                </c:pt>
                <c:pt idx="834">
                  <c:v>45030</c:v>
                </c:pt>
                <c:pt idx="835">
                  <c:v>45031</c:v>
                </c:pt>
                <c:pt idx="836">
                  <c:v>45032</c:v>
                </c:pt>
                <c:pt idx="837">
                  <c:v>45033</c:v>
                </c:pt>
                <c:pt idx="838">
                  <c:v>45034</c:v>
                </c:pt>
                <c:pt idx="839">
                  <c:v>45035</c:v>
                </c:pt>
                <c:pt idx="840">
                  <c:v>45036</c:v>
                </c:pt>
                <c:pt idx="841">
                  <c:v>45037</c:v>
                </c:pt>
                <c:pt idx="842">
                  <c:v>45038</c:v>
                </c:pt>
                <c:pt idx="843">
                  <c:v>45039</c:v>
                </c:pt>
                <c:pt idx="844">
                  <c:v>45040</c:v>
                </c:pt>
                <c:pt idx="845">
                  <c:v>45041</c:v>
                </c:pt>
                <c:pt idx="846">
                  <c:v>45042</c:v>
                </c:pt>
                <c:pt idx="847">
                  <c:v>45043</c:v>
                </c:pt>
                <c:pt idx="848">
                  <c:v>45044</c:v>
                </c:pt>
                <c:pt idx="849">
                  <c:v>45045</c:v>
                </c:pt>
                <c:pt idx="850">
                  <c:v>45046</c:v>
                </c:pt>
                <c:pt idx="851">
                  <c:v>45047</c:v>
                </c:pt>
                <c:pt idx="852">
                  <c:v>45048</c:v>
                </c:pt>
                <c:pt idx="853">
                  <c:v>45049</c:v>
                </c:pt>
                <c:pt idx="854">
                  <c:v>45050</c:v>
                </c:pt>
                <c:pt idx="855">
                  <c:v>45051</c:v>
                </c:pt>
                <c:pt idx="856">
                  <c:v>45052</c:v>
                </c:pt>
                <c:pt idx="857">
                  <c:v>45053</c:v>
                </c:pt>
                <c:pt idx="858">
                  <c:v>45054</c:v>
                </c:pt>
                <c:pt idx="859">
                  <c:v>45055</c:v>
                </c:pt>
                <c:pt idx="860">
                  <c:v>45056</c:v>
                </c:pt>
                <c:pt idx="861">
                  <c:v>45057</c:v>
                </c:pt>
                <c:pt idx="862">
                  <c:v>45058</c:v>
                </c:pt>
                <c:pt idx="863">
                  <c:v>45059</c:v>
                </c:pt>
                <c:pt idx="864">
                  <c:v>45060</c:v>
                </c:pt>
                <c:pt idx="865">
                  <c:v>45061</c:v>
                </c:pt>
                <c:pt idx="866">
                  <c:v>45062</c:v>
                </c:pt>
                <c:pt idx="867">
                  <c:v>45063</c:v>
                </c:pt>
                <c:pt idx="868">
                  <c:v>45064</c:v>
                </c:pt>
                <c:pt idx="869">
                  <c:v>45065</c:v>
                </c:pt>
                <c:pt idx="870">
                  <c:v>45066</c:v>
                </c:pt>
                <c:pt idx="871">
                  <c:v>45067</c:v>
                </c:pt>
                <c:pt idx="872">
                  <c:v>45068</c:v>
                </c:pt>
                <c:pt idx="873">
                  <c:v>45069</c:v>
                </c:pt>
                <c:pt idx="874">
                  <c:v>45070</c:v>
                </c:pt>
                <c:pt idx="875">
                  <c:v>45071</c:v>
                </c:pt>
                <c:pt idx="876">
                  <c:v>45072</c:v>
                </c:pt>
                <c:pt idx="877">
                  <c:v>45073</c:v>
                </c:pt>
                <c:pt idx="878">
                  <c:v>45074</c:v>
                </c:pt>
                <c:pt idx="879">
                  <c:v>45075</c:v>
                </c:pt>
                <c:pt idx="880">
                  <c:v>45076</c:v>
                </c:pt>
                <c:pt idx="881">
                  <c:v>45077</c:v>
                </c:pt>
                <c:pt idx="882">
                  <c:v>45078</c:v>
                </c:pt>
                <c:pt idx="883">
                  <c:v>45079</c:v>
                </c:pt>
                <c:pt idx="884">
                  <c:v>45080</c:v>
                </c:pt>
                <c:pt idx="885">
                  <c:v>45081</c:v>
                </c:pt>
                <c:pt idx="886">
                  <c:v>45082</c:v>
                </c:pt>
                <c:pt idx="887">
                  <c:v>45083</c:v>
                </c:pt>
                <c:pt idx="888">
                  <c:v>45084</c:v>
                </c:pt>
                <c:pt idx="889">
                  <c:v>45085</c:v>
                </c:pt>
                <c:pt idx="890">
                  <c:v>45086</c:v>
                </c:pt>
                <c:pt idx="891">
                  <c:v>45087</c:v>
                </c:pt>
                <c:pt idx="892">
                  <c:v>45088</c:v>
                </c:pt>
                <c:pt idx="893">
                  <c:v>45089</c:v>
                </c:pt>
                <c:pt idx="894">
                  <c:v>45090</c:v>
                </c:pt>
                <c:pt idx="895">
                  <c:v>45091</c:v>
                </c:pt>
                <c:pt idx="896">
                  <c:v>45092</c:v>
                </c:pt>
                <c:pt idx="897">
                  <c:v>45093</c:v>
                </c:pt>
                <c:pt idx="898">
                  <c:v>45094</c:v>
                </c:pt>
                <c:pt idx="899">
                  <c:v>45095</c:v>
                </c:pt>
                <c:pt idx="900">
                  <c:v>45096</c:v>
                </c:pt>
                <c:pt idx="901">
                  <c:v>45097</c:v>
                </c:pt>
                <c:pt idx="902">
                  <c:v>45098</c:v>
                </c:pt>
                <c:pt idx="903">
                  <c:v>45099</c:v>
                </c:pt>
                <c:pt idx="904">
                  <c:v>45100</c:v>
                </c:pt>
                <c:pt idx="905">
                  <c:v>45101</c:v>
                </c:pt>
                <c:pt idx="906">
                  <c:v>45102</c:v>
                </c:pt>
                <c:pt idx="907">
                  <c:v>45103</c:v>
                </c:pt>
                <c:pt idx="908">
                  <c:v>45104</c:v>
                </c:pt>
                <c:pt idx="909">
                  <c:v>45105</c:v>
                </c:pt>
                <c:pt idx="910">
                  <c:v>45106</c:v>
                </c:pt>
                <c:pt idx="911">
                  <c:v>45107</c:v>
                </c:pt>
                <c:pt idx="912">
                  <c:v>45108</c:v>
                </c:pt>
                <c:pt idx="913">
                  <c:v>45109</c:v>
                </c:pt>
                <c:pt idx="914">
                  <c:v>45110</c:v>
                </c:pt>
                <c:pt idx="915">
                  <c:v>45111</c:v>
                </c:pt>
                <c:pt idx="916">
                  <c:v>45112</c:v>
                </c:pt>
                <c:pt idx="917">
                  <c:v>45113</c:v>
                </c:pt>
                <c:pt idx="918">
                  <c:v>45114</c:v>
                </c:pt>
                <c:pt idx="919">
                  <c:v>45115</c:v>
                </c:pt>
                <c:pt idx="920">
                  <c:v>45116</c:v>
                </c:pt>
                <c:pt idx="921">
                  <c:v>45117</c:v>
                </c:pt>
                <c:pt idx="922">
                  <c:v>45118</c:v>
                </c:pt>
                <c:pt idx="923">
                  <c:v>45119</c:v>
                </c:pt>
                <c:pt idx="924">
                  <c:v>45120</c:v>
                </c:pt>
                <c:pt idx="925">
                  <c:v>45121</c:v>
                </c:pt>
                <c:pt idx="926">
                  <c:v>45122</c:v>
                </c:pt>
                <c:pt idx="927">
                  <c:v>45123</c:v>
                </c:pt>
                <c:pt idx="928">
                  <c:v>45124</c:v>
                </c:pt>
                <c:pt idx="929">
                  <c:v>45125</c:v>
                </c:pt>
                <c:pt idx="930">
                  <c:v>45126</c:v>
                </c:pt>
                <c:pt idx="931">
                  <c:v>45127</c:v>
                </c:pt>
                <c:pt idx="932">
                  <c:v>45128</c:v>
                </c:pt>
                <c:pt idx="933">
                  <c:v>45129</c:v>
                </c:pt>
                <c:pt idx="934">
                  <c:v>45130</c:v>
                </c:pt>
                <c:pt idx="935">
                  <c:v>45131</c:v>
                </c:pt>
                <c:pt idx="936">
                  <c:v>45132</c:v>
                </c:pt>
                <c:pt idx="937">
                  <c:v>45133</c:v>
                </c:pt>
                <c:pt idx="938">
                  <c:v>45134</c:v>
                </c:pt>
                <c:pt idx="939">
                  <c:v>45135</c:v>
                </c:pt>
                <c:pt idx="940">
                  <c:v>45136</c:v>
                </c:pt>
                <c:pt idx="941">
                  <c:v>45137</c:v>
                </c:pt>
                <c:pt idx="942">
                  <c:v>45138</c:v>
                </c:pt>
                <c:pt idx="943">
                  <c:v>45139</c:v>
                </c:pt>
                <c:pt idx="944">
                  <c:v>45140</c:v>
                </c:pt>
                <c:pt idx="945">
                  <c:v>45141</c:v>
                </c:pt>
                <c:pt idx="946">
                  <c:v>45142</c:v>
                </c:pt>
                <c:pt idx="947">
                  <c:v>45143</c:v>
                </c:pt>
                <c:pt idx="948">
                  <c:v>45144</c:v>
                </c:pt>
                <c:pt idx="949">
                  <c:v>45145</c:v>
                </c:pt>
                <c:pt idx="950">
                  <c:v>45146</c:v>
                </c:pt>
                <c:pt idx="951">
                  <c:v>45147</c:v>
                </c:pt>
                <c:pt idx="952">
                  <c:v>45148</c:v>
                </c:pt>
                <c:pt idx="953">
                  <c:v>45149</c:v>
                </c:pt>
                <c:pt idx="954">
                  <c:v>45150</c:v>
                </c:pt>
                <c:pt idx="955">
                  <c:v>45151</c:v>
                </c:pt>
                <c:pt idx="956">
                  <c:v>45152</c:v>
                </c:pt>
                <c:pt idx="957">
                  <c:v>45153</c:v>
                </c:pt>
                <c:pt idx="958">
                  <c:v>45154</c:v>
                </c:pt>
                <c:pt idx="959">
                  <c:v>45155</c:v>
                </c:pt>
                <c:pt idx="960">
                  <c:v>45156</c:v>
                </c:pt>
                <c:pt idx="961">
                  <c:v>45157</c:v>
                </c:pt>
                <c:pt idx="962">
                  <c:v>45158</c:v>
                </c:pt>
                <c:pt idx="963">
                  <c:v>45159</c:v>
                </c:pt>
                <c:pt idx="964">
                  <c:v>45160</c:v>
                </c:pt>
                <c:pt idx="965">
                  <c:v>45161</c:v>
                </c:pt>
                <c:pt idx="966">
                  <c:v>45162</c:v>
                </c:pt>
                <c:pt idx="967">
                  <c:v>45163</c:v>
                </c:pt>
                <c:pt idx="968">
                  <c:v>45164</c:v>
                </c:pt>
                <c:pt idx="969">
                  <c:v>45165</c:v>
                </c:pt>
                <c:pt idx="970">
                  <c:v>45166</c:v>
                </c:pt>
                <c:pt idx="971">
                  <c:v>45167</c:v>
                </c:pt>
                <c:pt idx="972">
                  <c:v>45168</c:v>
                </c:pt>
                <c:pt idx="973">
                  <c:v>45169</c:v>
                </c:pt>
                <c:pt idx="974">
                  <c:v>45170</c:v>
                </c:pt>
                <c:pt idx="975">
                  <c:v>45171</c:v>
                </c:pt>
                <c:pt idx="976">
                  <c:v>45172</c:v>
                </c:pt>
                <c:pt idx="977">
                  <c:v>45173</c:v>
                </c:pt>
                <c:pt idx="978">
                  <c:v>45174</c:v>
                </c:pt>
                <c:pt idx="979">
                  <c:v>45175</c:v>
                </c:pt>
                <c:pt idx="980">
                  <c:v>45176</c:v>
                </c:pt>
                <c:pt idx="981">
                  <c:v>45177</c:v>
                </c:pt>
                <c:pt idx="982">
                  <c:v>45178</c:v>
                </c:pt>
                <c:pt idx="983">
                  <c:v>45179</c:v>
                </c:pt>
                <c:pt idx="984">
                  <c:v>45180</c:v>
                </c:pt>
                <c:pt idx="985">
                  <c:v>45181</c:v>
                </c:pt>
                <c:pt idx="986">
                  <c:v>45182</c:v>
                </c:pt>
                <c:pt idx="987">
                  <c:v>45183</c:v>
                </c:pt>
                <c:pt idx="988">
                  <c:v>45184</c:v>
                </c:pt>
                <c:pt idx="989">
                  <c:v>45185</c:v>
                </c:pt>
                <c:pt idx="990">
                  <c:v>45186</c:v>
                </c:pt>
                <c:pt idx="991">
                  <c:v>45187</c:v>
                </c:pt>
                <c:pt idx="992">
                  <c:v>45188</c:v>
                </c:pt>
                <c:pt idx="993">
                  <c:v>45189</c:v>
                </c:pt>
                <c:pt idx="994">
                  <c:v>45190</c:v>
                </c:pt>
                <c:pt idx="995">
                  <c:v>45191</c:v>
                </c:pt>
                <c:pt idx="996">
                  <c:v>45192</c:v>
                </c:pt>
                <c:pt idx="997">
                  <c:v>45193</c:v>
                </c:pt>
                <c:pt idx="998">
                  <c:v>45194</c:v>
                </c:pt>
                <c:pt idx="999">
                  <c:v>45195</c:v>
                </c:pt>
                <c:pt idx="1000">
                  <c:v>45196</c:v>
                </c:pt>
                <c:pt idx="1001">
                  <c:v>45197</c:v>
                </c:pt>
                <c:pt idx="1002">
                  <c:v>45198</c:v>
                </c:pt>
                <c:pt idx="1003">
                  <c:v>45199</c:v>
                </c:pt>
                <c:pt idx="1004">
                  <c:v>45200</c:v>
                </c:pt>
                <c:pt idx="1005">
                  <c:v>45201</c:v>
                </c:pt>
                <c:pt idx="1006">
                  <c:v>45202</c:v>
                </c:pt>
                <c:pt idx="1007">
                  <c:v>45203</c:v>
                </c:pt>
                <c:pt idx="1008">
                  <c:v>45204</c:v>
                </c:pt>
                <c:pt idx="1009">
                  <c:v>45205</c:v>
                </c:pt>
                <c:pt idx="1010">
                  <c:v>45206</c:v>
                </c:pt>
                <c:pt idx="1011">
                  <c:v>45207</c:v>
                </c:pt>
                <c:pt idx="1012">
                  <c:v>45208</c:v>
                </c:pt>
                <c:pt idx="1013">
                  <c:v>45209</c:v>
                </c:pt>
                <c:pt idx="1014">
                  <c:v>45210</c:v>
                </c:pt>
                <c:pt idx="1015">
                  <c:v>45211</c:v>
                </c:pt>
                <c:pt idx="1016">
                  <c:v>45212</c:v>
                </c:pt>
                <c:pt idx="1017">
                  <c:v>45213</c:v>
                </c:pt>
                <c:pt idx="1018">
                  <c:v>45214</c:v>
                </c:pt>
                <c:pt idx="1019">
                  <c:v>45215</c:v>
                </c:pt>
                <c:pt idx="1020">
                  <c:v>45216</c:v>
                </c:pt>
                <c:pt idx="1021">
                  <c:v>45217</c:v>
                </c:pt>
                <c:pt idx="1022">
                  <c:v>45218</c:v>
                </c:pt>
                <c:pt idx="1023">
                  <c:v>45219</c:v>
                </c:pt>
                <c:pt idx="1024">
                  <c:v>45220</c:v>
                </c:pt>
                <c:pt idx="1025">
                  <c:v>45221</c:v>
                </c:pt>
                <c:pt idx="1026">
                  <c:v>45222</c:v>
                </c:pt>
                <c:pt idx="1027">
                  <c:v>45223</c:v>
                </c:pt>
                <c:pt idx="1028">
                  <c:v>45224</c:v>
                </c:pt>
                <c:pt idx="1029">
                  <c:v>45225</c:v>
                </c:pt>
                <c:pt idx="1030">
                  <c:v>45226</c:v>
                </c:pt>
                <c:pt idx="1031">
                  <c:v>45227</c:v>
                </c:pt>
                <c:pt idx="1032">
                  <c:v>45228</c:v>
                </c:pt>
                <c:pt idx="1033">
                  <c:v>45229</c:v>
                </c:pt>
                <c:pt idx="1034">
                  <c:v>45230</c:v>
                </c:pt>
                <c:pt idx="1035">
                  <c:v>45231</c:v>
                </c:pt>
                <c:pt idx="1036">
                  <c:v>45232</c:v>
                </c:pt>
                <c:pt idx="1037">
                  <c:v>45233</c:v>
                </c:pt>
                <c:pt idx="1038">
                  <c:v>45234</c:v>
                </c:pt>
                <c:pt idx="1039">
                  <c:v>45235</c:v>
                </c:pt>
                <c:pt idx="1040">
                  <c:v>45236</c:v>
                </c:pt>
                <c:pt idx="1041">
                  <c:v>45237</c:v>
                </c:pt>
                <c:pt idx="1042">
                  <c:v>45238</c:v>
                </c:pt>
                <c:pt idx="1043">
                  <c:v>45239</c:v>
                </c:pt>
                <c:pt idx="1044">
                  <c:v>45240</c:v>
                </c:pt>
                <c:pt idx="1045">
                  <c:v>45241</c:v>
                </c:pt>
                <c:pt idx="1046">
                  <c:v>45242</c:v>
                </c:pt>
                <c:pt idx="1047">
                  <c:v>45243</c:v>
                </c:pt>
                <c:pt idx="1048">
                  <c:v>45244</c:v>
                </c:pt>
                <c:pt idx="1049">
                  <c:v>45245</c:v>
                </c:pt>
                <c:pt idx="1050">
                  <c:v>45246</c:v>
                </c:pt>
                <c:pt idx="1051">
                  <c:v>45247</c:v>
                </c:pt>
                <c:pt idx="1052">
                  <c:v>45248</c:v>
                </c:pt>
                <c:pt idx="1053">
                  <c:v>45249</c:v>
                </c:pt>
                <c:pt idx="1054">
                  <c:v>45250</c:v>
                </c:pt>
                <c:pt idx="1055">
                  <c:v>45251</c:v>
                </c:pt>
                <c:pt idx="1056">
                  <c:v>45252</c:v>
                </c:pt>
                <c:pt idx="1057">
                  <c:v>45253</c:v>
                </c:pt>
                <c:pt idx="1058">
                  <c:v>45254</c:v>
                </c:pt>
                <c:pt idx="1059">
                  <c:v>45255</c:v>
                </c:pt>
                <c:pt idx="1060">
                  <c:v>45256</c:v>
                </c:pt>
                <c:pt idx="1061">
                  <c:v>45257</c:v>
                </c:pt>
                <c:pt idx="1062">
                  <c:v>45258</c:v>
                </c:pt>
                <c:pt idx="1063">
                  <c:v>45259</c:v>
                </c:pt>
                <c:pt idx="1064">
                  <c:v>45260</c:v>
                </c:pt>
                <c:pt idx="1065">
                  <c:v>45261</c:v>
                </c:pt>
                <c:pt idx="1066">
                  <c:v>45262</c:v>
                </c:pt>
                <c:pt idx="1067">
                  <c:v>45263</c:v>
                </c:pt>
                <c:pt idx="1068">
                  <c:v>45264</c:v>
                </c:pt>
                <c:pt idx="1069">
                  <c:v>45265</c:v>
                </c:pt>
                <c:pt idx="1070">
                  <c:v>45266</c:v>
                </c:pt>
                <c:pt idx="1071">
                  <c:v>45267</c:v>
                </c:pt>
                <c:pt idx="1072">
                  <c:v>45268</c:v>
                </c:pt>
                <c:pt idx="1073">
                  <c:v>45269</c:v>
                </c:pt>
                <c:pt idx="1074">
                  <c:v>45270</c:v>
                </c:pt>
                <c:pt idx="1075">
                  <c:v>45271</c:v>
                </c:pt>
                <c:pt idx="1076">
                  <c:v>45272</c:v>
                </c:pt>
                <c:pt idx="1077">
                  <c:v>45273</c:v>
                </c:pt>
                <c:pt idx="1078">
                  <c:v>45274</c:v>
                </c:pt>
                <c:pt idx="1079">
                  <c:v>45275</c:v>
                </c:pt>
                <c:pt idx="1080">
                  <c:v>45276</c:v>
                </c:pt>
                <c:pt idx="1081">
                  <c:v>45277</c:v>
                </c:pt>
                <c:pt idx="1082">
                  <c:v>45278</c:v>
                </c:pt>
                <c:pt idx="1083">
                  <c:v>45279</c:v>
                </c:pt>
                <c:pt idx="1084">
                  <c:v>45280</c:v>
                </c:pt>
                <c:pt idx="1085">
                  <c:v>45281</c:v>
                </c:pt>
                <c:pt idx="1086">
                  <c:v>45282</c:v>
                </c:pt>
                <c:pt idx="1087">
                  <c:v>45283</c:v>
                </c:pt>
                <c:pt idx="1088">
                  <c:v>45284</c:v>
                </c:pt>
                <c:pt idx="1089">
                  <c:v>45285</c:v>
                </c:pt>
                <c:pt idx="1090">
                  <c:v>45286</c:v>
                </c:pt>
                <c:pt idx="1091">
                  <c:v>45287</c:v>
                </c:pt>
                <c:pt idx="1092">
                  <c:v>45288</c:v>
                </c:pt>
                <c:pt idx="1093">
                  <c:v>45289</c:v>
                </c:pt>
                <c:pt idx="1094">
                  <c:v>45290</c:v>
                </c:pt>
                <c:pt idx="1095">
                  <c:v>45291</c:v>
                </c:pt>
                <c:pt idx="1096">
                  <c:v>45292</c:v>
                </c:pt>
                <c:pt idx="1097">
                  <c:v>45293</c:v>
                </c:pt>
                <c:pt idx="1098">
                  <c:v>45294</c:v>
                </c:pt>
                <c:pt idx="1099">
                  <c:v>45295</c:v>
                </c:pt>
                <c:pt idx="1100">
                  <c:v>45296</c:v>
                </c:pt>
                <c:pt idx="1101">
                  <c:v>45297</c:v>
                </c:pt>
                <c:pt idx="1102">
                  <c:v>45298</c:v>
                </c:pt>
                <c:pt idx="1103">
                  <c:v>45299</c:v>
                </c:pt>
                <c:pt idx="1104">
                  <c:v>45300</c:v>
                </c:pt>
                <c:pt idx="1105">
                  <c:v>45301</c:v>
                </c:pt>
                <c:pt idx="1106">
                  <c:v>45302</c:v>
                </c:pt>
                <c:pt idx="1107">
                  <c:v>45303</c:v>
                </c:pt>
                <c:pt idx="1108">
                  <c:v>45304</c:v>
                </c:pt>
                <c:pt idx="1109">
                  <c:v>45305</c:v>
                </c:pt>
                <c:pt idx="1110">
                  <c:v>45306</c:v>
                </c:pt>
                <c:pt idx="1111">
                  <c:v>45307</c:v>
                </c:pt>
                <c:pt idx="1112">
                  <c:v>45308</c:v>
                </c:pt>
                <c:pt idx="1113">
                  <c:v>45309</c:v>
                </c:pt>
                <c:pt idx="1114">
                  <c:v>45310</c:v>
                </c:pt>
                <c:pt idx="1115">
                  <c:v>45311</c:v>
                </c:pt>
                <c:pt idx="1116">
                  <c:v>45312</c:v>
                </c:pt>
                <c:pt idx="1117">
                  <c:v>45313</c:v>
                </c:pt>
                <c:pt idx="1118">
                  <c:v>45314</c:v>
                </c:pt>
                <c:pt idx="1119">
                  <c:v>45315</c:v>
                </c:pt>
                <c:pt idx="1120">
                  <c:v>45316</c:v>
                </c:pt>
                <c:pt idx="1121">
                  <c:v>45317</c:v>
                </c:pt>
                <c:pt idx="1122">
                  <c:v>45318</c:v>
                </c:pt>
                <c:pt idx="1123">
                  <c:v>45319</c:v>
                </c:pt>
                <c:pt idx="1124">
                  <c:v>45320</c:v>
                </c:pt>
                <c:pt idx="1125">
                  <c:v>45321</c:v>
                </c:pt>
                <c:pt idx="1126">
                  <c:v>45322</c:v>
                </c:pt>
                <c:pt idx="1127">
                  <c:v>45323</c:v>
                </c:pt>
                <c:pt idx="1128">
                  <c:v>45324</c:v>
                </c:pt>
                <c:pt idx="1129">
                  <c:v>45325</c:v>
                </c:pt>
                <c:pt idx="1130">
                  <c:v>45326</c:v>
                </c:pt>
                <c:pt idx="1131">
                  <c:v>45327</c:v>
                </c:pt>
                <c:pt idx="1132">
                  <c:v>45328</c:v>
                </c:pt>
                <c:pt idx="1133">
                  <c:v>45329</c:v>
                </c:pt>
                <c:pt idx="1134">
                  <c:v>45330</c:v>
                </c:pt>
                <c:pt idx="1135">
                  <c:v>45331</c:v>
                </c:pt>
                <c:pt idx="1136">
                  <c:v>45332</c:v>
                </c:pt>
                <c:pt idx="1137">
                  <c:v>45333</c:v>
                </c:pt>
                <c:pt idx="1138">
                  <c:v>45334</c:v>
                </c:pt>
                <c:pt idx="1139">
                  <c:v>45335</c:v>
                </c:pt>
                <c:pt idx="1140">
                  <c:v>45336</c:v>
                </c:pt>
                <c:pt idx="1141">
                  <c:v>45337</c:v>
                </c:pt>
                <c:pt idx="1142">
                  <c:v>45338</c:v>
                </c:pt>
                <c:pt idx="1143">
                  <c:v>45339</c:v>
                </c:pt>
                <c:pt idx="1144">
                  <c:v>45340</c:v>
                </c:pt>
                <c:pt idx="1145">
                  <c:v>45341</c:v>
                </c:pt>
                <c:pt idx="1146">
                  <c:v>45342</c:v>
                </c:pt>
                <c:pt idx="1147">
                  <c:v>45343</c:v>
                </c:pt>
                <c:pt idx="1148">
                  <c:v>45344</c:v>
                </c:pt>
                <c:pt idx="1149">
                  <c:v>45345</c:v>
                </c:pt>
                <c:pt idx="1150">
                  <c:v>45346</c:v>
                </c:pt>
                <c:pt idx="1151">
                  <c:v>45347</c:v>
                </c:pt>
                <c:pt idx="1152">
                  <c:v>45348</c:v>
                </c:pt>
                <c:pt idx="1153">
                  <c:v>45349</c:v>
                </c:pt>
                <c:pt idx="1154">
                  <c:v>45350</c:v>
                </c:pt>
                <c:pt idx="1155">
                  <c:v>45351</c:v>
                </c:pt>
                <c:pt idx="1156">
                  <c:v>45352</c:v>
                </c:pt>
                <c:pt idx="1157">
                  <c:v>45353</c:v>
                </c:pt>
                <c:pt idx="1158">
                  <c:v>45354</c:v>
                </c:pt>
                <c:pt idx="1159">
                  <c:v>45355</c:v>
                </c:pt>
                <c:pt idx="1160">
                  <c:v>45356</c:v>
                </c:pt>
                <c:pt idx="1161">
                  <c:v>45357</c:v>
                </c:pt>
                <c:pt idx="1162">
                  <c:v>45358</c:v>
                </c:pt>
                <c:pt idx="1163">
                  <c:v>45359</c:v>
                </c:pt>
                <c:pt idx="1164">
                  <c:v>45360</c:v>
                </c:pt>
                <c:pt idx="1165">
                  <c:v>45361</c:v>
                </c:pt>
                <c:pt idx="1166">
                  <c:v>45362</c:v>
                </c:pt>
                <c:pt idx="1167">
                  <c:v>45363</c:v>
                </c:pt>
                <c:pt idx="1168">
                  <c:v>45364</c:v>
                </c:pt>
                <c:pt idx="1169">
                  <c:v>45365</c:v>
                </c:pt>
                <c:pt idx="1170">
                  <c:v>45366</c:v>
                </c:pt>
                <c:pt idx="1171">
                  <c:v>45367</c:v>
                </c:pt>
                <c:pt idx="1172">
                  <c:v>45368</c:v>
                </c:pt>
                <c:pt idx="1173">
                  <c:v>45369</c:v>
                </c:pt>
                <c:pt idx="1174">
                  <c:v>45370</c:v>
                </c:pt>
                <c:pt idx="1175">
                  <c:v>45371</c:v>
                </c:pt>
                <c:pt idx="1176">
                  <c:v>45372</c:v>
                </c:pt>
                <c:pt idx="1177">
                  <c:v>45373</c:v>
                </c:pt>
                <c:pt idx="1178">
                  <c:v>45374</c:v>
                </c:pt>
                <c:pt idx="1179">
                  <c:v>45375</c:v>
                </c:pt>
                <c:pt idx="1180">
                  <c:v>45376</c:v>
                </c:pt>
                <c:pt idx="1181">
                  <c:v>45377</c:v>
                </c:pt>
                <c:pt idx="1182">
                  <c:v>45378</c:v>
                </c:pt>
                <c:pt idx="1183">
                  <c:v>45379</c:v>
                </c:pt>
                <c:pt idx="1184">
                  <c:v>45380</c:v>
                </c:pt>
                <c:pt idx="1185">
                  <c:v>45381</c:v>
                </c:pt>
                <c:pt idx="1186">
                  <c:v>45382</c:v>
                </c:pt>
                <c:pt idx="1187">
                  <c:v>45383</c:v>
                </c:pt>
                <c:pt idx="1188">
                  <c:v>45384</c:v>
                </c:pt>
                <c:pt idx="1189">
                  <c:v>45385</c:v>
                </c:pt>
                <c:pt idx="1190">
                  <c:v>45386</c:v>
                </c:pt>
                <c:pt idx="1191">
                  <c:v>45387</c:v>
                </c:pt>
                <c:pt idx="1192">
                  <c:v>45388</c:v>
                </c:pt>
                <c:pt idx="1193">
                  <c:v>45389</c:v>
                </c:pt>
                <c:pt idx="1194">
                  <c:v>45390</c:v>
                </c:pt>
                <c:pt idx="1195">
                  <c:v>45391</c:v>
                </c:pt>
                <c:pt idx="1196">
                  <c:v>45392</c:v>
                </c:pt>
                <c:pt idx="1197">
                  <c:v>45393</c:v>
                </c:pt>
                <c:pt idx="1198">
                  <c:v>45394</c:v>
                </c:pt>
                <c:pt idx="1199">
                  <c:v>45395</c:v>
                </c:pt>
                <c:pt idx="1200">
                  <c:v>45396</c:v>
                </c:pt>
                <c:pt idx="1201">
                  <c:v>45397</c:v>
                </c:pt>
                <c:pt idx="1202">
                  <c:v>45398</c:v>
                </c:pt>
                <c:pt idx="1203">
                  <c:v>45399</c:v>
                </c:pt>
                <c:pt idx="1204">
                  <c:v>45400</c:v>
                </c:pt>
                <c:pt idx="1205">
                  <c:v>45401</c:v>
                </c:pt>
                <c:pt idx="1206">
                  <c:v>45402</c:v>
                </c:pt>
                <c:pt idx="1207">
                  <c:v>45403</c:v>
                </c:pt>
                <c:pt idx="1208">
                  <c:v>45404</c:v>
                </c:pt>
                <c:pt idx="1209">
                  <c:v>45405</c:v>
                </c:pt>
                <c:pt idx="1210">
                  <c:v>45406</c:v>
                </c:pt>
                <c:pt idx="1211">
                  <c:v>45407</c:v>
                </c:pt>
                <c:pt idx="1212">
                  <c:v>45408</c:v>
                </c:pt>
                <c:pt idx="1213">
                  <c:v>45409</c:v>
                </c:pt>
                <c:pt idx="1214">
                  <c:v>45410</c:v>
                </c:pt>
                <c:pt idx="1215">
                  <c:v>45411</c:v>
                </c:pt>
                <c:pt idx="1216">
                  <c:v>45412</c:v>
                </c:pt>
                <c:pt idx="1217">
                  <c:v>45413</c:v>
                </c:pt>
                <c:pt idx="1218">
                  <c:v>45414</c:v>
                </c:pt>
                <c:pt idx="1219">
                  <c:v>45415</c:v>
                </c:pt>
                <c:pt idx="1220">
                  <c:v>45416</c:v>
                </c:pt>
                <c:pt idx="1221">
                  <c:v>45417</c:v>
                </c:pt>
                <c:pt idx="1222">
                  <c:v>45418</c:v>
                </c:pt>
                <c:pt idx="1223">
                  <c:v>45419</c:v>
                </c:pt>
                <c:pt idx="1224">
                  <c:v>45420</c:v>
                </c:pt>
                <c:pt idx="1225">
                  <c:v>45421</c:v>
                </c:pt>
                <c:pt idx="1226">
                  <c:v>45422</c:v>
                </c:pt>
                <c:pt idx="1227">
                  <c:v>45423</c:v>
                </c:pt>
                <c:pt idx="1228">
                  <c:v>45424</c:v>
                </c:pt>
                <c:pt idx="1229">
                  <c:v>45425</c:v>
                </c:pt>
                <c:pt idx="1230">
                  <c:v>45426</c:v>
                </c:pt>
                <c:pt idx="1231">
                  <c:v>45427</c:v>
                </c:pt>
                <c:pt idx="1232">
                  <c:v>45428</c:v>
                </c:pt>
                <c:pt idx="1233">
                  <c:v>45429</c:v>
                </c:pt>
                <c:pt idx="1234">
                  <c:v>45430</c:v>
                </c:pt>
                <c:pt idx="1235">
                  <c:v>45431</c:v>
                </c:pt>
                <c:pt idx="1236">
                  <c:v>45432</c:v>
                </c:pt>
                <c:pt idx="1237">
                  <c:v>45433</c:v>
                </c:pt>
                <c:pt idx="1238">
                  <c:v>45434</c:v>
                </c:pt>
                <c:pt idx="1239">
                  <c:v>45435</c:v>
                </c:pt>
                <c:pt idx="1240">
                  <c:v>45436</c:v>
                </c:pt>
                <c:pt idx="1241">
                  <c:v>45437</c:v>
                </c:pt>
                <c:pt idx="1242">
                  <c:v>45438</c:v>
                </c:pt>
                <c:pt idx="1243">
                  <c:v>45439</c:v>
                </c:pt>
                <c:pt idx="1244">
                  <c:v>45440</c:v>
                </c:pt>
                <c:pt idx="1245">
                  <c:v>45441</c:v>
                </c:pt>
                <c:pt idx="1246">
                  <c:v>45442</c:v>
                </c:pt>
                <c:pt idx="1247">
                  <c:v>45443</c:v>
                </c:pt>
                <c:pt idx="1248">
                  <c:v>45444</c:v>
                </c:pt>
                <c:pt idx="1249">
                  <c:v>45445</c:v>
                </c:pt>
                <c:pt idx="1250">
                  <c:v>45446</c:v>
                </c:pt>
                <c:pt idx="1251">
                  <c:v>45447</c:v>
                </c:pt>
                <c:pt idx="1252">
                  <c:v>45448</c:v>
                </c:pt>
                <c:pt idx="1253">
                  <c:v>45449</c:v>
                </c:pt>
                <c:pt idx="1254">
                  <c:v>45450</c:v>
                </c:pt>
                <c:pt idx="1255">
                  <c:v>45451</c:v>
                </c:pt>
                <c:pt idx="1256">
                  <c:v>45452</c:v>
                </c:pt>
                <c:pt idx="1257">
                  <c:v>45453</c:v>
                </c:pt>
                <c:pt idx="1258">
                  <c:v>45454</c:v>
                </c:pt>
                <c:pt idx="1259">
                  <c:v>45455</c:v>
                </c:pt>
                <c:pt idx="1260">
                  <c:v>45456</c:v>
                </c:pt>
                <c:pt idx="1261">
                  <c:v>45457</c:v>
                </c:pt>
                <c:pt idx="1262">
                  <c:v>45458</c:v>
                </c:pt>
                <c:pt idx="1263">
                  <c:v>45459</c:v>
                </c:pt>
                <c:pt idx="1264">
                  <c:v>45460</c:v>
                </c:pt>
                <c:pt idx="1265">
                  <c:v>45461</c:v>
                </c:pt>
                <c:pt idx="1266">
                  <c:v>45462</c:v>
                </c:pt>
                <c:pt idx="1267">
                  <c:v>45463</c:v>
                </c:pt>
                <c:pt idx="1268">
                  <c:v>45464</c:v>
                </c:pt>
                <c:pt idx="1269">
                  <c:v>45465</c:v>
                </c:pt>
                <c:pt idx="1270">
                  <c:v>45466</c:v>
                </c:pt>
                <c:pt idx="1271">
                  <c:v>45467</c:v>
                </c:pt>
                <c:pt idx="1272">
                  <c:v>45468</c:v>
                </c:pt>
                <c:pt idx="1273">
                  <c:v>45469</c:v>
                </c:pt>
                <c:pt idx="1274">
                  <c:v>45470</c:v>
                </c:pt>
                <c:pt idx="1275">
                  <c:v>45471</c:v>
                </c:pt>
                <c:pt idx="1276">
                  <c:v>45472</c:v>
                </c:pt>
                <c:pt idx="1277">
                  <c:v>45473</c:v>
                </c:pt>
                <c:pt idx="1278">
                  <c:v>45474</c:v>
                </c:pt>
                <c:pt idx="1279">
                  <c:v>45475</c:v>
                </c:pt>
                <c:pt idx="1280">
                  <c:v>45476</c:v>
                </c:pt>
                <c:pt idx="1281">
                  <c:v>45477</c:v>
                </c:pt>
                <c:pt idx="1282">
                  <c:v>45478</c:v>
                </c:pt>
                <c:pt idx="1283">
                  <c:v>45479</c:v>
                </c:pt>
                <c:pt idx="1284">
                  <c:v>45480</c:v>
                </c:pt>
                <c:pt idx="1285">
                  <c:v>45481</c:v>
                </c:pt>
                <c:pt idx="1286">
                  <c:v>45482</c:v>
                </c:pt>
                <c:pt idx="1287">
                  <c:v>45483</c:v>
                </c:pt>
                <c:pt idx="1288">
                  <c:v>45484</c:v>
                </c:pt>
                <c:pt idx="1289">
                  <c:v>45485</c:v>
                </c:pt>
                <c:pt idx="1290">
                  <c:v>45486</c:v>
                </c:pt>
                <c:pt idx="1291">
                  <c:v>45487</c:v>
                </c:pt>
                <c:pt idx="1292">
                  <c:v>45488</c:v>
                </c:pt>
                <c:pt idx="1293">
                  <c:v>45489</c:v>
                </c:pt>
                <c:pt idx="1294">
                  <c:v>45490</c:v>
                </c:pt>
                <c:pt idx="1295">
                  <c:v>45491</c:v>
                </c:pt>
                <c:pt idx="1296">
                  <c:v>45492</c:v>
                </c:pt>
                <c:pt idx="1297">
                  <c:v>45493</c:v>
                </c:pt>
                <c:pt idx="1298">
                  <c:v>45494</c:v>
                </c:pt>
                <c:pt idx="1299">
                  <c:v>45495</c:v>
                </c:pt>
                <c:pt idx="1300">
                  <c:v>45496</c:v>
                </c:pt>
                <c:pt idx="1301">
                  <c:v>45497</c:v>
                </c:pt>
                <c:pt idx="1302">
                  <c:v>45498</c:v>
                </c:pt>
                <c:pt idx="1303">
                  <c:v>45499</c:v>
                </c:pt>
                <c:pt idx="1304">
                  <c:v>45500</c:v>
                </c:pt>
                <c:pt idx="1305">
                  <c:v>45501</c:v>
                </c:pt>
                <c:pt idx="1306">
                  <c:v>45502</c:v>
                </c:pt>
                <c:pt idx="1307">
                  <c:v>45503</c:v>
                </c:pt>
                <c:pt idx="1308">
                  <c:v>45504</c:v>
                </c:pt>
                <c:pt idx="1309">
                  <c:v>45505</c:v>
                </c:pt>
                <c:pt idx="1310">
                  <c:v>45506</c:v>
                </c:pt>
                <c:pt idx="1311">
                  <c:v>45507</c:v>
                </c:pt>
                <c:pt idx="1312">
                  <c:v>45508</c:v>
                </c:pt>
                <c:pt idx="1313">
                  <c:v>45509</c:v>
                </c:pt>
                <c:pt idx="1314">
                  <c:v>45510</c:v>
                </c:pt>
                <c:pt idx="1315">
                  <c:v>45511</c:v>
                </c:pt>
                <c:pt idx="1316">
                  <c:v>45512</c:v>
                </c:pt>
                <c:pt idx="1317">
                  <c:v>45513</c:v>
                </c:pt>
                <c:pt idx="1318">
                  <c:v>45514</c:v>
                </c:pt>
                <c:pt idx="1319">
                  <c:v>45515</c:v>
                </c:pt>
                <c:pt idx="1320">
                  <c:v>45516</c:v>
                </c:pt>
                <c:pt idx="1321">
                  <c:v>45517</c:v>
                </c:pt>
                <c:pt idx="1322">
                  <c:v>45518</c:v>
                </c:pt>
                <c:pt idx="1323">
                  <c:v>45519</c:v>
                </c:pt>
                <c:pt idx="1324">
                  <c:v>45520</c:v>
                </c:pt>
                <c:pt idx="1325">
                  <c:v>45521</c:v>
                </c:pt>
                <c:pt idx="1326">
                  <c:v>45522</c:v>
                </c:pt>
                <c:pt idx="1327">
                  <c:v>45523</c:v>
                </c:pt>
                <c:pt idx="1328">
                  <c:v>45524</c:v>
                </c:pt>
                <c:pt idx="1329">
                  <c:v>45525</c:v>
                </c:pt>
                <c:pt idx="1330">
                  <c:v>45526</c:v>
                </c:pt>
                <c:pt idx="1331">
                  <c:v>45527</c:v>
                </c:pt>
                <c:pt idx="1332">
                  <c:v>45528</c:v>
                </c:pt>
                <c:pt idx="1333">
                  <c:v>45529</c:v>
                </c:pt>
                <c:pt idx="1334">
                  <c:v>45530</c:v>
                </c:pt>
                <c:pt idx="1335">
                  <c:v>45531</c:v>
                </c:pt>
                <c:pt idx="1336">
                  <c:v>45532</c:v>
                </c:pt>
                <c:pt idx="1337">
                  <c:v>45533</c:v>
                </c:pt>
                <c:pt idx="1338">
                  <c:v>45534</c:v>
                </c:pt>
                <c:pt idx="1339">
                  <c:v>45535</c:v>
                </c:pt>
                <c:pt idx="1340">
                  <c:v>45536</c:v>
                </c:pt>
                <c:pt idx="1341">
                  <c:v>45537</c:v>
                </c:pt>
                <c:pt idx="1342">
                  <c:v>45538</c:v>
                </c:pt>
                <c:pt idx="1343">
                  <c:v>45539</c:v>
                </c:pt>
                <c:pt idx="1344">
                  <c:v>45540</c:v>
                </c:pt>
                <c:pt idx="1345">
                  <c:v>45541</c:v>
                </c:pt>
                <c:pt idx="1346">
                  <c:v>45542</c:v>
                </c:pt>
                <c:pt idx="1347">
                  <c:v>45543</c:v>
                </c:pt>
                <c:pt idx="1348">
                  <c:v>45544</c:v>
                </c:pt>
                <c:pt idx="1349">
                  <c:v>45545</c:v>
                </c:pt>
                <c:pt idx="1350">
                  <c:v>45546</c:v>
                </c:pt>
                <c:pt idx="1351">
                  <c:v>45547</c:v>
                </c:pt>
                <c:pt idx="1352">
                  <c:v>45548</c:v>
                </c:pt>
                <c:pt idx="1353">
                  <c:v>45549</c:v>
                </c:pt>
                <c:pt idx="1354">
                  <c:v>45550</c:v>
                </c:pt>
                <c:pt idx="1355">
                  <c:v>45551</c:v>
                </c:pt>
                <c:pt idx="1356">
                  <c:v>45552</c:v>
                </c:pt>
                <c:pt idx="1357">
                  <c:v>45553</c:v>
                </c:pt>
                <c:pt idx="1358">
                  <c:v>45554</c:v>
                </c:pt>
                <c:pt idx="1359">
                  <c:v>45555</c:v>
                </c:pt>
                <c:pt idx="1360">
                  <c:v>45556</c:v>
                </c:pt>
                <c:pt idx="1361">
                  <c:v>45557</c:v>
                </c:pt>
                <c:pt idx="1362">
                  <c:v>45558</c:v>
                </c:pt>
                <c:pt idx="1363">
                  <c:v>45559</c:v>
                </c:pt>
                <c:pt idx="1364">
                  <c:v>45560</c:v>
                </c:pt>
                <c:pt idx="1365">
                  <c:v>45561</c:v>
                </c:pt>
                <c:pt idx="1366">
                  <c:v>45562</c:v>
                </c:pt>
                <c:pt idx="1367">
                  <c:v>45563</c:v>
                </c:pt>
                <c:pt idx="1368">
                  <c:v>45564</c:v>
                </c:pt>
                <c:pt idx="1369">
                  <c:v>45565</c:v>
                </c:pt>
                <c:pt idx="1370">
                  <c:v>45566</c:v>
                </c:pt>
                <c:pt idx="1371">
                  <c:v>45567</c:v>
                </c:pt>
                <c:pt idx="1372">
                  <c:v>45568</c:v>
                </c:pt>
                <c:pt idx="1373">
                  <c:v>45569</c:v>
                </c:pt>
                <c:pt idx="1374">
                  <c:v>45570</c:v>
                </c:pt>
                <c:pt idx="1375">
                  <c:v>45571</c:v>
                </c:pt>
                <c:pt idx="1376">
                  <c:v>45572</c:v>
                </c:pt>
                <c:pt idx="1377">
                  <c:v>45573</c:v>
                </c:pt>
                <c:pt idx="1378">
                  <c:v>45574</c:v>
                </c:pt>
                <c:pt idx="1379">
                  <c:v>45575</c:v>
                </c:pt>
                <c:pt idx="1380">
                  <c:v>45576</c:v>
                </c:pt>
                <c:pt idx="1381">
                  <c:v>45577</c:v>
                </c:pt>
                <c:pt idx="1382">
                  <c:v>45578</c:v>
                </c:pt>
                <c:pt idx="1383">
                  <c:v>45579</c:v>
                </c:pt>
                <c:pt idx="1384">
                  <c:v>45580</c:v>
                </c:pt>
                <c:pt idx="1385">
                  <c:v>45581</c:v>
                </c:pt>
                <c:pt idx="1386">
                  <c:v>45582</c:v>
                </c:pt>
                <c:pt idx="1387">
                  <c:v>45583</c:v>
                </c:pt>
                <c:pt idx="1388">
                  <c:v>45584</c:v>
                </c:pt>
                <c:pt idx="1389">
                  <c:v>45585</c:v>
                </c:pt>
                <c:pt idx="1390">
                  <c:v>45586</c:v>
                </c:pt>
                <c:pt idx="1391">
                  <c:v>45587</c:v>
                </c:pt>
                <c:pt idx="1392">
                  <c:v>45588</c:v>
                </c:pt>
                <c:pt idx="1393">
                  <c:v>45589</c:v>
                </c:pt>
                <c:pt idx="1394">
                  <c:v>45590</c:v>
                </c:pt>
                <c:pt idx="1395">
                  <c:v>45591</c:v>
                </c:pt>
                <c:pt idx="1396">
                  <c:v>45592</c:v>
                </c:pt>
                <c:pt idx="1397">
                  <c:v>45593</c:v>
                </c:pt>
                <c:pt idx="1398">
                  <c:v>45594</c:v>
                </c:pt>
                <c:pt idx="1399">
                  <c:v>45595</c:v>
                </c:pt>
                <c:pt idx="1400">
                  <c:v>45596</c:v>
                </c:pt>
                <c:pt idx="1401">
                  <c:v>45597</c:v>
                </c:pt>
                <c:pt idx="1402">
                  <c:v>45598</c:v>
                </c:pt>
                <c:pt idx="1403">
                  <c:v>45599</c:v>
                </c:pt>
                <c:pt idx="1404">
                  <c:v>45600</c:v>
                </c:pt>
                <c:pt idx="1405">
                  <c:v>45601</c:v>
                </c:pt>
                <c:pt idx="1406">
                  <c:v>45602</c:v>
                </c:pt>
                <c:pt idx="1407">
                  <c:v>45603</c:v>
                </c:pt>
                <c:pt idx="1408">
                  <c:v>45604</c:v>
                </c:pt>
                <c:pt idx="1409">
                  <c:v>45605</c:v>
                </c:pt>
                <c:pt idx="1410">
                  <c:v>45606</c:v>
                </c:pt>
                <c:pt idx="1411">
                  <c:v>45607</c:v>
                </c:pt>
                <c:pt idx="1412">
                  <c:v>45608</c:v>
                </c:pt>
                <c:pt idx="1413">
                  <c:v>45609</c:v>
                </c:pt>
                <c:pt idx="1414">
                  <c:v>45610</c:v>
                </c:pt>
                <c:pt idx="1415">
                  <c:v>45611</c:v>
                </c:pt>
                <c:pt idx="1416">
                  <c:v>45612</c:v>
                </c:pt>
                <c:pt idx="1417">
                  <c:v>45613</c:v>
                </c:pt>
                <c:pt idx="1418">
                  <c:v>45614</c:v>
                </c:pt>
                <c:pt idx="1419">
                  <c:v>45615</c:v>
                </c:pt>
                <c:pt idx="1420">
                  <c:v>45616</c:v>
                </c:pt>
                <c:pt idx="1421">
                  <c:v>45617</c:v>
                </c:pt>
                <c:pt idx="1422">
                  <c:v>45618</c:v>
                </c:pt>
                <c:pt idx="1423">
                  <c:v>45619</c:v>
                </c:pt>
                <c:pt idx="1424">
                  <c:v>45620</c:v>
                </c:pt>
                <c:pt idx="1425">
                  <c:v>45621</c:v>
                </c:pt>
                <c:pt idx="1426">
                  <c:v>45622</c:v>
                </c:pt>
                <c:pt idx="1427">
                  <c:v>45623</c:v>
                </c:pt>
                <c:pt idx="1428">
                  <c:v>45624</c:v>
                </c:pt>
                <c:pt idx="1429">
                  <c:v>45625</c:v>
                </c:pt>
                <c:pt idx="1430">
                  <c:v>45626</c:v>
                </c:pt>
                <c:pt idx="1431">
                  <c:v>45627</c:v>
                </c:pt>
                <c:pt idx="1432">
                  <c:v>45628</c:v>
                </c:pt>
                <c:pt idx="1433">
                  <c:v>45629</c:v>
                </c:pt>
                <c:pt idx="1434">
                  <c:v>45630</c:v>
                </c:pt>
                <c:pt idx="1435">
                  <c:v>45631</c:v>
                </c:pt>
                <c:pt idx="1436">
                  <c:v>45632</c:v>
                </c:pt>
                <c:pt idx="1437">
                  <c:v>45633</c:v>
                </c:pt>
                <c:pt idx="1438">
                  <c:v>45634</c:v>
                </c:pt>
                <c:pt idx="1439">
                  <c:v>45635</c:v>
                </c:pt>
                <c:pt idx="1440">
                  <c:v>45636</c:v>
                </c:pt>
                <c:pt idx="1441">
                  <c:v>45637</c:v>
                </c:pt>
                <c:pt idx="1442">
                  <c:v>45638</c:v>
                </c:pt>
                <c:pt idx="1443">
                  <c:v>45639</c:v>
                </c:pt>
                <c:pt idx="1444">
                  <c:v>45640</c:v>
                </c:pt>
                <c:pt idx="1445">
                  <c:v>45641</c:v>
                </c:pt>
                <c:pt idx="1446">
                  <c:v>45642</c:v>
                </c:pt>
                <c:pt idx="1447">
                  <c:v>45643</c:v>
                </c:pt>
                <c:pt idx="1448">
                  <c:v>45644</c:v>
                </c:pt>
                <c:pt idx="1449">
                  <c:v>45645</c:v>
                </c:pt>
                <c:pt idx="1450">
                  <c:v>45646</c:v>
                </c:pt>
                <c:pt idx="1451">
                  <c:v>45647</c:v>
                </c:pt>
                <c:pt idx="1452">
                  <c:v>45648</c:v>
                </c:pt>
                <c:pt idx="1453">
                  <c:v>45649</c:v>
                </c:pt>
                <c:pt idx="1454">
                  <c:v>45650</c:v>
                </c:pt>
                <c:pt idx="1455">
                  <c:v>45651</c:v>
                </c:pt>
                <c:pt idx="1456">
                  <c:v>45652</c:v>
                </c:pt>
                <c:pt idx="1457">
                  <c:v>45653</c:v>
                </c:pt>
                <c:pt idx="1458">
                  <c:v>45654</c:v>
                </c:pt>
                <c:pt idx="1459">
                  <c:v>45655</c:v>
                </c:pt>
                <c:pt idx="1460">
                  <c:v>45656</c:v>
                </c:pt>
                <c:pt idx="1461">
                  <c:v>45657</c:v>
                </c:pt>
                <c:pt idx="1462">
                  <c:v>45658</c:v>
                </c:pt>
                <c:pt idx="1463">
                  <c:v>45659</c:v>
                </c:pt>
                <c:pt idx="1464">
                  <c:v>45660</c:v>
                </c:pt>
                <c:pt idx="1465">
                  <c:v>45661</c:v>
                </c:pt>
                <c:pt idx="1466">
                  <c:v>45662</c:v>
                </c:pt>
                <c:pt idx="1467">
                  <c:v>45663</c:v>
                </c:pt>
                <c:pt idx="1468">
                  <c:v>45664</c:v>
                </c:pt>
                <c:pt idx="1469">
                  <c:v>45665</c:v>
                </c:pt>
                <c:pt idx="1470">
                  <c:v>45666</c:v>
                </c:pt>
                <c:pt idx="1471">
                  <c:v>45667</c:v>
                </c:pt>
                <c:pt idx="1472">
                  <c:v>45668</c:v>
                </c:pt>
                <c:pt idx="1473">
                  <c:v>45669</c:v>
                </c:pt>
                <c:pt idx="1474">
                  <c:v>45670</c:v>
                </c:pt>
                <c:pt idx="1475">
                  <c:v>45671</c:v>
                </c:pt>
                <c:pt idx="1476">
                  <c:v>45672</c:v>
                </c:pt>
                <c:pt idx="1477">
                  <c:v>45673</c:v>
                </c:pt>
                <c:pt idx="1478">
                  <c:v>45674</c:v>
                </c:pt>
                <c:pt idx="1479">
                  <c:v>45675</c:v>
                </c:pt>
                <c:pt idx="1480">
                  <c:v>45676</c:v>
                </c:pt>
                <c:pt idx="1481">
                  <c:v>45677</c:v>
                </c:pt>
                <c:pt idx="1482">
                  <c:v>45678</c:v>
                </c:pt>
                <c:pt idx="1483">
                  <c:v>45679</c:v>
                </c:pt>
                <c:pt idx="1484">
                  <c:v>45680</c:v>
                </c:pt>
                <c:pt idx="1485">
                  <c:v>45681</c:v>
                </c:pt>
                <c:pt idx="1486">
                  <c:v>45682</c:v>
                </c:pt>
                <c:pt idx="1487">
                  <c:v>45683</c:v>
                </c:pt>
                <c:pt idx="1488">
                  <c:v>45684</c:v>
                </c:pt>
                <c:pt idx="1489">
                  <c:v>45685</c:v>
                </c:pt>
                <c:pt idx="1490">
                  <c:v>45686</c:v>
                </c:pt>
                <c:pt idx="1491">
                  <c:v>45687</c:v>
                </c:pt>
                <c:pt idx="1492">
                  <c:v>45688</c:v>
                </c:pt>
                <c:pt idx="1493">
                  <c:v>45689</c:v>
                </c:pt>
                <c:pt idx="1494">
                  <c:v>45690</c:v>
                </c:pt>
                <c:pt idx="1495">
                  <c:v>45691</c:v>
                </c:pt>
                <c:pt idx="1496">
                  <c:v>45692</c:v>
                </c:pt>
                <c:pt idx="1497">
                  <c:v>45693</c:v>
                </c:pt>
                <c:pt idx="1498">
                  <c:v>45694</c:v>
                </c:pt>
                <c:pt idx="1499">
                  <c:v>45695</c:v>
                </c:pt>
                <c:pt idx="1500">
                  <c:v>45696</c:v>
                </c:pt>
                <c:pt idx="1501">
                  <c:v>45697</c:v>
                </c:pt>
                <c:pt idx="1502">
                  <c:v>45698</c:v>
                </c:pt>
                <c:pt idx="1503">
                  <c:v>45699</c:v>
                </c:pt>
                <c:pt idx="1504">
                  <c:v>45700</c:v>
                </c:pt>
                <c:pt idx="1505">
                  <c:v>45701</c:v>
                </c:pt>
                <c:pt idx="1506">
                  <c:v>45702</c:v>
                </c:pt>
                <c:pt idx="1507">
                  <c:v>45703</c:v>
                </c:pt>
                <c:pt idx="1508">
                  <c:v>45704</c:v>
                </c:pt>
                <c:pt idx="1509">
                  <c:v>45705</c:v>
                </c:pt>
                <c:pt idx="1510">
                  <c:v>45706</c:v>
                </c:pt>
                <c:pt idx="1511">
                  <c:v>45707</c:v>
                </c:pt>
                <c:pt idx="1512">
                  <c:v>45708</c:v>
                </c:pt>
                <c:pt idx="1513">
                  <c:v>45709</c:v>
                </c:pt>
                <c:pt idx="1514">
                  <c:v>45710</c:v>
                </c:pt>
                <c:pt idx="1515">
                  <c:v>45711</c:v>
                </c:pt>
                <c:pt idx="1516">
                  <c:v>45712</c:v>
                </c:pt>
                <c:pt idx="1517">
                  <c:v>45713</c:v>
                </c:pt>
                <c:pt idx="1518">
                  <c:v>45714</c:v>
                </c:pt>
                <c:pt idx="1519">
                  <c:v>45715</c:v>
                </c:pt>
                <c:pt idx="1520">
                  <c:v>45716</c:v>
                </c:pt>
                <c:pt idx="1521">
                  <c:v>45717</c:v>
                </c:pt>
                <c:pt idx="1522">
                  <c:v>45718</c:v>
                </c:pt>
                <c:pt idx="1523">
                  <c:v>45719</c:v>
                </c:pt>
                <c:pt idx="1524">
                  <c:v>45720</c:v>
                </c:pt>
                <c:pt idx="1525">
                  <c:v>45721</c:v>
                </c:pt>
                <c:pt idx="1526">
                  <c:v>45722</c:v>
                </c:pt>
                <c:pt idx="1527">
                  <c:v>45723</c:v>
                </c:pt>
                <c:pt idx="1528">
                  <c:v>45724</c:v>
                </c:pt>
                <c:pt idx="1529">
                  <c:v>45725</c:v>
                </c:pt>
                <c:pt idx="1530">
                  <c:v>45726</c:v>
                </c:pt>
                <c:pt idx="1531">
                  <c:v>45727</c:v>
                </c:pt>
                <c:pt idx="1532">
                  <c:v>45728</c:v>
                </c:pt>
                <c:pt idx="1533">
                  <c:v>45729</c:v>
                </c:pt>
                <c:pt idx="1534">
                  <c:v>45730</c:v>
                </c:pt>
                <c:pt idx="1535">
                  <c:v>45731</c:v>
                </c:pt>
                <c:pt idx="1536">
                  <c:v>45732</c:v>
                </c:pt>
                <c:pt idx="1537">
                  <c:v>45733</c:v>
                </c:pt>
                <c:pt idx="1538">
                  <c:v>45734</c:v>
                </c:pt>
                <c:pt idx="1539">
                  <c:v>45735</c:v>
                </c:pt>
                <c:pt idx="1540">
                  <c:v>45736</c:v>
                </c:pt>
                <c:pt idx="1541">
                  <c:v>45737</c:v>
                </c:pt>
                <c:pt idx="1542">
                  <c:v>45738</c:v>
                </c:pt>
                <c:pt idx="1543">
                  <c:v>45739</c:v>
                </c:pt>
                <c:pt idx="1544">
                  <c:v>45740</c:v>
                </c:pt>
                <c:pt idx="1545">
                  <c:v>45741</c:v>
                </c:pt>
                <c:pt idx="1546">
                  <c:v>45742</c:v>
                </c:pt>
                <c:pt idx="1547">
                  <c:v>45743</c:v>
                </c:pt>
                <c:pt idx="1548">
                  <c:v>45744</c:v>
                </c:pt>
                <c:pt idx="1549">
                  <c:v>45745</c:v>
                </c:pt>
                <c:pt idx="1550">
                  <c:v>45746</c:v>
                </c:pt>
                <c:pt idx="1551">
                  <c:v>45747</c:v>
                </c:pt>
                <c:pt idx="1552">
                  <c:v>45748</c:v>
                </c:pt>
                <c:pt idx="1553">
                  <c:v>45749</c:v>
                </c:pt>
                <c:pt idx="1554">
                  <c:v>45750</c:v>
                </c:pt>
                <c:pt idx="1555">
                  <c:v>45751</c:v>
                </c:pt>
                <c:pt idx="1556">
                  <c:v>45752</c:v>
                </c:pt>
                <c:pt idx="1557">
                  <c:v>45753</c:v>
                </c:pt>
                <c:pt idx="1558">
                  <c:v>45754</c:v>
                </c:pt>
                <c:pt idx="1559">
                  <c:v>45755</c:v>
                </c:pt>
                <c:pt idx="1560">
                  <c:v>45756</c:v>
                </c:pt>
                <c:pt idx="1561">
                  <c:v>45757</c:v>
                </c:pt>
                <c:pt idx="1562">
                  <c:v>45758</c:v>
                </c:pt>
                <c:pt idx="1563">
                  <c:v>45759</c:v>
                </c:pt>
                <c:pt idx="1564">
                  <c:v>45760</c:v>
                </c:pt>
                <c:pt idx="1565">
                  <c:v>45761</c:v>
                </c:pt>
                <c:pt idx="1566">
                  <c:v>45762</c:v>
                </c:pt>
                <c:pt idx="1567">
                  <c:v>45763</c:v>
                </c:pt>
                <c:pt idx="1568">
                  <c:v>45764</c:v>
                </c:pt>
                <c:pt idx="1569">
                  <c:v>45765</c:v>
                </c:pt>
                <c:pt idx="1570">
                  <c:v>45766</c:v>
                </c:pt>
                <c:pt idx="1571">
                  <c:v>45767</c:v>
                </c:pt>
                <c:pt idx="1572">
                  <c:v>45768</c:v>
                </c:pt>
                <c:pt idx="1573">
                  <c:v>45769</c:v>
                </c:pt>
                <c:pt idx="1574">
                  <c:v>45770</c:v>
                </c:pt>
                <c:pt idx="1575">
                  <c:v>45771</c:v>
                </c:pt>
                <c:pt idx="1576">
                  <c:v>45772</c:v>
                </c:pt>
                <c:pt idx="1577">
                  <c:v>45773</c:v>
                </c:pt>
                <c:pt idx="1578">
                  <c:v>45774</c:v>
                </c:pt>
                <c:pt idx="1579">
                  <c:v>45775</c:v>
                </c:pt>
                <c:pt idx="1580">
                  <c:v>45776</c:v>
                </c:pt>
                <c:pt idx="1581">
                  <c:v>45777</c:v>
                </c:pt>
                <c:pt idx="1582">
                  <c:v>45778</c:v>
                </c:pt>
                <c:pt idx="1583">
                  <c:v>45779</c:v>
                </c:pt>
                <c:pt idx="1584">
                  <c:v>45780</c:v>
                </c:pt>
                <c:pt idx="1585">
                  <c:v>45781</c:v>
                </c:pt>
                <c:pt idx="1586">
                  <c:v>45782</c:v>
                </c:pt>
                <c:pt idx="1587">
                  <c:v>45783</c:v>
                </c:pt>
                <c:pt idx="1588">
                  <c:v>45784</c:v>
                </c:pt>
                <c:pt idx="1589">
                  <c:v>45785</c:v>
                </c:pt>
                <c:pt idx="1590">
                  <c:v>45786</c:v>
                </c:pt>
                <c:pt idx="1591">
                  <c:v>45787</c:v>
                </c:pt>
                <c:pt idx="1592">
                  <c:v>45788</c:v>
                </c:pt>
                <c:pt idx="1593">
                  <c:v>45789</c:v>
                </c:pt>
                <c:pt idx="1594">
                  <c:v>45790</c:v>
                </c:pt>
                <c:pt idx="1595">
                  <c:v>45791</c:v>
                </c:pt>
                <c:pt idx="1596">
                  <c:v>45792</c:v>
                </c:pt>
                <c:pt idx="1597">
                  <c:v>45793</c:v>
                </c:pt>
                <c:pt idx="1598">
                  <c:v>45794</c:v>
                </c:pt>
                <c:pt idx="1599">
                  <c:v>45795</c:v>
                </c:pt>
                <c:pt idx="1600">
                  <c:v>45796</c:v>
                </c:pt>
                <c:pt idx="1601">
                  <c:v>45797</c:v>
                </c:pt>
                <c:pt idx="1602">
                  <c:v>45798</c:v>
                </c:pt>
                <c:pt idx="1603">
                  <c:v>45799</c:v>
                </c:pt>
                <c:pt idx="1604">
                  <c:v>45800</c:v>
                </c:pt>
                <c:pt idx="1605">
                  <c:v>45801</c:v>
                </c:pt>
                <c:pt idx="1606">
                  <c:v>45802</c:v>
                </c:pt>
                <c:pt idx="1607">
                  <c:v>45803</c:v>
                </c:pt>
                <c:pt idx="1608">
                  <c:v>45804</c:v>
                </c:pt>
                <c:pt idx="1609">
                  <c:v>45805</c:v>
                </c:pt>
                <c:pt idx="1610">
                  <c:v>45806</c:v>
                </c:pt>
                <c:pt idx="1611">
                  <c:v>45807</c:v>
                </c:pt>
                <c:pt idx="1612">
                  <c:v>45808</c:v>
                </c:pt>
                <c:pt idx="1613">
                  <c:v>45809</c:v>
                </c:pt>
                <c:pt idx="1614">
                  <c:v>45810</c:v>
                </c:pt>
                <c:pt idx="1615">
                  <c:v>45811</c:v>
                </c:pt>
                <c:pt idx="1616">
                  <c:v>45812</c:v>
                </c:pt>
                <c:pt idx="1617">
                  <c:v>45813</c:v>
                </c:pt>
                <c:pt idx="1618">
                  <c:v>45814</c:v>
                </c:pt>
                <c:pt idx="1619">
                  <c:v>45815</c:v>
                </c:pt>
                <c:pt idx="1620">
                  <c:v>45816</c:v>
                </c:pt>
                <c:pt idx="1621">
                  <c:v>45817</c:v>
                </c:pt>
                <c:pt idx="1622">
                  <c:v>45818</c:v>
                </c:pt>
                <c:pt idx="1623">
                  <c:v>45819</c:v>
                </c:pt>
                <c:pt idx="1624">
                  <c:v>45820</c:v>
                </c:pt>
                <c:pt idx="1625">
                  <c:v>45821</c:v>
                </c:pt>
                <c:pt idx="1626">
                  <c:v>45822</c:v>
                </c:pt>
                <c:pt idx="1627">
                  <c:v>45823</c:v>
                </c:pt>
                <c:pt idx="1628">
                  <c:v>45824</c:v>
                </c:pt>
                <c:pt idx="1629">
                  <c:v>45825</c:v>
                </c:pt>
                <c:pt idx="1630">
                  <c:v>45826</c:v>
                </c:pt>
                <c:pt idx="1631">
                  <c:v>45827</c:v>
                </c:pt>
                <c:pt idx="1632">
                  <c:v>45828</c:v>
                </c:pt>
                <c:pt idx="1633">
                  <c:v>45829</c:v>
                </c:pt>
                <c:pt idx="1634">
                  <c:v>45830</c:v>
                </c:pt>
                <c:pt idx="1635">
                  <c:v>45831</c:v>
                </c:pt>
                <c:pt idx="1636">
                  <c:v>45832</c:v>
                </c:pt>
                <c:pt idx="1637">
                  <c:v>45833</c:v>
                </c:pt>
                <c:pt idx="1638">
                  <c:v>45834</c:v>
                </c:pt>
                <c:pt idx="1639">
                  <c:v>45835</c:v>
                </c:pt>
                <c:pt idx="1640">
                  <c:v>45836</c:v>
                </c:pt>
                <c:pt idx="1641">
                  <c:v>45837</c:v>
                </c:pt>
                <c:pt idx="1642">
                  <c:v>45838</c:v>
                </c:pt>
                <c:pt idx="1643">
                  <c:v>45839</c:v>
                </c:pt>
                <c:pt idx="1644">
                  <c:v>45840</c:v>
                </c:pt>
                <c:pt idx="1645">
                  <c:v>45841</c:v>
                </c:pt>
                <c:pt idx="1646">
                  <c:v>45842</c:v>
                </c:pt>
                <c:pt idx="1647">
                  <c:v>45843</c:v>
                </c:pt>
                <c:pt idx="1648">
                  <c:v>45844</c:v>
                </c:pt>
                <c:pt idx="1649">
                  <c:v>45845</c:v>
                </c:pt>
                <c:pt idx="1650">
                  <c:v>45846</c:v>
                </c:pt>
                <c:pt idx="1651">
                  <c:v>45847</c:v>
                </c:pt>
                <c:pt idx="1652">
                  <c:v>45848</c:v>
                </c:pt>
                <c:pt idx="1653">
                  <c:v>45849</c:v>
                </c:pt>
                <c:pt idx="1654">
                  <c:v>45850</c:v>
                </c:pt>
                <c:pt idx="1655">
                  <c:v>45851</c:v>
                </c:pt>
                <c:pt idx="1656">
                  <c:v>45852</c:v>
                </c:pt>
                <c:pt idx="1657">
                  <c:v>45853</c:v>
                </c:pt>
                <c:pt idx="1658">
                  <c:v>45854</c:v>
                </c:pt>
                <c:pt idx="1659">
                  <c:v>45855</c:v>
                </c:pt>
                <c:pt idx="1660">
                  <c:v>45856</c:v>
                </c:pt>
                <c:pt idx="1661">
                  <c:v>45857</c:v>
                </c:pt>
                <c:pt idx="1662">
                  <c:v>45858</c:v>
                </c:pt>
                <c:pt idx="1663">
                  <c:v>45859</c:v>
                </c:pt>
                <c:pt idx="1664">
                  <c:v>45860</c:v>
                </c:pt>
                <c:pt idx="1665">
                  <c:v>45861</c:v>
                </c:pt>
                <c:pt idx="1666">
                  <c:v>45862</c:v>
                </c:pt>
                <c:pt idx="1667">
                  <c:v>45863</c:v>
                </c:pt>
                <c:pt idx="1668">
                  <c:v>45864</c:v>
                </c:pt>
                <c:pt idx="1669">
                  <c:v>45865</c:v>
                </c:pt>
                <c:pt idx="1670">
                  <c:v>45866</c:v>
                </c:pt>
                <c:pt idx="1671">
                  <c:v>45867</c:v>
                </c:pt>
                <c:pt idx="1672">
                  <c:v>45868</c:v>
                </c:pt>
                <c:pt idx="1673">
                  <c:v>45869</c:v>
                </c:pt>
                <c:pt idx="1674">
                  <c:v>45870</c:v>
                </c:pt>
                <c:pt idx="1675">
                  <c:v>45871</c:v>
                </c:pt>
                <c:pt idx="1676">
                  <c:v>45872</c:v>
                </c:pt>
                <c:pt idx="1677">
                  <c:v>45873</c:v>
                </c:pt>
                <c:pt idx="1678">
                  <c:v>45874</c:v>
                </c:pt>
                <c:pt idx="1679">
                  <c:v>45875</c:v>
                </c:pt>
                <c:pt idx="1680">
                  <c:v>45876</c:v>
                </c:pt>
                <c:pt idx="1681">
                  <c:v>45877</c:v>
                </c:pt>
                <c:pt idx="1682">
                  <c:v>45878</c:v>
                </c:pt>
                <c:pt idx="1683">
                  <c:v>45879</c:v>
                </c:pt>
                <c:pt idx="1684">
                  <c:v>45880</c:v>
                </c:pt>
                <c:pt idx="1685">
                  <c:v>45881</c:v>
                </c:pt>
                <c:pt idx="1686">
                  <c:v>45882</c:v>
                </c:pt>
                <c:pt idx="1687">
                  <c:v>45883</c:v>
                </c:pt>
                <c:pt idx="1688">
                  <c:v>45884</c:v>
                </c:pt>
                <c:pt idx="1689">
                  <c:v>45885</c:v>
                </c:pt>
                <c:pt idx="1690">
                  <c:v>45886</c:v>
                </c:pt>
                <c:pt idx="1691">
                  <c:v>45887</c:v>
                </c:pt>
                <c:pt idx="1692">
                  <c:v>45888</c:v>
                </c:pt>
                <c:pt idx="1693">
                  <c:v>45889</c:v>
                </c:pt>
                <c:pt idx="1694">
                  <c:v>45890</c:v>
                </c:pt>
                <c:pt idx="1695">
                  <c:v>45891</c:v>
                </c:pt>
                <c:pt idx="1696">
                  <c:v>45892</c:v>
                </c:pt>
                <c:pt idx="1697">
                  <c:v>45893</c:v>
                </c:pt>
                <c:pt idx="1698">
                  <c:v>45894</c:v>
                </c:pt>
                <c:pt idx="1699">
                  <c:v>45895</c:v>
                </c:pt>
                <c:pt idx="1700">
                  <c:v>45896</c:v>
                </c:pt>
                <c:pt idx="1701">
                  <c:v>45897</c:v>
                </c:pt>
                <c:pt idx="1702">
                  <c:v>45898</c:v>
                </c:pt>
                <c:pt idx="1703">
                  <c:v>45899</c:v>
                </c:pt>
                <c:pt idx="1704">
                  <c:v>45900</c:v>
                </c:pt>
                <c:pt idx="1705">
                  <c:v>45901</c:v>
                </c:pt>
                <c:pt idx="1706">
                  <c:v>45902</c:v>
                </c:pt>
                <c:pt idx="1707">
                  <c:v>45903</c:v>
                </c:pt>
                <c:pt idx="1708">
                  <c:v>45904</c:v>
                </c:pt>
                <c:pt idx="1709">
                  <c:v>45905</c:v>
                </c:pt>
                <c:pt idx="1710">
                  <c:v>45906</c:v>
                </c:pt>
                <c:pt idx="1711">
                  <c:v>45907</c:v>
                </c:pt>
                <c:pt idx="1712">
                  <c:v>45908</c:v>
                </c:pt>
                <c:pt idx="1713">
                  <c:v>45909</c:v>
                </c:pt>
                <c:pt idx="1714">
                  <c:v>45910</c:v>
                </c:pt>
                <c:pt idx="1715">
                  <c:v>45911</c:v>
                </c:pt>
                <c:pt idx="1716">
                  <c:v>45912</c:v>
                </c:pt>
                <c:pt idx="1717">
                  <c:v>45913</c:v>
                </c:pt>
                <c:pt idx="1718">
                  <c:v>45914</c:v>
                </c:pt>
                <c:pt idx="1719">
                  <c:v>45915</c:v>
                </c:pt>
                <c:pt idx="1720">
                  <c:v>45916</c:v>
                </c:pt>
                <c:pt idx="1721">
                  <c:v>45917</c:v>
                </c:pt>
                <c:pt idx="1722">
                  <c:v>45918</c:v>
                </c:pt>
                <c:pt idx="1723">
                  <c:v>45919</c:v>
                </c:pt>
                <c:pt idx="1724">
                  <c:v>45920</c:v>
                </c:pt>
                <c:pt idx="1725">
                  <c:v>45921</c:v>
                </c:pt>
                <c:pt idx="1726">
                  <c:v>45922</c:v>
                </c:pt>
                <c:pt idx="1727">
                  <c:v>45923</c:v>
                </c:pt>
                <c:pt idx="1728">
                  <c:v>45924</c:v>
                </c:pt>
                <c:pt idx="1729">
                  <c:v>45925</c:v>
                </c:pt>
                <c:pt idx="1730">
                  <c:v>45926</c:v>
                </c:pt>
                <c:pt idx="1731">
                  <c:v>45927</c:v>
                </c:pt>
                <c:pt idx="1732">
                  <c:v>45928</c:v>
                </c:pt>
                <c:pt idx="1733">
                  <c:v>45929</c:v>
                </c:pt>
                <c:pt idx="1734">
                  <c:v>45930</c:v>
                </c:pt>
                <c:pt idx="1735">
                  <c:v>45931</c:v>
                </c:pt>
                <c:pt idx="1736">
                  <c:v>45932</c:v>
                </c:pt>
                <c:pt idx="1737">
                  <c:v>45933</c:v>
                </c:pt>
                <c:pt idx="1738">
                  <c:v>45934</c:v>
                </c:pt>
                <c:pt idx="1739">
                  <c:v>45935</c:v>
                </c:pt>
                <c:pt idx="1740">
                  <c:v>45936</c:v>
                </c:pt>
                <c:pt idx="1741">
                  <c:v>45937</c:v>
                </c:pt>
                <c:pt idx="1742">
                  <c:v>45938</c:v>
                </c:pt>
                <c:pt idx="1743">
                  <c:v>45939</c:v>
                </c:pt>
                <c:pt idx="1744">
                  <c:v>45940</c:v>
                </c:pt>
                <c:pt idx="1745">
                  <c:v>45941</c:v>
                </c:pt>
                <c:pt idx="1746">
                  <c:v>45942</c:v>
                </c:pt>
                <c:pt idx="1747">
                  <c:v>45943</c:v>
                </c:pt>
                <c:pt idx="1748">
                  <c:v>45944</c:v>
                </c:pt>
                <c:pt idx="1749">
                  <c:v>45945</c:v>
                </c:pt>
                <c:pt idx="1750">
                  <c:v>45946</c:v>
                </c:pt>
                <c:pt idx="1751">
                  <c:v>45947</c:v>
                </c:pt>
                <c:pt idx="1752">
                  <c:v>45948</c:v>
                </c:pt>
                <c:pt idx="1753">
                  <c:v>45949</c:v>
                </c:pt>
                <c:pt idx="1754">
                  <c:v>45950</c:v>
                </c:pt>
                <c:pt idx="1755">
                  <c:v>45951</c:v>
                </c:pt>
                <c:pt idx="1756">
                  <c:v>45952</c:v>
                </c:pt>
                <c:pt idx="1757">
                  <c:v>45953</c:v>
                </c:pt>
                <c:pt idx="1758">
                  <c:v>45954</c:v>
                </c:pt>
                <c:pt idx="1759">
                  <c:v>45955</c:v>
                </c:pt>
                <c:pt idx="1760">
                  <c:v>45956</c:v>
                </c:pt>
                <c:pt idx="1761">
                  <c:v>45957</c:v>
                </c:pt>
                <c:pt idx="1762">
                  <c:v>45958</c:v>
                </c:pt>
                <c:pt idx="1763">
                  <c:v>45959</c:v>
                </c:pt>
                <c:pt idx="1764">
                  <c:v>45960</c:v>
                </c:pt>
                <c:pt idx="1765">
                  <c:v>45961</c:v>
                </c:pt>
                <c:pt idx="1766">
                  <c:v>45962</c:v>
                </c:pt>
                <c:pt idx="1767">
                  <c:v>45963</c:v>
                </c:pt>
                <c:pt idx="1768">
                  <c:v>45964</c:v>
                </c:pt>
                <c:pt idx="1769">
                  <c:v>45965</c:v>
                </c:pt>
                <c:pt idx="1770">
                  <c:v>45966</c:v>
                </c:pt>
                <c:pt idx="1771">
                  <c:v>45967</c:v>
                </c:pt>
                <c:pt idx="1772">
                  <c:v>45968</c:v>
                </c:pt>
                <c:pt idx="1773">
                  <c:v>45969</c:v>
                </c:pt>
                <c:pt idx="1774">
                  <c:v>45970</c:v>
                </c:pt>
                <c:pt idx="1775">
                  <c:v>45971</c:v>
                </c:pt>
                <c:pt idx="1776">
                  <c:v>45972</c:v>
                </c:pt>
                <c:pt idx="1777">
                  <c:v>45973</c:v>
                </c:pt>
                <c:pt idx="1778">
                  <c:v>45974</c:v>
                </c:pt>
                <c:pt idx="1779">
                  <c:v>45975</c:v>
                </c:pt>
                <c:pt idx="1780">
                  <c:v>45976</c:v>
                </c:pt>
                <c:pt idx="1781">
                  <c:v>45977</c:v>
                </c:pt>
                <c:pt idx="1782">
                  <c:v>45978</c:v>
                </c:pt>
                <c:pt idx="1783">
                  <c:v>45979</c:v>
                </c:pt>
                <c:pt idx="1784">
                  <c:v>45980</c:v>
                </c:pt>
                <c:pt idx="1785">
                  <c:v>45981</c:v>
                </c:pt>
                <c:pt idx="1786">
                  <c:v>45982</c:v>
                </c:pt>
                <c:pt idx="1787">
                  <c:v>45983</c:v>
                </c:pt>
                <c:pt idx="1788">
                  <c:v>45984</c:v>
                </c:pt>
                <c:pt idx="1789">
                  <c:v>45985</c:v>
                </c:pt>
                <c:pt idx="1790">
                  <c:v>45986</c:v>
                </c:pt>
                <c:pt idx="1791">
                  <c:v>45987</c:v>
                </c:pt>
                <c:pt idx="1792">
                  <c:v>45988</c:v>
                </c:pt>
                <c:pt idx="1793">
                  <c:v>45989</c:v>
                </c:pt>
                <c:pt idx="1794">
                  <c:v>45990</c:v>
                </c:pt>
                <c:pt idx="1795">
                  <c:v>45991</c:v>
                </c:pt>
                <c:pt idx="1796">
                  <c:v>45992</c:v>
                </c:pt>
                <c:pt idx="1797">
                  <c:v>45993</c:v>
                </c:pt>
                <c:pt idx="1798">
                  <c:v>45994</c:v>
                </c:pt>
                <c:pt idx="1799">
                  <c:v>45995</c:v>
                </c:pt>
                <c:pt idx="1800">
                  <c:v>45996</c:v>
                </c:pt>
                <c:pt idx="1801">
                  <c:v>45997</c:v>
                </c:pt>
                <c:pt idx="1802">
                  <c:v>45998</c:v>
                </c:pt>
                <c:pt idx="1803">
                  <c:v>45999</c:v>
                </c:pt>
                <c:pt idx="1804">
                  <c:v>46000</c:v>
                </c:pt>
                <c:pt idx="1805">
                  <c:v>46001</c:v>
                </c:pt>
                <c:pt idx="1806">
                  <c:v>46002</c:v>
                </c:pt>
                <c:pt idx="1807">
                  <c:v>46003</c:v>
                </c:pt>
                <c:pt idx="1808">
                  <c:v>46004</c:v>
                </c:pt>
                <c:pt idx="1809">
                  <c:v>46005</c:v>
                </c:pt>
                <c:pt idx="1810">
                  <c:v>46006</c:v>
                </c:pt>
                <c:pt idx="1811">
                  <c:v>46007</c:v>
                </c:pt>
                <c:pt idx="1812">
                  <c:v>46008</c:v>
                </c:pt>
                <c:pt idx="1813">
                  <c:v>46009</c:v>
                </c:pt>
                <c:pt idx="1814">
                  <c:v>46010</c:v>
                </c:pt>
                <c:pt idx="1815">
                  <c:v>46011</c:v>
                </c:pt>
                <c:pt idx="1816">
                  <c:v>46012</c:v>
                </c:pt>
                <c:pt idx="1817">
                  <c:v>46013</c:v>
                </c:pt>
                <c:pt idx="1818">
                  <c:v>46014</c:v>
                </c:pt>
                <c:pt idx="1819">
                  <c:v>46015</c:v>
                </c:pt>
                <c:pt idx="1820">
                  <c:v>46016</c:v>
                </c:pt>
                <c:pt idx="1821">
                  <c:v>46017</c:v>
                </c:pt>
                <c:pt idx="1822">
                  <c:v>46018</c:v>
                </c:pt>
                <c:pt idx="1823">
                  <c:v>46019</c:v>
                </c:pt>
                <c:pt idx="1824">
                  <c:v>46020</c:v>
                </c:pt>
                <c:pt idx="1825">
                  <c:v>46021</c:v>
                </c:pt>
                <c:pt idx="1826">
                  <c:v>46022</c:v>
                </c:pt>
              </c:numCache>
            </c:numRef>
          </c:cat>
          <c:val>
            <c:numRef>
              <c:f>Sheet1!$H$2:$H$2069</c:f>
              <c:numCache>
                <c:formatCode>0.00%</c:formatCode>
                <c:ptCount val="2068"/>
                <c:pt idx="0">
                  <c:v>0</c:v>
                </c:pt>
                <c:pt idx="1">
                  <c:v>2.0049321330475324E-5</c:v>
                </c:pt>
                <c:pt idx="2">
                  <c:v>2.0049321330475324E-5</c:v>
                </c:pt>
                <c:pt idx="3">
                  <c:v>2.0049321330475324E-5</c:v>
                </c:pt>
                <c:pt idx="4">
                  <c:v>-8.2408184806936902E-3</c:v>
                </c:pt>
                <c:pt idx="5">
                  <c:v>-2.1979660084627995E-3</c:v>
                </c:pt>
                <c:pt idx="6">
                  <c:v>-1.2478081631895463E-2</c:v>
                </c:pt>
                <c:pt idx="7">
                  <c:v>4.0093217545620514E-3</c:v>
                </c:pt>
                <c:pt idx="8">
                  <c:v>1.7621643069517318E-2</c:v>
                </c:pt>
                <c:pt idx="9">
                  <c:v>1.7621643069517318E-2</c:v>
                </c:pt>
                <c:pt idx="10">
                  <c:v>1.7621643069517318E-2</c:v>
                </c:pt>
                <c:pt idx="11">
                  <c:v>1.4283807662205418E-2</c:v>
                </c:pt>
                <c:pt idx="12">
                  <c:v>1.2536250287728024E-2</c:v>
                </c:pt>
                <c:pt idx="13">
                  <c:v>1.7431418397831067E-2</c:v>
                </c:pt>
                <c:pt idx="14">
                  <c:v>1.5428586359923741E-2</c:v>
                </c:pt>
                <c:pt idx="15">
                  <c:v>1.1035097127954287E-2</c:v>
                </c:pt>
                <c:pt idx="16">
                  <c:v>1.1035097127954287E-2</c:v>
                </c:pt>
                <c:pt idx="17">
                  <c:v>1.1035097127954287E-2</c:v>
                </c:pt>
                <c:pt idx="18">
                  <c:v>1.3449007958933805E-2</c:v>
                </c:pt>
                <c:pt idx="19">
                  <c:v>2.0360575735797255E-2</c:v>
                </c:pt>
                <c:pt idx="20">
                  <c:v>4.1391733461306472E-2</c:v>
                </c:pt>
                <c:pt idx="21">
                  <c:v>4.36779727987016E-2</c:v>
                </c:pt>
                <c:pt idx="22">
                  <c:v>4.0055206783455047E-2</c:v>
                </c:pt>
                <c:pt idx="23">
                  <c:v>4.0055206783455047E-2</c:v>
                </c:pt>
                <c:pt idx="24">
                  <c:v>4.0055206783455047E-2</c:v>
                </c:pt>
                <c:pt idx="25">
                  <c:v>5.0018217371650311E-2</c:v>
                </c:pt>
                <c:pt idx="26">
                  <c:v>4.2928225609730787E-2</c:v>
                </c:pt>
                <c:pt idx="27">
                  <c:v>2.6678603474846484E-2</c:v>
                </c:pt>
                <c:pt idx="28">
                  <c:v>2.5592030571255153E-2</c:v>
                </c:pt>
                <c:pt idx="29">
                  <c:v>5.0095743130631832E-3</c:v>
                </c:pt>
                <c:pt idx="30">
                  <c:v>5.0095743130631832E-3</c:v>
                </c:pt>
                <c:pt idx="31">
                  <c:v>5.0095743130631832E-3</c:v>
                </c:pt>
                <c:pt idx="32">
                  <c:v>3.1918262309023081E-2</c:v>
                </c:pt>
                <c:pt idx="33">
                  <c:v>5.1110015156888122E-2</c:v>
                </c:pt>
                <c:pt idx="34">
                  <c:v>5.3907641688172275E-2</c:v>
                </c:pt>
                <c:pt idx="35">
                  <c:v>6.2360712872689558E-2</c:v>
                </c:pt>
                <c:pt idx="36">
                  <c:v>6.4176698134301949E-2</c:v>
                </c:pt>
                <c:pt idx="37">
                  <c:v>6.4176698134301949E-2</c:v>
                </c:pt>
                <c:pt idx="38">
                  <c:v>6.4176698134301949E-2</c:v>
                </c:pt>
                <c:pt idx="39">
                  <c:v>6.8520952971943105E-2</c:v>
                </c:pt>
                <c:pt idx="40">
                  <c:v>6.6649814877301164E-2</c:v>
                </c:pt>
                <c:pt idx="41">
                  <c:v>6.4929367733899568E-2</c:v>
                </c:pt>
                <c:pt idx="42">
                  <c:v>6.9892123454140032E-2</c:v>
                </c:pt>
                <c:pt idx="43">
                  <c:v>7.5339514872897695E-2</c:v>
                </c:pt>
                <c:pt idx="44">
                  <c:v>7.5339514872897695E-2</c:v>
                </c:pt>
                <c:pt idx="45">
                  <c:v>7.5339514872897695E-2</c:v>
                </c:pt>
                <c:pt idx="46">
                  <c:v>7.761887093816483E-2</c:v>
                </c:pt>
                <c:pt idx="47">
                  <c:v>7.684047577044438E-2</c:v>
                </c:pt>
                <c:pt idx="48">
                  <c:v>7.8217472453263215E-2</c:v>
                </c:pt>
                <c:pt idx="49">
                  <c:v>6.8154842633928181E-2</c:v>
                </c:pt>
                <c:pt idx="50">
                  <c:v>6.1912432388393057E-2</c:v>
                </c:pt>
                <c:pt idx="51">
                  <c:v>6.1912432388393057E-2</c:v>
                </c:pt>
                <c:pt idx="52">
                  <c:v>6.1912432388393057E-2</c:v>
                </c:pt>
                <c:pt idx="53">
                  <c:v>4.1147571015163177E-2</c:v>
                </c:pt>
                <c:pt idx="54">
                  <c:v>3.6451251404995305E-2</c:v>
                </c:pt>
                <c:pt idx="55">
                  <c:v>3.7642289664365051E-2</c:v>
                </c:pt>
                <c:pt idx="56">
                  <c:v>1.0765971941996355E-2</c:v>
                </c:pt>
                <c:pt idx="57">
                  <c:v>7.6430062006120634E-3</c:v>
                </c:pt>
                <c:pt idx="58">
                  <c:v>7.6430062006120634E-3</c:v>
                </c:pt>
                <c:pt idx="59">
                  <c:v>7.6430062006120634E-3</c:v>
                </c:pt>
                <c:pt idx="60">
                  <c:v>3.8676777876782184E-2</c:v>
                </c:pt>
                <c:pt idx="61">
                  <c:v>2.8551892974379597E-2</c:v>
                </c:pt>
                <c:pt idx="62">
                  <c:v>1.1029453487880687E-2</c:v>
                </c:pt>
                <c:pt idx="63">
                  <c:v>-5.1228005771325512E-3</c:v>
                </c:pt>
                <c:pt idx="64">
                  <c:v>8.2996014528771405E-3</c:v>
                </c:pt>
                <c:pt idx="65">
                  <c:v>8.2996014528771405E-3</c:v>
                </c:pt>
                <c:pt idx="66">
                  <c:v>8.2996014528771405E-3</c:v>
                </c:pt>
                <c:pt idx="67">
                  <c:v>-5.1580479662391102E-3</c:v>
                </c:pt>
                <c:pt idx="68">
                  <c:v>1.7473789664927894E-2</c:v>
                </c:pt>
                <c:pt idx="69">
                  <c:v>1.7800100155645565E-2</c:v>
                </c:pt>
                <c:pt idx="70">
                  <c:v>3.4078063234698419E-2</c:v>
                </c:pt>
                <c:pt idx="71">
                  <c:v>2.9617303128859618E-2</c:v>
                </c:pt>
                <c:pt idx="72">
                  <c:v>2.9617303128859618E-2</c:v>
                </c:pt>
                <c:pt idx="73">
                  <c:v>2.9617303128859618E-2</c:v>
                </c:pt>
                <c:pt idx="74">
                  <c:v>3.5898291798316821E-2</c:v>
                </c:pt>
                <c:pt idx="75">
                  <c:v>4.1905074153989405E-2</c:v>
                </c:pt>
                <c:pt idx="76">
                  <c:v>4.0364982289735847E-2</c:v>
                </c:pt>
                <c:pt idx="77">
                  <c:v>2.3389332468973408E-2</c:v>
                </c:pt>
                <c:pt idx="78">
                  <c:v>2.3780976751419446E-2</c:v>
                </c:pt>
                <c:pt idx="79">
                  <c:v>2.3780976751419446E-2</c:v>
                </c:pt>
                <c:pt idx="80">
                  <c:v>2.3780976751419446E-2</c:v>
                </c:pt>
                <c:pt idx="81">
                  <c:v>3.0461207274753262E-2</c:v>
                </c:pt>
                <c:pt idx="82">
                  <c:v>2.9602463590802302E-2</c:v>
                </c:pt>
                <c:pt idx="83">
                  <c:v>1.8436661246747407E-2</c:v>
                </c:pt>
                <c:pt idx="84">
                  <c:v>2.0646333623353285E-2</c:v>
                </c:pt>
                <c:pt idx="85">
                  <c:v>3.2797542458268936E-2</c:v>
                </c:pt>
                <c:pt idx="86">
                  <c:v>3.2797542458268936E-2</c:v>
                </c:pt>
                <c:pt idx="87">
                  <c:v>3.2797542458268936E-2</c:v>
                </c:pt>
                <c:pt idx="88">
                  <c:v>3.554889888169839E-2</c:v>
                </c:pt>
                <c:pt idx="89">
                  <c:v>3.6454135956399937E-2</c:v>
                </c:pt>
                <c:pt idx="90">
                  <c:v>4.3123009042616192E-2</c:v>
                </c:pt>
                <c:pt idx="91">
                  <c:v>5.9283691604532722E-2</c:v>
                </c:pt>
                <c:pt idx="92">
                  <c:v>6.059157469101592E-2</c:v>
                </c:pt>
                <c:pt idx="93">
                  <c:v>6.059157469101592E-2</c:v>
                </c:pt>
                <c:pt idx="94">
                  <c:v>6.059157469101592E-2</c:v>
                </c:pt>
                <c:pt idx="95">
                  <c:v>6.9816003512307392E-2</c:v>
                </c:pt>
                <c:pt idx="96">
                  <c:v>6.936688369852391E-2</c:v>
                </c:pt>
                <c:pt idx="97">
                  <c:v>6.4530374127767659E-2</c:v>
                </c:pt>
                <c:pt idx="98">
                  <c:v>7.5926941882191554E-2</c:v>
                </c:pt>
                <c:pt idx="99">
                  <c:v>8.1443331692371432E-2</c:v>
                </c:pt>
                <c:pt idx="100">
                  <c:v>8.1443331692371432E-2</c:v>
                </c:pt>
                <c:pt idx="101">
                  <c:v>8.1443331692371432E-2</c:v>
                </c:pt>
                <c:pt idx="102">
                  <c:v>7.7522446526913313E-2</c:v>
                </c:pt>
                <c:pt idx="103">
                  <c:v>8.4905916759386593E-2</c:v>
                </c:pt>
                <c:pt idx="104">
                  <c:v>7.6383284197445681E-2</c:v>
                </c:pt>
                <c:pt idx="105">
                  <c:v>8.9614681816454725E-2</c:v>
                </c:pt>
                <c:pt idx="106">
                  <c:v>9.0872765318620305E-2</c:v>
                </c:pt>
                <c:pt idx="107">
                  <c:v>9.0872765318620305E-2</c:v>
                </c:pt>
                <c:pt idx="108">
                  <c:v>9.0872765318620305E-2</c:v>
                </c:pt>
                <c:pt idx="109">
                  <c:v>8.1972417434140257E-2</c:v>
                </c:pt>
                <c:pt idx="110">
                  <c:v>7.018824020577924E-2</c:v>
                </c:pt>
                <c:pt idx="111">
                  <c:v>7.6167786744048269E-2</c:v>
                </c:pt>
                <c:pt idx="112">
                  <c:v>7.5517021441250443E-2</c:v>
                </c:pt>
                <c:pt idx="113">
                  <c:v>8.348370022226391E-2</c:v>
                </c:pt>
                <c:pt idx="114">
                  <c:v>8.348370022226391E-2</c:v>
                </c:pt>
                <c:pt idx="115">
                  <c:v>8.348370022226391E-2</c:v>
                </c:pt>
                <c:pt idx="116">
                  <c:v>8.6329944792322519E-2</c:v>
                </c:pt>
                <c:pt idx="117">
                  <c:v>8.3449256033654537E-2</c:v>
                </c:pt>
                <c:pt idx="118">
                  <c:v>8.1923095539280691E-2</c:v>
                </c:pt>
                <c:pt idx="119">
                  <c:v>8.1267064714876935E-2</c:v>
                </c:pt>
                <c:pt idx="120">
                  <c:v>7.7456032305485964E-2</c:v>
                </c:pt>
                <c:pt idx="121">
                  <c:v>7.7456032305485964E-2</c:v>
                </c:pt>
                <c:pt idx="122">
                  <c:v>7.7456032305485964E-2</c:v>
                </c:pt>
                <c:pt idx="123">
                  <c:v>7.1447779372383738E-2</c:v>
                </c:pt>
                <c:pt idx="124">
                  <c:v>5.9213812481540062E-2</c:v>
                </c:pt>
                <c:pt idx="125">
                  <c:v>6.1010169754997602E-2</c:v>
                </c:pt>
                <c:pt idx="126">
                  <c:v>6.0395425710179466E-2</c:v>
                </c:pt>
                <c:pt idx="127">
                  <c:v>6.3060096935197554E-2</c:v>
                </c:pt>
                <c:pt idx="128">
                  <c:v>6.3060096935197554E-2</c:v>
                </c:pt>
                <c:pt idx="129">
                  <c:v>6.3060096935197554E-2</c:v>
                </c:pt>
                <c:pt idx="130">
                  <c:v>4.5847430236032521E-2</c:v>
                </c:pt>
                <c:pt idx="131">
                  <c:v>3.6860882422687098E-2</c:v>
                </c:pt>
                <c:pt idx="132">
                  <c:v>2.2948991051231646E-2</c:v>
                </c:pt>
                <c:pt idx="133">
                  <c:v>2.3029779706668734E-2</c:v>
                </c:pt>
                <c:pt idx="134">
                  <c:v>3.7212580179093069E-2</c:v>
                </c:pt>
                <c:pt idx="135">
                  <c:v>3.7212580179093069E-2</c:v>
                </c:pt>
                <c:pt idx="136">
                  <c:v>3.7212580179093069E-2</c:v>
                </c:pt>
                <c:pt idx="137">
                  <c:v>3.400915203484061E-2</c:v>
                </c:pt>
                <c:pt idx="138">
                  <c:v>2.9821269503549103E-2</c:v>
                </c:pt>
                <c:pt idx="139">
                  <c:v>2.6558681628108757E-2</c:v>
                </c:pt>
                <c:pt idx="140">
                  <c:v>4.1912074546649192E-2</c:v>
                </c:pt>
                <c:pt idx="141">
                  <c:v>4.207270861086073E-2</c:v>
                </c:pt>
                <c:pt idx="142">
                  <c:v>4.207270861086073E-2</c:v>
                </c:pt>
                <c:pt idx="143">
                  <c:v>4.207270861086073E-2</c:v>
                </c:pt>
                <c:pt idx="144">
                  <c:v>4.9963150988647273E-2</c:v>
                </c:pt>
                <c:pt idx="145">
                  <c:v>5.3410053707051472E-2</c:v>
                </c:pt>
                <c:pt idx="146">
                  <c:v>5.8253792370655193E-2</c:v>
                </c:pt>
                <c:pt idx="147">
                  <c:v>5.773601044927034E-2</c:v>
                </c:pt>
                <c:pt idx="148">
                  <c:v>6.3119087494564213E-2</c:v>
                </c:pt>
                <c:pt idx="149">
                  <c:v>6.3119087494564213E-2</c:v>
                </c:pt>
                <c:pt idx="150">
                  <c:v>6.3119087494564213E-2</c:v>
                </c:pt>
                <c:pt idx="151">
                  <c:v>6.0620965682754789E-2</c:v>
                </c:pt>
                <c:pt idx="152">
                  <c:v>6.0926271823392282E-2</c:v>
                </c:pt>
                <c:pt idx="153">
                  <c:v>6.3694357800471835E-2</c:v>
                </c:pt>
                <c:pt idx="154">
                  <c:v>6.1195467413492965E-2</c:v>
                </c:pt>
                <c:pt idx="155">
                  <c:v>6.9947613848073895E-2</c:v>
                </c:pt>
                <c:pt idx="156">
                  <c:v>6.9947613848073895E-2</c:v>
                </c:pt>
                <c:pt idx="157">
                  <c:v>6.9947613848073895E-2</c:v>
                </c:pt>
                <c:pt idx="158">
                  <c:v>7.0895742146540208E-2</c:v>
                </c:pt>
                <c:pt idx="159">
                  <c:v>7.2190275222605182E-2</c:v>
                </c:pt>
                <c:pt idx="160">
                  <c:v>7.1767619973308855E-2</c:v>
                </c:pt>
                <c:pt idx="161">
                  <c:v>8.0206905436786685E-2</c:v>
                </c:pt>
                <c:pt idx="162">
                  <c:v>8.8756191797532302E-2</c:v>
                </c:pt>
                <c:pt idx="163">
                  <c:v>8.8756191797532302E-2</c:v>
                </c:pt>
                <c:pt idx="164">
                  <c:v>8.8756191797532302E-2</c:v>
                </c:pt>
                <c:pt idx="165">
                  <c:v>9.4607002499593584E-2</c:v>
                </c:pt>
                <c:pt idx="166">
                  <c:v>9.1535324840259308E-2</c:v>
                </c:pt>
                <c:pt idx="167">
                  <c:v>8.9740812431457193E-2</c:v>
                </c:pt>
                <c:pt idx="168">
                  <c:v>0.10931497467166934</c:v>
                </c:pt>
                <c:pt idx="169">
                  <c:v>0.10975311296281177</c:v>
                </c:pt>
                <c:pt idx="170">
                  <c:v>0.10975311296281177</c:v>
                </c:pt>
                <c:pt idx="171">
                  <c:v>0.10975311296281177</c:v>
                </c:pt>
                <c:pt idx="172">
                  <c:v>0.10950576220576494</c:v>
                </c:pt>
                <c:pt idx="173">
                  <c:v>0.11872209189302808</c:v>
                </c:pt>
                <c:pt idx="174">
                  <c:v>0.11652011330135621</c:v>
                </c:pt>
                <c:pt idx="175">
                  <c:v>0.12446137181859583</c:v>
                </c:pt>
                <c:pt idx="176">
                  <c:v>0.12516776937412161</c:v>
                </c:pt>
                <c:pt idx="177">
                  <c:v>0.12516776937412161</c:v>
                </c:pt>
                <c:pt idx="178">
                  <c:v>0.12516776937412161</c:v>
                </c:pt>
                <c:pt idx="179">
                  <c:v>0.13275147149239516</c:v>
                </c:pt>
                <c:pt idx="180">
                  <c:v>0.13714328620560765</c:v>
                </c:pt>
                <c:pt idx="181">
                  <c:v>0.13683230058428336</c:v>
                </c:pt>
                <c:pt idx="182">
                  <c:v>0.1374049063671893</c:v>
                </c:pt>
                <c:pt idx="183">
                  <c:v>0.14714837952336679</c:v>
                </c:pt>
                <c:pt idx="184">
                  <c:v>0.14714837952336679</c:v>
                </c:pt>
                <c:pt idx="185">
                  <c:v>0.14714837952336679</c:v>
                </c:pt>
                <c:pt idx="186">
                  <c:v>0.14555934293521092</c:v>
                </c:pt>
                <c:pt idx="187">
                  <c:v>0.15200578736422757</c:v>
                </c:pt>
                <c:pt idx="188">
                  <c:v>0.15737005204249813</c:v>
                </c:pt>
                <c:pt idx="189">
                  <c:v>0.14103911987423884</c:v>
                </c:pt>
                <c:pt idx="190">
                  <c:v>0.14783718110931957</c:v>
                </c:pt>
                <c:pt idx="191">
                  <c:v>0.14783718110931957</c:v>
                </c:pt>
                <c:pt idx="192">
                  <c:v>0.14783718110931957</c:v>
                </c:pt>
                <c:pt idx="193">
                  <c:v>0.15378709403137791</c:v>
                </c:pt>
                <c:pt idx="194">
                  <c:v>0.15918383477484624</c:v>
                </c:pt>
                <c:pt idx="195">
                  <c:v>0.16029870532549764</c:v>
                </c:pt>
                <c:pt idx="196">
                  <c:v>0.15404807027721007</c:v>
                </c:pt>
                <c:pt idx="197">
                  <c:v>0.14784251820915714</c:v>
                </c:pt>
                <c:pt idx="198">
                  <c:v>0.14784251820915714</c:v>
                </c:pt>
                <c:pt idx="199">
                  <c:v>0.14784251820915714</c:v>
                </c:pt>
                <c:pt idx="200">
                  <c:v>0.13269687373570677</c:v>
                </c:pt>
                <c:pt idx="201">
                  <c:v>0.14634297647630262</c:v>
                </c:pt>
                <c:pt idx="202">
                  <c:v>0.15301252031752455</c:v>
                </c:pt>
                <c:pt idx="203">
                  <c:v>0.16159989684593681</c:v>
                </c:pt>
                <c:pt idx="204">
                  <c:v>0.17496179056960742</c:v>
                </c:pt>
                <c:pt idx="205">
                  <c:v>0.17496179056960742</c:v>
                </c:pt>
                <c:pt idx="206">
                  <c:v>0.17496179056960742</c:v>
                </c:pt>
                <c:pt idx="207">
                  <c:v>0.16665110703439182</c:v>
                </c:pt>
                <c:pt idx="208">
                  <c:v>0.15304245829057719</c:v>
                </c:pt>
                <c:pt idx="209">
                  <c:v>0.16037149062785502</c:v>
                </c:pt>
                <c:pt idx="210">
                  <c:v>0.16070097163275762</c:v>
                </c:pt>
                <c:pt idx="211">
                  <c:v>0.15357234389595859</c:v>
                </c:pt>
                <c:pt idx="212">
                  <c:v>0.15357234389595859</c:v>
                </c:pt>
                <c:pt idx="213">
                  <c:v>0.15357234389595859</c:v>
                </c:pt>
                <c:pt idx="214">
                  <c:v>0.15592703229528751</c:v>
                </c:pt>
                <c:pt idx="215">
                  <c:v>0.16128361402320038</c:v>
                </c:pt>
                <c:pt idx="216">
                  <c:v>0.16626455197481177</c:v>
                </c:pt>
                <c:pt idx="217">
                  <c:v>0.1731273562700413</c:v>
                </c:pt>
                <c:pt idx="218">
                  <c:v>0.17454801240162326</c:v>
                </c:pt>
                <c:pt idx="219">
                  <c:v>0.17454801240162326</c:v>
                </c:pt>
                <c:pt idx="220">
                  <c:v>0.17454801240162326</c:v>
                </c:pt>
                <c:pt idx="221">
                  <c:v>0.17697391195886694</c:v>
                </c:pt>
                <c:pt idx="222">
                  <c:v>0.17752477703187977</c:v>
                </c:pt>
                <c:pt idx="223">
                  <c:v>0.1740960777402438</c:v>
                </c:pt>
                <c:pt idx="224">
                  <c:v>0.17815821280092578</c:v>
                </c:pt>
                <c:pt idx="225">
                  <c:v>0.17464970336437929</c:v>
                </c:pt>
                <c:pt idx="226">
                  <c:v>0.17464970336437929</c:v>
                </c:pt>
                <c:pt idx="227">
                  <c:v>0.17464970336437929</c:v>
                </c:pt>
                <c:pt idx="228">
                  <c:v>0.17244460869918171</c:v>
                </c:pt>
                <c:pt idx="229">
                  <c:v>0.16964405421639014</c:v>
                </c:pt>
                <c:pt idx="230">
                  <c:v>0.16401132824802361</c:v>
                </c:pt>
                <c:pt idx="231">
                  <c:v>0.16190256439651848</c:v>
                </c:pt>
                <c:pt idx="232">
                  <c:v>0.16882202847837774</c:v>
                </c:pt>
                <c:pt idx="233">
                  <c:v>0.16882202847837774</c:v>
                </c:pt>
                <c:pt idx="234">
                  <c:v>0.16882202847837774</c:v>
                </c:pt>
                <c:pt idx="235">
                  <c:v>0.17911023429628314</c:v>
                </c:pt>
                <c:pt idx="236">
                  <c:v>0.18507037660306053</c:v>
                </c:pt>
                <c:pt idx="237">
                  <c:v>0.18669888655936617</c:v>
                </c:pt>
                <c:pt idx="238">
                  <c:v>0.18015371009856934</c:v>
                </c:pt>
                <c:pt idx="239">
                  <c:v>0.1864320648949287</c:v>
                </c:pt>
                <c:pt idx="240">
                  <c:v>0.1864320648949287</c:v>
                </c:pt>
                <c:pt idx="241">
                  <c:v>0.1864320648949287</c:v>
                </c:pt>
                <c:pt idx="242">
                  <c:v>0.19543801644541658</c:v>
                </c:pt>
                <c:pt idx="243">
                  <c:v>0.19567741209002462</c:v>
                </c:pt>
                <c:pt idx="244">
                  <c:v>0.19699211039266701</c:v>
                </c:pt>
                <c:pt idx="245">
                  <c:v>0.19666082821157232</c:v>
                </c:pt>
                <c:pt idx="246">
                  <c:v>0.19870486807672605</c:v>
                </c:pt>
                <c:pt idx="247">
                  <c:v>0.19870486807672605</c:v>
                </c:pt>
                <c:pt idx="248">
                  <c:v>0.19870486807672605</c:v>
                </c:pt>
                <c:pt idx="249">
                  <c:v>0.20454184117124727</c:v>
                </c:pt>
                <c:pt idx="250">
                  <c:v>0.20672663905010397</c:v>
                </c:pt>
                <c:pt idx="251">
                  <c:v>0.20346274915110513</c:v>
                </c:pt>
                <c:pt idx="252">
                  <c:v>0.1975745650524503</c:v>
                </c:pt>
                <c:pt idx="253">
                  <c:v>0.1919677158419229</c:v>
                </c:pt>
                <c:pt idx="254">
                  <c:v>0.1919677158419229</c:v>
                </c:pt>
                <c:pt idx="255">
                  <c:v>0.1919677158419229</c:v>
                </c:pt>
                <c:pt idx="256">
                  <c:v>0.1900570251178175</c:v>
                </c:pt>
                <c:pt idx="257">
                  <c:v>0.18839434867586363</c:v>
                </c:pt>
                <c:pt idx="258">
                  <c:v>0.19008716690860922</c:v>
                </c:pt>
                <c:pt idx="259">
                  <c:v>0.19433385548190046</c:v>
                </c:pt>
                <c:pt idx="260">
                  <c:v>0.18790754900764256</c:v>
                </c:pt>
                <c:pt idx="261">
                  <c:v>0.18790754900764256</c:v>
                </c:pt>
                <c:pt idx="262">
                  <c:v>0.18790754900764256</c:v>
                </c:pt>
                <c:pt idx="263">
                  <c:v>0.16943162387494937</c:v>
                </c:pt>
                <c:pt idx="264">
                  <c:v>0.17259788347024951</c:v>
                </c:pt>
                <c:pt idx="265">
                  <c:v>0.17975934203252181</c:v>
                </c:pt>
                <c:pt idx="266">
                  <c:v>0.18939151659346479</c:v>
                </c:pt>
                <c:pt idx="267">
                  <c:v>0.19012205399656451</c:v>
                </c:pt>
                <c:pt idx="268">
                  <c:v>0.19012205399656451</c:v>
                </c:pt>
                <c:pt idx="269">
                  <c:v>0.19012205399656451</c:v>
                </c:pt>
                <c:pt idx="270">
                  <c:v>0.18170859037651127</c:v>
                </c:pt>
                <c:pt idx="271">
                  <c:v>0.15411989820263997</c:v>
                </c:pt>
                <c:pt idx="272">
                  <c:v>0.15551728872983148</c:v>
                </c:pt>
                <c:pt idx="273">
                  <c:v>0.15478833305125789</c:v>
                </c:pt>
                <c:pt idx="274">
                  <c:v>0.15905102421110187</c:v>
                </c:pt>
                <c:pt idx="275">
                  <c:v>0.15905102421110187</c:v>
                </c:pt>
                <c:pt idx="276">
                  <c:v>0.15905102421110187</c:v>
                </c:pt>
                <c:pt idx="277">
                  <c:v>0.137323333811631</c:v>
                </c:pt>
                <c:pt idx="278">
                  <c:v>0.14907085208687904</c:v>
                </c:pt>
                <c:pt idx="279">
                  <c:v>0.15481236640689558</c:v>
                </c:pt>
                <c:pt idx="280">
                  <c:v>0.16822966300337086</c:v>
                </c:pt>
                <c:pt idx="281">
                  <c:v>0.16397082858186351</c:v>
                </c:pt>
                <c:pt idx="282">
                  <c:v>0.16397082858186351</c:v>
                </c:pt>
                <c:pt idx="283">
                  <c:v>0.16397082858186351</c:v>
                </c:pt>
                <c:pt idx="284">
                  <c:v>0.16028193443155445</c:v>
                </c:pt>
                <c:pt idx="285">
                  <c:v>0.15934807230372883</c:v>
                </c:pt>
                <c:pt idx="286">
                  <c:v>0.16650478177879194</c:v>
                </c:pt>
                <c:pt idx="287">
                  <c:v>0.18240090895650213</c:v>
                </c:pt>
                <c:pt idx="288">
                  <c:v>0.19212787322598074</c:v>
                </c:pt>
                <c:pt idx="289">
                  <c:v>0.19212787322598074</c:v>
                </c:pt>
                <c:pt idx="290">
                  <c:v>0.19212787322598074</c:v>
                </c:pt>
                <c:pt idx="291">
                  <c:v>0.19806318904907144</c:v>
                </c:pt>
                <c:pt idx="292">
                  <c:v>0.20261976182457572</c:v>
                </c:pt>
                <c:pt idx="293">
                  <c:v>0.20294121175141883</c:v>
                </c:pt>
                <c:pt idx="294">
                  <c:v>0.20721464850379959</c:v>
                </c:pt>
                <c:pt idx="295">
                  <c:v>0.20368391407652808</c:v>
                </c:pt>
                <c:pt idx="296">
                  <c:v>0.20368391407652808</c:v>
                </c:pt>
                <c:pt idx="297">
                  <c:v>0.20368391407652808</c:v>
                </c:pt>
                <c:pt idx="298">
                  <c:v>0.21235771130374317</c:v>
                </c:pt>
                <c:pt idx="299">
                  <c:v>0.21728719284600786</c:v>
                </c:pt>
                <c:pt idx="300">
                  <c:v>0.21490449467801412</c:v>
                </c:pt>
                <c:pt idx="301">
                  <c:v>0.21713878728999703</c:v>
                </c:pt>
                <c:pt idx="302">
                  <c:v>0.22795774140095973</c:v>
                </c:pt>
                <c:pt idx="303">
                  <c:v>0.22795774140095973</c:v>
                </c:pt>
                <c:pt idx="304">
                  <c:v>0.22795774140095973</c:v>
                </c:pt>
                <c:pt idx="305">
                  <c:v>0.23001698372127094</c:v>
                </c:pt>
                <c:pt idx="306">
                  <c:v>0.23343828516020679</c:v>
                </c:pt>
                <c:pt idx="307">
                  <c:v>0.23935233135088693</c:v>
                </c:pt>
                <c:pt idx="308">
                  <c:v>0.25554399637194763</c:v>
                </c:pt>
                <c:pt idx="309">
                  <c:v>0.25541194795677596</c:v>
                </c:pt>
                <c:pt idx="310">
                  <c:v>0.25541194795677596</c:v>
                </c:pt>
                <c:pt idx="311">
                  <c:v>0.25541194795677596</c:v>
                </c:pt>
                <c:pt idx="312">
                  <c:v>0.25391908611086933</c:v>
                </c:pt>
                <c:pt idx="313">
                  <c:v>0.25036633617506893</c:v>
                </c:pt>
                <c:pt idx="314">
                  <c:v>0.24309746858919595</c:v>
                </c:pt>
                <c:pt idx="315">
                  <c:v>0.24917794466258442</c:v>
                </c:pt>
                <c:pt idx="316">
                  <c:v>0.26462585724917148</c:v>
                </c:pt>
                <c:pt idx="317">
                  <c:v>0.26462585724917148</c:v>
                </c:pt>
                <c:pt idx="318">
                  <c:v>0.26462585724917148</c:v>
                </c:pt>
                <c:pt idx="319">
                  <c:v>0.26855481067217551</c:v>
                </c:pt>
                <c:pt idx="320">
                  <c:v>0.28264741556412531</c:v>
                </c:pt>
                <c:pt idx="321">
                  <c:v>0.28455849833097829</c:v>
                </c:pt>
                <c:pt idx="322">
                  <c:v>0.28572524227797119</c:v>
                </c:pt>
                <c:pt idx="323">
                  <c:v>0.29197433138055146</c:v>
                </c:pt>
                <c:pt idx="324">
                  <c:v>0.29197433138055146</c:v>
                </c:pt>
                <c:pt idx="325">
                  <c:v>0.29197433138055146</c:v>
                </c:pt>
                <c:pt idx="326">
                  <c:v>0.2840722101742193</c:v>
                </c:pt>
                <c:pt idx="327">
                  <c:v>0.27252504677574874</c:v>
                </c:pt>
                <c:pt idx="328">
                  <c:v>0.28173224219440413</c:v>
                </c:pt>
                <c:pt idx="329">
                  <c:v>0.28223722749267549</c:v>
                </c:pt>
                <c:pt idx="330">
                  <c:v>0.24415427802645154</c:v>
                </c:pt>
                <c:pt idx="331">
                  <c:v>0.24415427802645154</c:v>
                </c:pt>
                <c:pt idx="332">
                  <c:v>0.24415427802645154</c:v>
                </c:pt>
                <c:pt idx="333">
                  <c:v>0.26342464425171869</c:v>
                </c:pt>
                <c:pt idx="334">
                  <c:v>0.24842686004200545</c:v>
                </c:pt>
                <c:pt idx="335">
                  <c:v>0.23077806484497601</c:v>
                </c:pt>
                <c:pt idx="336">
                  <c:v>0.23717788936999371</c:v>
                </c:pt>
                <c:pt idx="337">
                  <c:v>0.22304858010622269</c:v>
                </c:pt>
                <c:pt idx="338">
                  <c:v>0.22304858010622269</c:v>
                </c:pt>
                <c:pt idx="339">
                  <c:v>0.22304858010622269</c:v>
                </c:pt>
                <c:pt idx="340">
                  <c:v>0.23074222622994056</c:v>
                </c:pt>
                <c:pt idx="341">
                  <c:v>0.26789108392064054</c:v>
                </c:pt>
                <c:pt idx="342">
                  <c:v>0.26810373828651107</c:v>
                </c:pt>
                <c:pt idx="343">
                  <c:v>0.26156202464687195</c:v>
                </c:pt>
                <c:pt idx="344">
                  <c:v>0.26314548534195636</c:v>
                </c:pt>
                <c:pt idx="345">
                  <c:v>0.26314548534195636</c:v>
                </c:pt>
                <c:pt idx="346">
                  <c:v>0.26314548534195636</c:v>
                </c:pt>
                <c:pt idx="347">
                  <c:v>0.25287580001665605</c:v>
                </c:pt>
                <c:pt idx="348">
                  <c:v>0.23753206542240363</c:v>
                </c:pt>
                <c:pt idx="349">
                  <c:v>0.25713767951020272</c:v>
                </c:pt>
                <c:pt idx="350">
                  <c:v>0.23774244376515924</c:v>
                </c:pt>
                <c:pt idx="351">
                  <c:v>0.23357538065462349</c:v>
                </c:pt>
                <c:pt idx="352">
                  <c:v>0.23357538065462349</c:v>
                </c:pt>
                <c:pt idx="353">
                  <c:v>0.23357538065462349</c:v>
                </c:pt>
                <c:pt idx="354">
                  <c:v>0.2139380955559487</c:v>
                </c:pt>
                <c:pt idx="355">
                  <c:v>0.24139098288883587</c:v>
                </c:pt>
                <c:pt idx="356">
                  <c:v>0.24961663191244982</c:v>
                </c:pt>
                <c:pt idx="357">
                  <c:v>0.26079089671959821</c:v>
                </c:pt>
                <c:pt idx="358">
                  <c:v>0.2588838052787632</c:v>
                </c:pt>
                <c:pt idx="359">
                  <c:v>0.2588838052787632</c:v>
                </c:pt>
                <c:pt idx="360">
                  <c:v>0.2588838052787632</c:v>
                </c:pt>
                <c:pt idx="361">
                  <c:v>0.27286040244849291</c:v>
                </c:pt>
                <c:pt idx="362">
                  <c:v>0.27383538356415199</c:v>
                </c:pt>
                <c:pt idx="363">
                  <c:v>0.26686617382368721</c:v>
                </c:pt>
                <c:pt idx="364">
                  <c:v>0.26676674590726845</c:v>
                </c:pt>
                <c:pt idx="365">
                  <c:v>0.25894379809821588</c:v>
                </c:pt>
                <c:pt idx="366">
                  <c:v>0.25894379809821588</c:v>
                </c:pt>
                <c:pt idx="367">
                  <c:v>0.25894379809821588</c:v>
                </c:pt>
                <c:pt idx="368">
                  <c:v>0.2735017276015847</c:v>
                </c:pt>
                <c:pt idx="369">
                  <c:v>0.26194002517006326</c:v>
                </c:pt>
                <c:pt idx="370">
                  <c:v>0.22928104122415477</c:v>
                </c:pt>
                <c:pt idx="371">
                  <c:v>0.22197105462984595</c:v>
                </c:pt>
                <c:pt idx="372">
                  <c:v>0.20828590523037632</c:v>
                </c:pt>
                <c:pt idx="373">
                  <c:v>0.20828590523037632</c:v>
                </c:pt>
                <c:pt idx="374">
                  <c:v>0.20828590523037632</c:v>
                </c:pt>
                <c:pt idx="375">
                  <c:v>0.20619048463312795</c:v>
                </c:pt>
                <c:pt idx="376">
                  <c:v>0.21694053189041809</c:v>
                </c:pt>
                <c:pt idx="377">
                  <c:v>0.220047200905054</c:v>
                </c:pt>
                <c:pt idx="378">
                  <c:v>0.19288840705940502</c:v>
                </c:pt>
                <c:pt idx="379">
                  <c:v>0.19253335929737189</c:v>
                </c:pt>
                <c:pt idx="380">
                  <c:v>0.19253335929737189</c:v>
                </c:pt>
                <c:pt idx="381">
                  <c:v>0.19253335929737189</c:v>
                </c:pt>
                <c:pt idx="382">
                  <c:v>0.19669535217644679</c:v>
                </c:pt>
                <c:pt idx="383">
                  <c:v>0.1796811741498206</c:v>
                </c:pt>
                <c:pt idx="384">
                  <c:v>0.16949398122734863</c:v>
                </c:pt>
                <c:pt idx="385">
                  <c:v>0.16698748119848816</c:v>
                </c:pt>
                <c:pt idx="386">
                  <c:v>0.14010263159758979</c:v>
                </c:pt>
                <c:pt idx="387">
                  <c:v>0.14010263159758979</c:v>
                </c:pt>
                <c:pt idx="388">
                  <c:v>0.14010263159758979</c:v>
                </c:pt>
                <c:pt idx="389">
                  <c:v>0.1353955358273693</c:v>
                </c:pt>
                <c:pt idx="390">
                  <c:v>0.11804668439732822</c:v>
                </c:pt>
                <c:pt idx="391">
                  <c:v>0.11960342402036134</c:v>
                </c:pt>
                <c:pt idx="392">
                  <c:v>0.11831838493730999</c:v>
                </c:pt>
                <c:pt idx="393">
                  <c:v>0.14196291216987206</c:v>
                </c:pt>
                <c:pt idx="394">
                  <c:v>0.14196291216987206</c:v>
                </c:pt>
                <c:pt idx="395">
                  <c:v>0.14196291216987206</c:v>
                </c:pt>
                <c:pt idx="396">
                  <c:v>0.16805040980247582</c:v>
                </c:pt>
                <c:pt idx="397">
                  <c:v>0.17391878514447087</c:v>
                </c:pt>
                <c:pt idx="398">
                  <c:v>0.17742030798904934</c:v>
                </c:pt>
                <c:pt idx="399">
                  <c:v>0.13107561281116462</c:v>
                </c:pt>
                <c:pt idx="400">
                  <c:v>0.14015079890975771</c:v>
                </c:pt>
                <c:pt idx="401">
                  <c:v>0.14015079890975771</c:v>
                </c:pt>
                <c:pt idx="402">
                  <c:v>0.14015079890975771</c:v>
                </c:pt>
                <c:pt idx="403">
                  <c:v>0.13478855796964326</c:v>
                </c:pt>
                <c:pt idx="404">
                  <c:v>0.14216386642940734</c:v>
                </c:pt>
                <c:pt idx="405">
                  <c:v>0.16525615822105749</c:v>
                </c:pt>
                <c:pt idx="406">
                  <c:v>0.14715797261361557</c:v>
                </c:pt>
                <c:pt idx="407">
                  <c:v>0.12755922513411933</c:v>
                </c:pt>
                <c:pt idx="408">
                  <c:v>0.12755922513411933</c:v>
                </c:pt>
                <c:pt idx="409">
                  <c:v>0.12755922513411933</c:v>
                </c:pt>
                <c:pt idx="410">
                  <c:v>0.1290708404160219</c:v>
                </c:pt>
                <c:pt idx="411">
                  <c:v>0.14586821412515022</c:v>
                </c:pt>
                <c:pt idx="412">
                  <c:v>0.14745609545087873</c:v>
                </c:pt>
                <c:pt idx="413">
                  <c:v>0.12379258925423685</c:v>
                </c:pt>
                <c:pt idx="414">
                  <c:v>0.11201729602813387</c:v>
                </c:pt>
                <c:pt idx="415">
                  <c:v>0.11201729602813387</c:v>
                </c:pt>
                <c:pt idx="416">
                  <c:v>0.11201729602813387</c:v>
                </c:pt>
                <c:pt idx="417">
                  <c:v>0.10784668692149196</c:v>
                </c:pt>
                <c:pt idx="418">
                  <c:v>9.6940691492375636E-2</c:v>
                </c:pt>
                <c:pt idx="419">
                  <c:v>8.0036972031166873E-2</c:v>
                </c:pt>
                <c:pt idx="420">
                  <c:v>0.10891903789906536</c:v>
                </c:pt>
                <c:pt idx="421">
                  <c:v>0.11846507659108511</c:v>
                </c:pt>
                <c:pt idx="422">
                  <c:v>0.11846507659108511</c:v>
                </c:pt>
                <c:pt idx="423">
                  <c:v>0.11846507659108511</c:v>
                </c:pt>
                <c:pt idx="424">
                  <c:v>0.12354900849712379</c:v>
                </c:pt>
                <c:pt idx="425">
                  <c:v>0.11773832721121551</c:v>
                </c:pt>
                <c:pt idx="426">
                  <c:v>0.13264133425660746</c:v>
                </c:pt>
                <c:pt idx="427">
                  <c:v>0.11970863821837412</c:v>
                </c:pt>
                <c:pt idx="428" formatCode="0.0%">
                  <c:v>0.1094189271771127</c:v>
                </c:pt>
                <c:pt idx="429" formatCode="0.0%">
                  <c:v>0.1094189271771127</c:v>
                </c:pt>
                <c:pt idx="430" formatCode="0.0%">
                  <c:v>0.1094189271771127</c:v>
                </c:pt>
                <c:pt idx="431" formatCode="0.0%">
                  <c:v>7.488166276152014E-2</c:v>
                </c:pt>
                <c:pt idx="432" formatCode="0.0%">
                  <c:v>6.6956232839071386E-2</c:v>
                </c:pt>
                <c:pt idx="433" formatCode="0.0%">
                  <c:v>8.7859800350911288E-2</c:v>
                </c:pt>
                <c:pt idx="434" formatCode="0.0%">
                  <c:v>8.5804684109084095E-2</c:v>
                </c:pt>
                <c:pt idx="435" formatCode="0.0%">
                  <c:v>7.2150973003681715E-2</c:v>
                </c:pt>
                <c:pt idx="436" formatCode="0.0%">
                  <c:v>7.2150973003681715E-2</c:v>
                </c:pt>
                <c:pt idx="437" formatCode="0.0%">
                  <c:v>7.2150973003681715E-2</c:v>
                </c:pt>
                <c:pt idx="438" formatCode="0.0%">
                  <c:v>5.5094533538779585E-2</c:v>
                </c:pt>
                <c:pt idx="439" formatCode="0.0%">
                  <c:v>7.1226703512947867E-2</c:v>
                </c:pt>
                <c:pt idx="440" formatCode="0.0%">
                  <c:v>0.11096177784165846</c:v>
                </c:pt>
                <c:pt idx="441" formatCode="0.0%">
                  <c:v>0.12245266340320882</c:v>
                </c:pt>
                <c:pt idx="442" formatCode="0.0%">
                  <c:v>0.14646910523748019</c:v>
                </c:pt>
                <c:pt idx="443" formatCode="0.0%">
                  <c:v>0.14646910523748019</c:v>
                </c:pt>
                <c:pt idx="444" formatCode="0.0%">
                  <c:v>0.14646910523748019</c:v>
                </c:pt>
                <c:pt idx="445" formatCode="0.0%">
                  <c:v>0.14225573010205081</c:v>
                </c:pt>
                <c:pt idx="446" formatCode="0.0%">
                  <c:v>0.16193567766250055</c:v>
                </c:pt>
                <c:pt idx="447" formatCode="0.0%">
                  <c:v>0.15518206859227932</c:v>
                </c:pt>
                <c:pt idx="448" formatCode="0.0%">
                  <c:v>0.16665957003303489</c:v>
                </c:pt>
                <c:pt idx="449" formatCode="0.0%">
                  <c:v>0.16561812198552531</c:v>
                </c:pt>
                <c:pt idx="450" formatCode="0.0%">
                  <c:v>0.16561812198552531</c:v>
                </c:pt>
                <c:pt idx="451" formatCode="0.0%">
                  <c:v>0.16561812198552531</c:v>
                </c:pt>
                <c:pt idx="452" formatCode="0.0%">
                  <c:v>0.17710921789439765</c:v>
                </c:pt>
                <c:pt idx="453" formatCode="0.0%">
                  <c:v>0.18639695431809344</c:v>
                </c:pt>
                <c:pt idx="454" formatCode="0.0%">
                  <c:v>0.17427657623765797</c:v>
                </c:pt>
                <c:pt idx="455" formatCode="0.0%">
                  <c:v>0.16178294204548635</c:v>
                </c:pt>
                <c:pt idx="456" formatCode="0.0%">
                  <c:v>0.172223567959427</c:v>
                </c:pt>
                <c:pt idx="457" formatCode="0.0%">
                  <c:v>0.172223567959427</c:v>
                </c:pt>
                <c:pt idx="458" formatCode="0.0%">
                  <c:v>0.172223567959427</c:v>
                </c:pt>
                <c:pt idx="459" formatCode="0.0%">
                  <c:v>0.19617050823302634</c:v>
                </c:pt>
                <c:pt idx="460" formatCode="0.0%">
                  <c:v>0.18574698799319195</c:v>
                </c:pt>
                <c:pt idx="461" formatCode="0.0%">
                  <c:v>0.1610067060481235</c:v>
                </c:pt>
                <c:pt idx="462" formatCode="0.0%">
                  <c:v>0.15985639042884656</c:v>
                </c:pt>
                <c:pt idx="463" formatCode="0.0%">
                  <c:v>0.15563053734278867</c:v>
                </c:pt>
                <c:pt idx="464" formatCode="0.0%">
                  <c:v>0.15563053734278867</c:v>
                </c:pt>
                <c:pt idx="465" formatCode="0.0%">
                  <c:v>0.15563053734278867</c:v>
                </c:pt>
                <c:pt idx="466" formatCode="0.0%">
                  <c:v>0.12990114537684463</c:v>
                </c:pt>
                <c:pt idx="467" formatCode="0.0%">
                  <c:v>0.12692650994677762</c:v>
                </c:pt>
                <c:pt idx="468" formatCode="0.0%">
                  <c:v>0.14490462999486667</c:v>
                </c:pt>
                <c:pt idx="469" formatCode="0.0%">
                  <c:v>0.13774293778887398</c:v>
                </c:pt>
                <c:pt idx="470" formatCode="0.0%">
                  <c:v>0.13630114778665189</c:v>
                </c:pt>
                <c:pt idx="471" formatCode="0.0%">
                  <c:v>0.13630114778665189</c:v>
                </c:pt>
                <c:pt idx="472" formatCode="0.0%">
                  <c:v>0.13630114778665189</c:v>
                </c:pt>
                <c:pt idx="473" formatCode="0.0%">
                  <c:v>0.1319996216747279</c:v>
                </c:pt>
                <c:pt idx="474" formatCode="0.0%">
                  <c:v>0.14436993659781946</c:v>
                </c:pt>
                <c:pt idx="475" formatCode="0.0%">
                  <c:v>0.1311695861982389</c:v>
                </c:pt>
                <c:pt idx="476" formatCode="0.0%">
                  <c:v>0.11679992632290465</c:v>
                </c:pt>
                <c:pt idx="477" formatCode="0.0%">
                  <c:v>9.544385183276588E-2</c:v>
                </c:pt>
                <c:pt idx="478" formatCode="0.0%">
                  <c:v>9.544385183276588E-2</c:v>
                </c:pt>
                <c:pt idx="479" formatCode="0.0%">
                  <c:v>9.544385183276588E-2</c:v>
                </c:pt>
                <c:pt idx="480" formatCode="0.0%">
                  <c:v>0.10148822007455592</c:v>
                </c:pt>
                <c:pt idx="481" formatCode="0.0%">
                  <c:v>7.7172647169503825E-2</c:v>
                </c:pt>
                <c:pt idx="482" formatCode="0.0%">
                  <c:v>8.9062766963646844E-2</c:v>
                </c:pt>
                <c:pt idx="483" formatCode="0.0%">
                  <c:v>0.11568145152485655</c:v>
                </c:pt>
                <c:pt idx="484" formatCode="0.0%">
                  <c:v>8.8367209216154236E-2</c:v>
                </c:pt>
                <c:pt idx="485" formatCode="0.0%">
                  <c:v>8.8367209216154236E-2</c:v>
                </c:pt>
                <c:pt idx="486" formatCode="0.0%">
                  <c:v>8.8367209216154236E-2</c:v>
                </c:pt>
                <c:pt idx="487" formatCode="0.0%">
                  <c:v>9.5087737524126081E-2</c:v>
                </c:pt>
                <c:pt idx="488" formatCode="0.0%">
                  <c:v>9.4060086423598935E-2</c:v>
                </c:pt>
                <c:pt idx="489" formatCode="0.0%">
                  <c:v>0.11211437609602527</c:v>
                </c:pt>
                <c:pt idx="490" formatCode="0.0%">
                  <c:v>7.574389227465872E-2</c:v>
                </c:pt>
                <c:pt idx="491" formatCode="0.0%">
                  <c:v>5.3699618712233388E-2</c:v>
                </c:pt>
                <c:pt idx="492" formatCode="0.0%">
                  <c:v>5.3699618712233388E-2</c:v>
                </c:pt>
                <c:pt idx="493" formatCode="0.0%">
                  <c:v>5.3699618712233388E-2</c:v>
                </c:pt>
                <c:pt idx="494" formatCode="0.0%">
                  <c:v>1.6202272998002202E-2</c:v>
                </c:pt>
                <c:pt idx="495" formatCode="0.0%">
                  <c:v>2.0983739667532291E-2</c:v>
                </c:pt>
                <c:pt idx="496" formatCode="0.0%">
                  <c:v>5.5223720822523605E-3</c:v>
                </c:pt>
                <c:pt idx="497" formatCode="0.0%">
                  <c:v>9.5049722292182542E-3</c:v>
                </c:pt>
                <c:pt idx="498" formatCode="0.0%">
                  <c:v>4.3276678678369082E-2</c:v>
                </c:pt>
                <c:pt idx="499" formatCode="0.0%">
                  <c:v>4.3276678678369082E-2</c:v>
                </c:pt>
                <c:pt idx="500" formatCode="0.0%">
                  <c:v>4.3276678678369082E-2</c:v>
                </c:pt>
                <c:pt idx="501" formatCode="0.0%">
                  <c:v>3.4690149471488636E-2</c:v>
                </c:pt>
                <c:pt idx="502" formatCode="0.0%">
                  <c:v>4.6198828991098395E-2</c:v>
                </c:pt>
                <c:pt idx="503" formatCode="0.0%">
                  <c:v>1.604637117179223E-2</c:v>
                </c:pt>
                <c:pt idx="504" formatCode="0.0%">
                  <c:v>3.806376260598938E-3</c:v>
                </c:pt>
                <c:pt idx="505" formatCode="0.0%">
                  <c:v>8.7839618378116307E-3</c:v>
                </c:pt>
                <c:pt idx="506" formatCode="0.0%">
                  <c:v>8.7839618378116307E-3</c:v>
                </c:pt>
                <c:pt idx="507" formatCode="0.0%">
                  <c:v>8.7839618378116307E-3</c:v>
                </c:pt>
                <c:pt idx="508" formatCode="0.0%">
                  <c:v>1.3951593254410284E-2</c:v>
                </c:pt>
                <c:pt idx="509" formatCode="0.0%">
                  <c:v>-1.1796017463253889E-2</c:v>
                </c:pt>
                <c:pt idx="510" formatCode="0.0%">
                  <c:v>1.7523349075943885E-4</c:v>
                </c:pt>
                <c:pt idx="511" formatCode="0.0%">
                  <c:v>1.5565457623930143E-2</c:v>
                </c:pt>
                <c:pt idx="512" formatCode="0.0%">
                  <c:v>4.601218306642281E-2</c:v>
                </c:pt>
                <c:pt idx="513" formatCode="0.0%">
                  <c:v>4.601218306642281E-2</c:v>
                </c:pt>
                <c:pt idx="514" formatCode="0.0%">
                  <c:v>4.601218306642281E-2</c:v>
                </c:pt>
                <c:pt idx="515" formatCode="0.0%">
                  <c:v>4.8597935177131291E-2</c:v>
                </c:pt>
                <c:pt idx="516" formatCode="0.0%">
                  <c:v>5.0700228788676895E-2</c:v>
                </c:pt>
                <c:pt idx="517" formatCode="0.0%">
                  <c:v>4.6182308384106821E-2</c:v>
                </c:pt>
                <c:pt idx="518" formatCode="0.0%">
                  <c:v>6.2363232076427834E-2</c:v>
                </c:pt>
                <c:pt idx="519" formatCode="0.0%">
                  <c:v>4.4588728915855143E-2</c:v>
                </c:pt>
                <c:pt idx="520" formatCode="0.0%">
                  <c:v>4.4588728915855143E-2</c:v>
                </c:pt>
                <c:pt idx="521" formatCode="0.0%">
                  <c:v>4.4588728915855143E-2</c:v>
                </c:pt>
                <c:pt idx="522" formatCode="0.0%">
                  <c:v>5.1113005479301421E-2</c:v>
                </c:pt>
                <c:pt idx="523" formatCode="0.0%">
                  <c:v>5.523536201842745E-2</c:v>
                </c:pt>
                <c:pt idx="524" formatCode="0.0%">
                  <c:v>4.9972956897984776E-2</c:v>
                </c:pt>
                <c:pt idx="525" formatCode="0.0%">
                  <c:v>3.4117190452563617E-2</c:v>
                </c:pt>
                <c:pt idx="526" formatCode="0.0%">
                  <c:v>1.2386650456580668E-2</c:v>
                </c:pt>
                <c:pt idx="527" formatCode="0.0%">
                  <c:v>1.2386650456580668E-2</c:v>
                </c:pt>
                <c:pt idx="528" formatCode="0.0%">
                  <c:v>1.2386650456580668E-2</c:v>
                </c:pt>
                <c:pt idx="529" formatCode="0.0%">
                  <c:v>-1.9382755837604008E-2</c:v>
                </c:pt>
                <c:pt idx="530" formatCode="0.0%">
                  <c:v>-2.2634461823179776E-2</c:v>
                </c:pt>
                <c:pt idx="531" formatCode="0.0%">
                  <c:v>-6.7424551212783967E-3</c:v>
                </c:pt>
                <c:pt idx="532" formatCode="0.0%">
                  <c:v>-4.255809885727288E-2</c:v>
                </c:pt>
                <c:pt idx="533" formatCode="0.0%">
                  <c:v>-3.4700991092151127E-2</c:v>
                </c:pt>
                <c:pt idx="534" formatCode="0.0%">
                  <c:v>-3.4700991092151127E-2</c:v>
                </c:pt>
                <c:pt idx="535" formatCode="0.0%">
                  <c:v>-3.4700991092151127E-2</c:v>
                </c:pt>
                <c:pt idx="536" formatCode="0.0%">
                  <c:v>-3.9782736329430718E-2</c:v>
                </c:pt>
                <c:pt idx="537" formatCode="0.0%">
                  <c:v>-2.3364988865458541E-2</c:v>
                </c:pt>
                <c:pt idx="538" formatCode="0.0%">
                  <c:v>-3.0210928772179953E-2</c:v>
                </c:pt>
                <c:pt idx="539" formatCode="0.0%">
                  <c:v>-1.3986781918466419E-2</c:v>
                </c:pt>
                <c:pt idx="540" formatCode="0.0%">
                  <c:v>1.5941031057878519E-2</c:v>
                </c:pt>
                <c:pt idx="541" formatCode="0.0%">
                  <c:v>1.5941031057878519E-2</c:v>
                </c:pt>
                <c:pt idx="542" formatCode="0.0%">
                  <c:v>1.5941031057878519E-2</c:v>
                </c:pt>
                <c:pt idx="543" formatCode="0.0%">
                  <c:v>1.1564741797904076E-2</c:v>
                </c:pt>
                <c:pt idx="544" formatCode="0.0%">
                  <c:v>-2.4160580338721616E-3</c:v>
                </c:pt>
                <c:pt idx="545" formatCode="0.0%">
                  <c:v>-1.8850152092485927E-3</c:v>
                </c:pt>
                <c:pt idx="546" formatCode="0.0%">
                  <c:v>-1.2980693787233549E-2</c:v>
                </c:pt>
                <c:pt idx="547" formatCode="0.0%">
                  <c:v>-3.3131457564947197E-3</c:v>
                </c:pt>
                <c:pt idx="548" formatCode="0.0%">
                  <c:v>-3.3131457564947197E-3</c:v>
                </c:pt>
                <c:pt idx="549" formatCode="0.0%">
                  <c:v>-3.3131457564947197E-3</c:v>
                </c:pt>
                <c:pt idx="550" formatCode="0.0%">
                  <c:v>-4.0069163550734291E-3</c:v>
                </c:pt>
                <c:pt idx="551" formatCode="0.0%">
                  <c:v>1.9895228178142332E-2</c:v>
                </c:pt>
                <c:pt idx="552" formatCode="0.0%">
                  <c:v>2.9779561246593433E-2</c:v>
                </c:pt>
                <c:pt idx="553" formatCode="0.0%">
                  <c:v>5.1540605291334314E-2</c:v>
                </c:pt>
                <c:pt idx="554" formatCode="0.0%">
                  <c:v>5.2583746581231737E-2</c:v>
                </c:pt>
                <c:pt idx="555" formatCode="0.0%">
                  <c:v>5.2583746581231737E-2</c:v>
                </c:pt>
                <c:pt idx="556" formatCode="0.0%">
                  <c:v>5.2583746581231737E-2</c:v>
                </c:pt>
                <c:pt idx="557" formatCode="0.0%">
                  <c:v>4.3668437588982839E-2</c:v>
                </c:pt>
                <c:pt idx="558" formatCode="0.0%">
                  <c:v>3.6447336126990561E-2</c:v>
                </c:pt>
                <c:pt idx="559" formatCode="0.0%">
                  <c:v>2.949046608301515E-2</c:v>
                </c:pt>
                <c:pt idx="560" formatCode="0.0%">
                  <c:v>3.6898035543701156E-2</c:v>
                </c:pt>
                <c:pt idx="561" formatCode="0.0%">
                  <c:v>4.5759418502383513E-2</c:v>
                </c:pt>
                <c:pt idx="562" formatCode="0.0%">
                  <c:v>4.5759418502383513E-2</c:v>
                </c:pt>
                <c:pt idx="563" formatCode="0.0%">
                  <c:v>4.5759418502383513E-2</c:v>
                </c:pt>
                <c:pt idx="564" formatCode="0.0%">
                  <c:v>3.5081791158580129E-2</c:v>
                </c:pt>
                <c:pt idx="565" formatCode="0.0%">
                  <c:v>5.3557131327152806E-2</c:v>
                </c:pt>
                <c:pt idx="566" formatCode="0.0%">
                  <c:v>7.0250015333598703E-2</c:v>
                </c:pt>
                <c:pt idx="567" formatCode="0.0%">
                  <c:v>8.6187521528982527E-2</c:v>
                </c:pt>
                <c:pt idx="568" formatCode="0.0%">
                  <c:v>7.2509614611094828E-2</c:v>
                </c:pt>
                <c:pt idx="569" formatCode="0.0%">
                  <c:v>7.2509614611094828E-2</c:v>
                </c:pt>
                <c:pt idx="570" formatCode="0.0%">
                  <c:v>7.2509614611094828E-2</c:v>
                </c:pt>
                <c:pt idx="571" formatCode="0.0%">
                  <c:v>6.8409744081227186E-2</c:v>
                </c:pt>
                <c:pt idx="572" formatCode="0.0%">
                  <c:v>6.1934726279610573E-2</c:v>
                </c:pt>
                <c:pt idx="573" formatCode="0.0%">
                  <c:v>9.0638492018548358E-2</c:v>
                </c:pt>
                <c:pt idx="574" formatCode="0.0%">
                  <c:v>0.1030330373794574</c:v>
                </c:pt>
                <c:pt idx="575" formatCode="0.0%">
                  <c:v>0.11608715634757544</c:v>
                </c:pt>
                <c:pt idx="576" formatCode="0.0%">
                  <c:v>0.11608715634757544</c:v>
                </c:pt>
                <c:pt idx="577" formatCode="0.0%">
                  <c:v>0.11608715634757544</c:v>
                </c:pt>
                <c:pt idx="578" formatCode="0.0%">
                  <c:v>0.10951797394715015</c:v>
                </c:pt>
                <c:pt idx="579" formatCode="0.0%">
                  <c:v>0.1095938746021055</c:v>
                </c:pt>
                <c:pt idx="580" formatCode="0.0%">
                  <c:v>0.13255783835781018</c:v>
                </c:pt>
                <c:pt idx="581" formatCode="0.0%">
                  <c:v>0.13215379132822919</c:v>
                </c:pt>
                <c:pt idx="582" formatCode="0.0%">
                  <c:v>0.13108456612587233</c:v>
                </c:pt>
                <c:pt idx="583" formatCode="0.0%">
                  <c:v>0.13108456612587233</c:v>
                </c:pt>
                <c:pt idx="584" formatCode="0.0%">
                  <c:v>0.13108456612587233</c:v>
                </c:pt>
                <c:pt idx="585" formatCode="0.0%">
                  <c:v>0.12578731280659966</c:v>
                </c:pt>
                <c:pt idx="586" formatCode="0.0%">
                  <c:v>0.11498450629248197</c:v>
                </c:pt>
                <c:pt idx="587" formatCode="0.0%">
                  <c:v>0.12597242390851648</c:v>
                </c:pt>
                <c:pt idx="588" formatCode="0.0%">
                  <c:v>0.12595631983536237</c:v>
                </c:pt>
                <c:pt idx="589" formatCode="0.0%">
                  <c:v>0.1510826948256711</c:v>
                </c:pt>
                <c:pt idx="590" formatCode="0.0%">
                  <c:v>0.1510826948256711</c:v>
                </c:pt>
                <c:pt idx="591" formatCode="0.0%">
                  <c:v>0.1510826948256711</c:v>
                </c:pt>
                <c:pt idx="592" formatCode="0.0%">
                  <c:v>0.16224383391460578</c:v>
                </c:pt>
                <c:pt idx="593" formatCode="0.0%">
                  <c:v>0.16163245410866153</c:v>
                </c:pt>
                <c:pt idx="594" formatCode="0.0%">
                  <c:v>0.15512286210351789</c:v>
                </c:pt>
                <c:pt idx="595" formatCode="0.0%">
                  <c:v>0.15885851546246171</c:v>
                </c:pt>
                <c:pt idx="596" formatCode="0.0%">
                  <c:v>0.14877188662444454</c:v>
                </c:pt>
                <c:pt idx="597" formatCode="0.0%">
                  <c:v>0.14877188662444454</c:v>
                </c:pt>
                <c:pt idx="598" formatCode="0.0%">
                  <c:v>0.14877188662444454</c:v>
                </c:pt>
                <c:pt idx="599" formatCode="0.0%">
                  <c:v>0.13368707291985202</c:v>
                </c:pt>
                <c:pt idx="600" formatCode="0.0%">
                  <c:v>0.12780703232343285</c:v>
                </c:pt>
                <c:pt idx="601" formatCode="0.0%">
                  <c:v>0.12949510622711941</c:v>
                </c:pt>
                <c:pt idx="602" formatCode="0.0%">
                  <c:v>0.14752870527841894</c:v>
                </c:pt>
                <c:pt idx="603" formatCode="0.0%">
                  <c:v>0.11135717927085252</c:v>
                </c:pt>
                <c:pt idx="604" formatCode="0.0%">
                  <c:v>0.11135717927085252</c:v>
                </c:pt>
                <c:pt idx="605" formatCode="0.0%">
                  <c:v>0.11135717927085252</c:v>
                </c:pt>
                <c:pt idx="606" formatCode="0.0%">
                  <c:v>0.10012877672334383</c:v>
                </c:pt>
                <c:pt idx="607" formatCode="0.0%">
                  <c:v>9.1446482572491869E-2</c:v>
                </c:pt>
                <c:pt idx="608" formatCode="0.0%">
                  <c:v>7.8395966018544094E-2</c:v>
                </c:pt>
                <c:pt idx="609" formatCode="0.0%">
                  <c:v>8.0378082161508366E-2</c:v>
                </c:pt>
                <c:pt idx="610" formatCode="0.0%">
                  <c:v>6.6853399899628838E-2</c:v>
                </c:pt>
                <c:pt idx="611" formatCode="0.0%">
                  <c:v>6.6853399899628838E-2</c:v>
                </c:pt>
                <c:pt idx="612" formatCode="0.0%">
                  <c:v>6.6853399899628838E-2</c:v>
                </c:pt>
                <c:pt idx="613" formatCode="0.0%">
                  <c:v>7.4004600342897506E-2</c:v>
                </c:pt>
                <c:pt idx="614" formatCode="0.0%">
                  <c:v>7.086472819297214E-2</c:v>
                </c:pt>
                <c:pt idx="615" formatCode="0.0%">
                  <c:v>7.7884404544524416E-2</c:v>
                </c:pt>
                <c:pt idx="616" formatCode="0.0%">
                  <c:v>8.4819876300647079E-2</c:v>
                </c:pt>
                <c:pt idx="617" formatCode="0.0%">
                  <c:v>9.7401765695464201E-2</c:v>
                </c:pt>
                <c:pt idx="618" formatCode="0.0%">
                  <c:v>9.7401765695464201E-2</c:v>
                </c:pt>
                <c:pt idx="619" formatCode="0.0%">
                  <c:v>9.7401765695464201E-2</c:v>
                </c:pt>
                <c:pt idx="620" formatCode="0.0%">
                  <c:v>0.10299061653284554</c:v>
                </c:pt>
                <c:pt idx="621" formatCode="0.0%">
                  <c:v>7.2835696319232715E-2</c:v>
                </c:pt>
                <c:pt idx="622" formatCode="0.0%">
                  <c:v>7.3430379590206762E-2</c:v>
                </c:pt>
                <c:pt idx="623" formatCode="0.0%">
                  <c:v>5.9562302503082518E-2</c:v>
                </c:pt>
                <c:pt idx="624" formatCode="0.0%">
                  <c:v>4.3609270154131255E-2</c:v>
                </c:pt>
                <c:pt idx="625" formatCode="0.0%">
                  <c:v>4.3609270154131255E-2</c:v>
                </c:pt>
                <c:pt idx="626" formatCode="0.0%">
                  <c:v>4.3609270154131255E-2</c:v>
                </c:pt>
                <c:pt idx="627" formatCode="0.0%">
                  <c:v>4.9285340112068067E-2</c:v>
                </c:pt>
                <c:pt idx="628" formatCode="0.0%">
                  <c:v>4.3629736174083431E-2</c:v>
                </c:pt>
                <c:pt idx="629" formatCode="0.0%">
                  <c:v>3.9532827294142404E-2</c:v>
                </c:pt>
                <c:pt idx="630" formatCode="0.0%">
                  <c:v>3.0862011223207021E-2</c:v>
                </c:pt>
                <c:pt idx="631" formatCode="0.0%">
                  <c:v>2.2991067395398801E-2</c:v>
                </c:pt>
                <c:pt idx="632" formatCode="0.0%">
                  <c:v>2.2991067395398801E-2</c:v>
                </c:pt>
                <c:pt idx="633" formatCode="0.0%">
                  <c:v>2.2991067395398801E-2</c:v>
                </c:pt>
                <c:pt idx="634" formatCode="0.0%">
                  <c:v>1.9885821768052238E-2</c:v>
                </c:pt>
                <c:pt idx="635" formatCode="0.0%">
                  <c:v>2.452697822556189E-2</c:v>
                </c:pt>
                <c:pt idx="636" formatCode="0.0%">
                  <c:v>3.5488891520020049E-2</c:v>
                </c:pt>
                <c:pt idx="637" formatCode="0.0%">
                  <c:v>3.6411238450236283E-3</c:v>
                </c:pt>
                <c:pt idx="638" formatCode="0.0%">
                  <c:v>-9.3038855859929014E-3</c:v>
                </c:pt>
                <c:pt idx="639" formatCode="0.0%">
                  <c:v>-9.3038855859929014E-3</c:v>
                </c:pt>
                <c:pt idx="640" formatCode="0.0%">
                  <c:v>-9.3038855859929014E-3</c:v>
                </c:pt>
                <c:pt idx="641" formatCode="0.0%">
                  <c:v>5.2346740846374471E-3</c:v>
                </c:pt>
                <c:pt idx="642" formatCode="0.0%">
                  <c:v>2.5511230545692598E-2</c:v>
                </c:pt>
                <c:pt idx="643" formatCode="0.0%">
                  <c:v>3.5305104646359095E-2</c:v>
                </c:pt>
                <c:pt idx="644" formatCode="0.0%">
                  <c:v>3.2335804194534322E-2</c:v>
                </c:pt>
                <c:pt idx="645" formatCode="0.0%">
                  <c:v>6.7444475091966187E-3</c:v>
                </c:pt>
                <c:pt idx="646" formatCode="0.0%">
                  <c:v>6.7444475091966187E-3</c:v>
                </c:pt>
                <c:pt idx="647" formatCode="0.0%">
                  <c:v>6.7444475091966187E-3</c:v>
                </c:pt>
                <c:pt idx="648" formatCode="0.0%">
                  <c:v>3.0788561839605677E-3</c:v>
                </c:pt>
                <c:pt idx="649" formatCode="0.0%">
                  <c:v>-1.1884003181565532E-2</c:v>
                </c:pt>
                <c:pt idx="650" formatCode="0.0%">
                  <c:v>-1.2582226378971767E-2</c:v>
                </c:pt>
                <c:pt idx="651" formatCode="0.0%">
                  <c:v>-3.5935957934452745E-3</c:v>
                </c:pt>
                <c:pt idx="652" formatCode="0.0%">
                  <c:v>-2.2277244900733139E-2</c:v>
                </c:pt>
                <c:pt idx="653" formatCode="0.0%">
                  <c:v>-2.2277244900733139E-2</c:v>
                </c:pt>
                <c:pt idx="654" formatCode="0.0%">
                  <c:v>-2.2277244900733139E-2</c:v>
                </c:pt>
                <c:pt idx="655" formatCode="0.0%">
                  <c:v>-3.7317035380036146E-3</c:v>
                </c:pt>
                <c:pt idx="656" formatCode="0.0%">
                  <c:v>4.9422648384376093E-3</c:v>
                </c:pt>
                <c:pt idx="657" formatCode="0.0%">
                  <c:v>1.3521938250953269E-3</c:v>
                </c:pt>
                <c:pt idx="658" formatCode="0.0%">
                  <c:v>-7.6810057162417424E-3</c:v>
                </c:pt>
                <c:pt idx="659" formatCode="0.0%">
                  <c:v>8.5077502211285613E-3</c:v>
                </c:pt>
                <c:pt idx="660" formatCode="0.0%">
                  <c:v>8.5077502211285613E-3</c:v>
                </c:pt>
                <c:pt idx="661" formatCode="0.0%">
                  <c:v>8.5077502211285613E-3</c:v>
                </c:pt>
                <c:pt idx="662" formatCode="0.0%">
                  <c:v>6.677520355041793E-3</c:v>
                </c:pt>
                <c:pt idx="663" formatCode="0.0%">
                  <c:v>2.0255875315032198E-2</c:v>
                </c:pt>
                <c:pt idx="664" formatCode="0.0%">
                  <c:v>3.3863090743295743E-3</c:v>
                </c:pt>
                <c:pt idx="665" formatCode="0.0%">
                  <c:v>-9.741774826071037E-4</c:v>
                </c:pt>
                <c:pt idx="666" formatCode="0.0%">
                  <c:v>1.6660912861337068E-2</c:v>
                </c:pt>
                <c:pt idx="667" formatCode="0.0%">
                  <c:v>1.6660912861337068E-2</c:v>
                </c:pt>
                <c:pt idx="668" formatCode="0.0%">
                  <c:v>1.6660912861337068E-2</c:v>
                </c:pt>
                <c:pt idx="669" formatCode="0.0%">
                  <c:v>1.7999369823975826E-2</c:v>
                </c:pt>
                <c:pt idx="670" formatCode="0.0%">
                  <c:v>1.7016385211046269E-2</c:v>
                </c:pt>
                <c:pt idx="671" formatCode="0.0%">
                  <c:v>-4.3655142534171883E-3</c:v>
                </c:pt>
                <c:pt idx="672" formatCode="0.0%">
                  <c:v>-1.163926092081482E-2</c:v>
                </c:pt>
                <c:pt idx="673" formatCode="0.0%">
                  <c:v>-8.7168669743053328E-3</c:v>
                </c:pt>
                <c:pt idx="674" formatCode="0.0%">
                  <c:v>-8.7168669743053328E-3</c:v>
                </c:pt>
                <c:pt idx="675" formatCode="0.0%">
                  <c:v>-8.7168669743053328E-3</c:v>
                </c:pt>
                <c:pt idx="676" formatCode="0.0%">
                  <c:v>-7.9305394961917842E-3</c:v>
                </c:pt>
                <c:pt idx="677" formatCode="0.0%">
                  <c:v>-5.5417140664269478E-3</c:v>
                </c:pt>
                <c:pt idx="678" formatCode="0.0%">
                  <c:v>-1.9860983852446168E-2</c:v>
                </c:pt>
                <c:pt idx="679" formatCode="0.0%">
                  <c:v>2.0865325742503559E-2</c:v>
                </c:pt>
                <c:pt idx="680" formatCode="0.0%">
                  <c:v>3.2549662784405339E-2</c:v>
                </c:pt>
                <c:pt idx="681" formatCode="0.0%">
                  <c:v>3.2549662784405339E-2</c:v>
                </c:pt>
                <c:pt idx="682" formatCode="0.0%">
                  <c:v>3.2549662784405339E-2</c:v>
                </c:pt>
                <c:pt idx="683" formatCode="0.0%">
                  <c:v>2.3892126319741323E-2</c:v>
                </c:pt>
                <c:pt idx="684" formatCode="0.0%">
                  <c:v>3.5070469129516654E-2</c:v>
                </c:pt>
                <c:pt idx="685" formatCode="0.0%">
                  <c:v>2.1421361730262305E-2</c:v>
                </c:pt>
                <c:pt idx="686" formatCode="0.0%">
                  <c:v>2.0311060445809374E-2</c:v>
                </c:pt>
                <c:pt idx="687" formatCode="0.0%">
                  <c:v>2.0085163673756058E-2</c:v>
                </c:pt>
                <c:pt idx="688" formatCode="0.0%">
                  <c:v>2.0085163673756058E-2</c:v>
                </c:pt>
                <c:pt idx="689" formatCode="0.0%">
                  <c:v>2.0085163673756058E-2</c:v>
                </c:pt>
                <c:pt idx="690" formatCode="0.0%">
                  <c:v>2.0400266434009069E-2</c:v>
                </c:pt>
                <c:pt idx="691" formatCode="0.0%">
                  <c:v>2.6646847538195999E-2</c:v>
                </c:pt>
                <c:pt idx="692" formatCode="0.0%">
                  <c:v>2.9074085083199464E-2</c:v>
                </c:pt>
                <c:pt idx="693" formatCode="0.0%">
                  <c:v>3.0373981295046093E-2</c:v>
                </c:pt>
                <c:pt idx="694" formatCode="0.0%">
                  <c:v>2.6084630342364079E-2</c:v>
                </c:pt>
                <c:pt idx="695" formatCode="0.0%">
                  <c:v>2.6084630342364079E-2</c:v>
                </c:pt>
                <c:pt idx="696" formatCode="0.0%">
                  <c:v>2.6084630342364079E-2</c:v>
                </c:pt>
                <c:pt idx="697" formatCode="0.0%">
                  <c:v>1.3918979614813339E-2</c:v>
                </c:pt>
                <c:pt idx="698" formatCode="0.0%">
                  <c:v>1.4437780645491784E-2</c:v>
                </c:pt>
                <c:pt idx="699" formatCode="0.0%">
                  <c:v>5.1200973709865566E-2</c:v>
                </c:pt>
                <c:pt idx="700" formatCode="0.0%">
                  <c:v>4.2820982462258572E-2</c:v>
                </c:pt>
                <c:pt idx="701" formatCode="0.0%">
                  <c:v>4.099676296398911E-2</c:v>
                </c:pt>
                <c:pt idx="702" formatCode="0.0%">
                  <c:v>4.099676296398911E-2</c:v>
                </c:pt>
                <c:pt idx="703" formatCode="0.0%">
                  <c:v>4.099676296398911E-2</c:v>
                </c:pt>
                <c:pt idx="704" formatCode="0.0%">
                  <c:v>2.3293199355398145E-2</c:v>
                </c:pt>
                <c:pt idx="705" formatCode="0.0%">
                  <c:v>9.766796146744668E-3</c:v>
                </c:pt>
                <c:pt idx="706" formatCode="0.0%">
                  <c:v>3.676187849660124E-3</c:v>
                </c:pt>
                <c:pt idx="707" formatCode="0.0%">
                  <c:v>8.5952300306448137E-3</c:v>
                </c:pt>
                <c:pt idx="708" formatCode="0.0%">
                  <c:v>7.8297259075192464E-3</c:v>
                </c:pt>
                <c:pt idx="709" formatCode="0.0%">
                  <c:v>7.8297259075192464E-3</c:v>
                </c:pt>
                <c:pt idx="710" formatCode="0.0%">
                  <c:v>7.8297259075192464E-3</c:v>
                </c:pt>
                <c:pt idx="711" formatCode="0.0%">
                  <c:v>1.4468813054915729E-2</c:v>
                </c:pt>
                <c:pt idx="712" formatCode="0.0%">
                  <c:v>1.6550604805895829E-2</c:v>
                </c:pt>
                <c:pt idx="713" formatCode="0.0%">
                  <c:v>1.3348721598042346E-2</c:v>
                </c:pt>
                <c:pt idx="714" formatCode="0.0%">
                  <c:v>-1.6117396391078388E-2</c:v>
                </c:pt>
                <c:pt idx="715" formatCode="0.0%">
                  <c:v>-2.4739539426436748E-2</c:v>
                </c:pt>
                <c:pt idx="716" formatCode="0.0%">
                  <c:v>-2.4739539426436748E-2</c:v>
                </c:pt>
                <c:pt idx="717" formatCode="0.0%">
                  <c:v>-2.4739539426436748E-2</c:v>
                </c:pt>
                <c:pt idx="718" formatCode="0.0%">
                  <c:v>-3.1824753902407965E-2</c:v>
                </c:pt>
                <c:pt idx="719" formatCode="0.0%">
                  <c:v>-3.7329131648733097E-2</c:v>
                </c:pt>
                <c:pt idx="720" formatCode="0.0%">
                  <c:v>-2.351826470762532E-2</c:v>
                </c:pt>
                <c:pt idx="721" formatCode="0.0%">
                  <c:v>-3.5049110595907394E-2</c:v>
                </c:pt>
                <c:pt idx="722" formatCode="0.0%">
                  <c:v>-3.61910933756414E-2</c:v>
                </c:pt>
                <c:pt idx="723" formatCode="0.0%">
                  <c:v>-3.61910933756414E-2</c:v>
                </c:pt>
                <c:pt idx="724" formatCode="0.0%">
                  <c:v>-3.61910933756414E-2</c:v>
                </c:pt>
                <c:pt idx="725" formatCode="0.0%">
                  <c:v>-3.5810093322711081E-2</c:v>
                </c:pt>
                <c:pt idx="726" formatCode="0.0%">
                  <c:v>-4.3966756890480241E-2</c:v>
                </c:pt>
                <c:pt idx="727" formatCode="0.0%">
                  <c:v>-5.0236007553188383E-2</c:v>
                </c:pt>
                <c:pt idx="728" formatCode="0.0%">
                  <c:v>-3.8269901498579915E-2</c:v>
                </c:pt>
                <c:pt idx="729" formatCode="0.0%">
                  <c:v>-4.2455690052349129E-2</c:v>
                </c:pt>
                <c:pt idx="730" formatCode="0.0%">
                  <c:v>-4.2455690052349129E-2</c:v>
                </c:pt>
                <c:pt idx="731" formatCode="0.0%">
                  <c:v>-4.2455690052349129E-2</c:v>
                </c:pt>
                <c:pt idx="732" formatCode="0.0%">
                  <c:v>-4.1169713696070434E-2</c:v>
                </c:pt>
                <c:pt idx="733" formatCode="0.0%">
                  <c:v>-3.2710390281387731E-2</c:v>
                </c:pt>
                <c:pt idx="734" formatCode="0.0%">
                  <c:v>-2.8485987380686594E-2</c:v>
                </c:pt>
                <c:pt idx="735" formatCode="0.0%">
                  <c:v>-3.2040991546857071E-2</c:v>
                </c:pt>
                <c:pt idx="736" formatCode="0.0%">
                  <c:v>-2.1247325542557434E-2</c:v>
                </c:pt>
                <c:pt idx="737" formatCode="0.0%">
                  <c:v>-2.1247325542557434E-2</c:v>
                </c:pt>
                <c:pt idx="738" formatCode="0.0%">
                  <c:v>-2.1247325542557434E-2</c:v>
                </c:pt>
                <c:pt idx="739" formatCode="0.0%">
                  <c:v>-2.186320033812322E-2</c:v>
                </c:pt>
                <c:pt idx="740" formatCode="0.0%">
                  <c:v>-1.605728776936928E-2</c:v>
                </c:pt>
                <c:pt idx="741" formatCode="0.0%">
                  <c:v>-4.5747434719658033E-3</c:v>
                </c:pt>
                <c:pt idx="742" formatCode="0.0%">
                  <c:v>-3.0529426380017811E-3</c:v>
                </c:pt>
                <c:pt idx="743" formatCode="0.0%">
                  <c:v>3.5757084232092497E-3</c:v>
                </c:pt>
                <c:pt idx="744" formatCode="0.0%">
                  <c:v>3.5757084232092497E-3</c:v>
                </c:pt>
                <c:pt idx="745" formatCode="0.0%">
                  <c:v>3.5757084232092497E-3</c:v>
                </c:pt>
                <c:pt idx="746" formatCode="0.0%">
                  <c:v>4.2158817125567795E-3</c:v>
                </c:pt>
                <c:pt idx="747" formatCode="0.0%">
                  <c:v>8.7536630486602009E-3</c:v>
                </c:pt>
                <c:pt idx="748" formatCode="0.0%">
                  <c:v>1.4379300505889603E-3</c:v>
                </c:pt>
                <c:pt idx="749" formatCode="0.0%">
                  <c:v>-4.4750965570420935E-3</c:v>
                </c:pt>
                <c:pt idx="750" formatCode="0.0%">
                  <c:v>9.4384024512908123E-3</c:v>
                </c:pt>
                <c:pt idx="751" formatCode="0.0%">
                  <c:v>9.4384024512908123E-3</c:v>
                </c:pt>
                <c:pt idx="752" formatCode="0.0%">
                  <c:v>9.4384024512908123E-3</c:v>
                </c:pt>
                <c:pt idx="753" formatCode="0.0%">
                  <c:v>1.9595471400287466E-2</c:v>
                </c:pt>
                <c:pt idx="754" formatCode="0.0%">
                  <c:v>1.7738747658679017E-2</c:v>
                </c:pt>
                <c:pt idx="755" formatCode="0.0%">
                  <c:v>1.4361625151418877E-2</c:v>
                </c:pt>
                <c:pt idx="756" formatCode="0.0%">
                  <c:v>3.012373630550556E-2</c:v>
                </c:pt>
                <c:pt idx="757" formatCode="0.0%">
                  <c:v>3.7774692942798255E-2</c:v>
                </c:pt>
                <c:pt idx="758" formatCode="0.0%">
                  <c:v>3.7774692942798255E-2</c:v>
                </c:pt>
                <c:pt idx="759" formatCode="0.0%">
                  <c:v>3.7774692942798255E-2</c:v>
                </c:pt>
                <c:pt idx="760" formatCode="0.0%">
                  <c:v>2.27499405049943E-2</c:v>
                </c:pt>
                <c:pt idx="761" formatCode="0.0%">
                  <c:v>3.1253889334756056E-2</c:v>
                </c:pt>
                <c:pt idx="762" formatCode="0.0%">
                  <c:v>3.9329108569849891E-2</c:v>
                </c:pt>
                <c:pt idx="763" formatCode="0.0%">
                  <c:v>6.0965742678579744E-2</c:v>
                </c:pt>
                <c:pt idx="764" formatCode="0.0%">
                  <c:v>5.8948945592971425E-2</c:v>
                </c:pt>
                <c:pt idx="765" formatCode="0.0%">
                  <c:v>5.8948945592971425E-2</c:v>
                </c:pt>
                <c:pt idx="766" formatCode="0.0%">
                  <c:v>5.8948945592971425E-2</c:v>
                </c:pt>
                <c:pt idx="767" formatCode="0.0%">
                  <c:v>5.692961877803171E-2</c:v>
                </c:pt>
                <c:pt idx="768" formatCode="0.0%">
                  <c:v>7.1926293411796391E-2</c:v>
                </c:pt>
                <c:pt idx="769" formatCode="0.0%">
                  <c:v>6.0711261349175205E-2</c:v>
                </c:pt>
                <c:pt idx="770" formatCode="0.0%">
                  <c:v>5.3661338733507903E-2</c:v>
                </c:pt>
                <c:pt idx="771" formatCode="0.0%">
                  <c:v>5.3865200099320699E-2</c:v>
                </c:pt>
                <c:pt idx="772" formatCode="0.0%">
                  <c:v>5.3865200099320699E-2</c:v>
                </c:pt>
                <c:pt idx="773" formatCode="0.0%">
                  <c:v>5.3865200099320699E-2</c:v>
                </c:pt>
                <c:pt idx="774" formatCode="0.0%">
                  <c:v>6.1329632505233746E-2</c:v>
                </c:pt>
                <c:pt idx="775" formatCode="0.0%">
                  <c:v>6.5056021354077564E-2</c:v>
                </c:pt>
                <c:pt idx="776" formatCode="0.0%">
                  <c:v>7.1289032563625773E-2</c:v>
                </c:pt>
                <c:pt idx="777" formatCode="0.0%">
                  <c:v>6.0149237486673002E-2</c:v>
                </c:pt>
                <c:pt idx="778" formatCode="0.0%">
                  <c:v>5.2456900307459475E-2</c:v>
                </c:pt>
                <c:pt idx="779" formatCode="0.0%">
                  <c:v>5.2456900307459475E-2</c:v>
                </c:pt>
                <c:pt idx="780" formatCode="0.0%">
                  <c:v>5.2456900307459475E-2</c:v>
                </c:pt>
                <c:pt idx="781" formatCode="0.0%">
                  <c:v>5.1302410060086456E-2</c:v>
                </c:pt>
                <c:pt idx="782" formatCode="0.0%">
                  <c:v>3.2935827593264119E-2</c:v>
                </c:pt>
                <c:pt idx="783" formatCode="0.0%">
                  <c:v>3.5184981948005858E-2</c:v>
                </c:pt>
                <c:pt idx="784" formatCode="0.0%">
                  <c:v>4.2504856823263992E-2</c:v>
                </c:pt>
                <c:pt idx="785" formatCode="0.0%">
                  <c:v>3.1850429726231366E-2</c:v>
                </c:pt>
                <c:pt idx="786" formatCode="0.0%">
                  <c:v>3.1850429726231366E-2</c:v>
                </c:pt>
                <c:pt idx="787" formatCode="0.0%">
                  <c:v>3.1850429726231366E-2</c:v>
                </c:pt>
                <c:pt idx="788" formatCode="0.0%">
                  <c:v>3.2414423854342685E-2</c:v>
                </c:pt>
                <c:pt idx="789" formatCode="0.0%">
                  <c:v>2.9839516000847083E-2</c:v>
                </c:pt>
                <c:pt idx="790" formatCode="0.0%">
                  <c:v>2.1736174923079544E-2</c:v>
                </c:pt>
                <c:pt idx="791" formatCode="0.0%">
                  <c:v>3.2843352014246395E-2</c:v>
                </c:pt>
                <c:pt idx="792" formatCode="0.0%">
                  <c:v>5.0927109303170258E-2</c:v>
                </c:pt>
                <c:pt idx="793" formatCode="0.0%">
                  <c:v>5.0927109303170258E-2</c:v>
                </c:pt>
                <c:pt idx="794" formatCode="0.0%">
                  <c:v>5.0927109303170258E-2</c:v>
                </c:pt>
                <c:pt idx="795" formatCode="0.0%">
                  <c:v>4.680294147421165E-2</c:v>
                </c:pt>
                <c:pt idx="796" formatCode="0.0%">
                  <c:v>4.2927518519755098E-2</c:v>
                </c:pt>
                <c:pt idx="797" formatCode="0.0%">
                  <c:v>4.6049133584982797E-2</c:v>
                </c:pt>
                <c:pt idx="798" formatCode="0.0%">
                  <c:v>3.3868232532390435E-2</c:v>
                </c:pt>
                <c:pt idx="799" formatCode="0.0%">
                  <c:v>8.9145667207897357E-3</c:v>
                </c:pt>
                <c:pt idx="800" formatCode="0.0%">
                  <c:v>8.9145667207897357E-3</c:v>
                </c:pt>
                <c:pt idx="801" formatCode="0.0%">
                  <c:v>8.9145667207897357E-3</c:v>
                </c:pt>
                <c:pt idx="802" formatCode="0.0%">
                  <c:v>7.478569200179805E-3</c:v>
                </c:pt>
                <c:pt idx="803" formatCode="0.0%">
                  <c:v>2.0902200933981874E-2</c:v>
                </c:pt>
                <c:pt idx="804" formatCode="0.0%">
                  <c:v>3.2657306728806075E-2</c:v>
                </c:pt>
                <c:pt idx="805" formatCode="0.0%">
                  <c:v>4.3958036066001682E-2</c:v>
                </c:pt>
                <c:pt idx="806" formatCode="0.0%">
                  <c:v>3.8417976558818338E-2</c:v>
                </c:pt>
                <c:pt idx="807" formatCode="0.0%">
                  <c:v>3.8417976558818338E-2</c:v>
                </c:pt>
                <c:pt idx="808" formatCode="0.0%">
                  <c:v>3.8417976558818338E-2</c:v>
                </c:pt>
                <c:pt idx="809" formatCode="0.0%">
                  <c:v>3.4184413703737281E-2</c:v>
                </c:pt>
                <c:pt idx="810" formatCode="0.0%">
                  <c:v>4.3716089949810313E-2</c:v>
                </c:pt>
                <c:pt idx="811" formatCode="0.0%">
                  <c:v>3.591112378828825E-2</c:v>
                </c:pt>
                <c:pt idx="812" formatCode="0.0%">
                  <c:v>3.8021021912804119E-2</c:v>
                </c:pt>
                <c:pt idx="813" formatCode="0.0%">
                  <c:v>4.8365260677368127E-2</c:v>
                </c:pt>
                <c:pt idx="814" formatCode="0.0%">
                  <c:v>4.8365260677368127E-2</c:v>
                </c:pt>
                <c:pt idx="815" formatCode="0.0%">
                  <c:v>4.8365260677368127E-2</c:v>
                </c:pt>
                <c:pt idx="816" formatCode="0.0%">
                  <c:v>4.4401243496908049E-2</c:v>
                </c:pt>
                <c:pt idx="817" formatCode="0.0%">
                  <c:v>3.8064765339831441E-2</c:v>
                </c:pt>
                <c:pt idx="818" formatCode="0.0%">
                  <c:v>5.2242710830453516E-2</c:v>
                </c:pt>
                <c:pt idx="819" formatCode="0.0%">
                  <c:v>5.3570586820202805E-2</c:v>
                </c:pt>
                <c:pt idx="820" formatCode="0.0%">
                  <c:v>7.2114372446050512E-2</c:v>
                </c:pt>
                <c:pt idx="821" formatCode="0.0%">
                  <c:v>7.2114372446050512E-2</c:v>
                </c:pt>
                <c:pt idx="822" formatCode="0.0%">
                  <c:v>7.2114372446050512E-2</c:v>
                </c:pt>
                <c:pt idx="823" formatCode="0.0%">
                  <c:v>7.0724861807206024E-2</c:v>
                </c:pt>
                <c:pt idx="824" formatCode="0.0%">
                  <c:v>6.2100602074676346E-2</c:v>
                </c:pt>
                <c:pt idx="825" formatCode="0.0%">
                  <c:v>5.8864915215882406E-2</c:v>
                </c:pt>
                <c:pt idx="826" formatCode="0.0%">
                  <c:v>6.0924090983882594E-2</c:v>
                </c:pt>
                <c:pt idx="827" formatCode="0.0%">
                  <c:v>6.1314742089980424E-2</c:v>
                </c:pt>
                <c:pt idx="828" formatCode="0.0%">
                  <c:v>6.1314742089980424E-2</c:v>
                </c:pt>
                <c:pt idx="829" formatCode="0.0%">
                  <c:v>6.1314742089980424E-2</c:v>
                </c:pt>
                <c:pt idx="830" formatCode="0.0%">
                  <c:v>6.6719430365803453E-2</c:v>
                </c:pt>
                <c:pt idx="831" formatCode="0.0%">
                  <c:v>6.0568181976037749E-2</c:v>
                </c:pt>
                <c:pt idx="832" formatCode="0.0%">
                  <c:v>5.1756717514231949E-2</c:v>
                </c:pt>
                <c:pt idx="833" formatCode="0.0%">
                  <c:v>6.2248550189115688E-2</c:v>
                </c:pt>
                <c:pt idx="834" formatCode="0.0%">
                  <c:v>6.4807481183031257E-2</c:v>
                </c:pt>
                <c:pt idx="835" formatCode="0.0%">
                  <c:v>6.4807481183031257E-2</c:v>
                </c:pt>
                <c:pt idx="836" formatCode="0.0%">
                  <c:v>6.4807481183031257E-2</c:v>
                </c:pt>
                <c:pt idx="837" formatCode="0.0%">
                  <c:v>7.3808594250757975E-2</c:v>
                </c:pt>
                <c:pt idx="838" formatCode="0.0%">
                  <c:v>7.1691472842045703E-2</c:v>
                </c:pt>
                <c:pt idx="839" formatCode="0.0%">
                  <c:v>6.9503905472507052E-2</c:v>
                </c:pt>
                <c:pt idx="840" formatCode="0.0%">
                  <c:v>6.4556284831195118E-2</c:v>
                </c:pt>
                <c:pt idx="841" formatCode="0.0%">
                  <c:v>6.5507612604705376E-2</c:v>
                </c:pt>
                <c:pt idx="842" formatCode="0.0%">
                  <c:v>6.5507612604705376E-2</c:v>
                </c:pt>
                <c:pt idx="843" formatCode="0.0%">
                  <c:v>6.5507612604705376E-2</c:v>
                </c:pt>
                <c:pt idx="844" formatCode="0.0%">
                  <c:v>6.0077756350071211E-2</c:v>
                </c:pt>
                <c:pt idx="845" formatCode="0.0%">
                  <c:v>4.8435591103716431E-2</c:v>
                </c:pt>
                <c:pt idx="846" formatCode="0.0%">
                  <c:v>4.3294902270631895E-2</c:v>
                </c:pt>
                <c:pt idx="847" formatCode="0.0%">
                  <c:v>6.3351798535270232E-2</c:v>
                </c:pt>
                <c:pt idx="848" formatCode="0.0%">
                  <c:v>6.7741740926613836E-2</c:v>
                </c:pt>
                <c:pt idx="849" formatCode="0.0%">
                  <c:v>6.7741740926613836E-2</c:v>
                </c:pt>
                <c:pt idx="850" formatCode="0.0%">
                  <c:v>6.7741740926613836E-2</c:v>
                </c:pt>
                <c:pt idx="851" formatCode="0.0%">
                  <c:v>7.2521375378697572E-2</c:v>
                </c:pt>
                <c:pt idx="852" formatCode="0.0%">
                  <c:v>6.5012330246106267E-2</c:v>
                </c:pt>
                <c:pt idx="853" formatCode="0.0%">
                  <c:v>5.6378164580091837E-2</c:v>
                </c:pt>
                <c:pt idx="854" formatCode="0.0%">
                  <c:v>5.7272305339203626E-2</c:v>
                </c:pt>
                <c:pt idx="855" formatCode="0.0%">
                  <c:v>7.2352735324855366E-2</c:v>
                </c:pt>
                <c:pt idx="856" formatCode="0.0%">
                  <c:v>7.2352735324855366E-2</c:v>
                </c:pt>
                <c:pt idx="857" formatCode="0.0%">
                  <c:v>7.2352735324855366E-2</c:v>
                </c:pt>
                <c:pt idx="858" formatCode="0.0%">
                  <c:v>7.5300974720154693E-2</c:v>
                </c:pt>
                <c:pt idx="859" formatCode="0.0%">
                  <c:v>7.5187590469019627E-2</c:v>
                </c:pt>
                <c:pt idx="860" formatCode="0.0%">
                  <c:v>7.9716807670037471E-2</c:v>
                </c:pt>
                <c:pt idx="861" formatCode="0.0%">
                  <c:v>8.5456742963872331E-2</c:v>
                </c:pt>
                <c:pt idx="862" formatCode="0.0%">
                  <c:v>8.7779954674358007E-2</c:v>
                </c:pt>
                <c:pt idx="863" formatCode="0.0%">
                  <c:v>8.7779954674358007E-2</c:v>
                </c:pt>
                <c:pt idx="864" formatCode="0.0%">
                  <c:v>8.7779954674358007E-2</c:v>
                </c:pt>
                <c:pt idx="865" formatCode="0.0%">
                  <c:v>9.1823236398488606E-2</c:v>
                </c:pt>
                <c:pt idx="866" formatCode="0.0%">
                  <c:v>9.0247361678134574E-2</c:v>
                </c:pt>
                <c:pt idx="867" formatCode="0.0%">
                  <c:v>0.10146843282226399</c:v>
                </c:pt>
                <c:pt idx="868" formatCode="0.0%">
                  <c:v>0.11814662977804645</c:v>
                </c:pt>
                <c:pt idx="869" formatCode="0.0%">
                  <c:v>0.11682766298197848</c:v>
                </c:pt>
                <c:pt idx="870" formatCode="0.0%">
                  <c:v>0.11682766298197848</c:v>
                </c:pt>
                <c:pt idx="871" formatCode="0.0%">
                  <c:v>0.11682766298197848</c:v>
                </c:pt>
                <c:pt idx="872" formatCode="0.0%">
                  <c:v>0.11919527779275625</c:v>
                </c:pt>
                <c:pt idx="873" formatCode="0.0%">
                  <c:v>0.10614916228070798</c:v>
                </c:pt>
                <c:pt idx="874" formatCode="0.0%">
                  <c:v>9.8516020570297083E-2</c:v>
                </c:pt>
                <c:pt idx="875" formatCode="0.0%">
                  <c:v>0.11302125650403511</c:v>
                </c:pt>
                <c:pt idx="876" formatCode="0.0%">
                  <c:v>0.13144204728014899</c:v>
                </c:pt>
                <c:pt idx="877" formatCode="0.0%">
                  <c:v>0.13144204728014899</c:v>
                </c:pt>
                <c:pt idx="878" formatCode="0.0%">
                  <c:v>0.13144204728014899</c:v>
                </c:pt>
                <c:pt idx="879" formatCode="0.0%">
                  <c:v>0.13106185685430843</c:v>
                </c:pt>
                <c:pt idx="880" formatCode="0.0%">
                  <c:v>0.12950950807713851</c:v>
                </c:pt>
                <c:pt idx="881" formatCode="0.0%">
                  <c:v>0.12669592083514827</c:v>
                </c:pt>
                <c:pt idx="882" formatCode="0.0%">
                  <c:v>0.13362965285907663</c:v>
                </c:pt>
                <c:pt idx="883" formatCode="0.0%">
                  <c:v>0.14884528634613886</c:v>
                </c:pt>
                <c:pt idx="884" formatCode="0.0%">
                  <c:v>0.14884528634613886</c:v>
                </c:pt>
                <c:pt idx="885" formatCode="0.0%">
                  <c:v>0.14884528634613886</c:v>
                </c:pt>
                <c:pt idx="886" formatCode="0.0%">
                  <c:v>0.150461172620588</c:v>
                </c:pt>
                <c:pt idx="887" formatCode="0.0%">
                  <c:v>0.15498473788051698</c:v>
                </c:pt>
                <c:pt idx="888" formatCode="0.0%">
                  <c:v>0.14068642887969005</c:v>
                </c:pt>
                <c:pt idx="889" formatCode="0.0%">
                  <c:v>0.14137349664509344</c:v>
                </c:pt>
                <c:pt idx="890" formatCode="0.0%">
                  <c:v>0.14675784158297092</c:v>
                </c:pt>
                <c:pt idx="891" formatCode="0.0%">
                  <c:v>0.14675784158297092</c:v>
                </c:pt>
                <c:pt idx="892" formatCode="0.0%">
                  <c:v>0.14675784158297092</c:v>
                </c:pt>
                <c:pt idx="893" formatCode="0.0%">
                  <c:v>0.16032474334549349</c:v>
                </c:pt>
                <c:pt idx="894" formatCode="0.0%">
                  <c:v>0.16427120064416983</c:v>
                </c:pt>
                <c:pt idx="895" formatCode="0.0%">
                  <c:v>0.16422363178785132</c:v>
                </c:pt>
                <c:pt idx="896" formatCode="0.0%">
                  <c:v>0.16993595413452184</c:v>
                </c:pt>
                <c:pt idx="897" formatCode="0.0%">
                  <c:v>0.16579610663469893</c:v>
                </c:pt>
                <c:pt idx="898" formatCode="0.0%">
                  <c:v>0.16579610663469893</c:v>
                </c:pt>
                <c:pt idx="899" formatCode="0.0%">
                  <c:v>0.16579610663469893</c:v>
                </c:pt>
                <c:pt idx="900" formatCode="0.0%">
                  <c:v>0.1617410869862077</c:v>
                </c:pt>
                <c:pt idx="901" formatCode="0.0%">
                  <c:v>0.15954778007205847</c:v>
                </c:pt>
                <c:pt idx="902" formatCode="0.0%">
                  <c:v>0.14504552968198553</c:v>
                </c:pt>
                <c:pt idx="903" formatCode="0.0%">
                  <c:v>0.15014892087811263</c:v>
                </c:pt>
                <c:pt idx="904" formatCode="0.0%">
                  <c:v>0.14727484382683542</c:v>
                </c:pt>
                <c:pt idx="905" formatCode="0.0%">
                  <c:v>0.14727484382683542</c:v>
                </c:pt>
                <c:pt idx="906" formatCode="0.0%">
                  <c:v>0.14727484382683542</c:v>
                </c:pt>
                <c:pt idx="907" formatCode="0.0%">
                  <c:v>0.13519202182713427</c:v>
                </c:pt>
                <c:pt idx="908" formatCode="0.0%">
                  <c:v>0.14279628078217782</c:v>
                </c:pt>
                <c:pt idx="909" formatCode="0.0%">
                  <c:v>0.15163601180857739</c:v>
                </c:pt>
                <c:pt idx="910" formatCode="0.0%">
                  <c:v>0.15333709385678887</c:v>
                </c:pt>
                <c:pt idx="911" formatCode="0.0%">
                  <c:v>0.16529277521593572</c:v>
                </c:pt>
                <c:pt idx="912" formatCode="0.0%">
                  <c:v>0.16529277521593572</c:v>
                </c:pt>
                <c:pt idx="913" formatCode="0.0%">
                  <c:v>0.16529277521593572</c:v>
                </c:pt>
                <c:pt idx="914" formatCode="0.0%">
                  <c:v>0.16729211835554508</c:v>
                </c:pt>
                <c:pt idx="915" formatCode="0.0%">
                  <c:v>0.16799806977782666</c:v>
                </c:pt>
                <c:pt idx="916" formatCode="0.0%">
                  <c:v>0.16871720677627394</c:v>
                </c:pt>
                <c:pt idx="917" formatCode="0.0%">
                  <c:v>0.15577878241936488</c:v>
                </c:pt>
                <c:pt idx="918" formatCode="0.0%">
                  <c:v>0.14556246113033608</c:v>
                </c:pt>
                <c:pt idx="919" formatCode="0.0%">
                  <c:v>0.14556246113033608</c:v>
                </c:pt>
                <c:pt idx="920" formatCode="0.0%">
                  <c:v>0.14556246113033608</c:v>
                </c:pt>
                <c:pt idx="921" formatCode="0.0%">
                  <c:v>0.14323266797099607</c:v>
                </c:pt>
                <c:pt idx="922" formatCode="0.0%">
                  <c:v>0.14978333875657696</c:v>
                </c:pt>
                <c:pt idx="923" formatCode="0.0%">
                  <c:v>0.15150348069862446</c:v>
                </c:pt>
                <c:pt idx="924" formatCode="0.0%">
                  <c:v>0.16136309027366025</c:v>
                </c:pt>
                <c:pt idx="925" formatCode="0.0%">
                  <c:v>0.15883246296203438</c:v>
                </c:pt>
                <c:pt idx="926" formatCode="0.0%">
                  <c:v>0.15883246296203438</c:v>
                </c:pt>
                <c:pt idx="927" formatCode="0.0%">
                  <c:v>0.15883246296203438</c:v>
                </c:pt>
                <c:pt idx="928" formatCode="0.0%">
                  <c:v>0.16325886757448643</c:v>
                </c:pt>
                <c:pt idx="929" formatCode="0.0%">
                  <c:v>0.1689142709492242</c:v>
                </c:pt>
                <c:pt idx="930" formatCode="0.0%">
                  <c:v>0.17309816660367744</c:v>
                </c:pt>
                <c:pt idx="931" formatCode="0.0%">
                  <c:v>0.16067715023108647</c:v>
                </c:pt>
                <c:pt idx="932" formatCode="0.0%">
                  <c:v>0.1610215962779904</c:v>
                </c:pt>
                <c:pt idx="933" formatCode="0.0%">
                  <c:v>0.1610215962779904</c:v>
                </c:pt>
                <c:pt idx="934" formatCode="0.0%">
                  <c:v>0.1610215962779904</c:v>
                </c:pt>
                <c:pt idx="935" formatCode="0.0%">
                  <c:v>0.16614525946040629</c:v>
                </c:pt>
                <c:pt idx="936" formatCode="0.0%">
                  <c:v>0.17727538634660703</c:v>
                </c:pt>
                <c:pt idx="937" formatCode="0.0%">
                  <c:v>0.17395385858301565</c:v>
                </c:pt>
                <c:pt idx="938" formatCode="0.0%">
                  <c:v>0.1786989315817675</c:v>
                </c:pt>
                <c:pt idx="939" formatCode="0.0%">
                  <c:v>0.18740921360555349</c:v>
                </c:pt>
                <c:pt idx="940" formatCode="0.0%">
                  <c:v>0.18740921360555349</c:v>
                </c:pt>
                <c:pt idx="941" formatCode="0.0%">
                  <c:v>0.18740921360555349</c:v>
                </c:pt>
                <c:pt idx="942" formatCode="0.0%">
                  <c:v>0.19140546004533859</c:v>
                </c:pt>
                <c:pt idx="943" formatCode="0.0%">
                  <c:v>0.19017182367250868</c:v>
                </c:pt>
                <c:pt idx="944" formatCode="0.0%">
                  <c:v>0.17189782793180045</c:v>
                </c:pt>
                <c:pt idx="945" formatCode="0.0%">
                  <c:v>0.16771460976792413</c:v>
                </c:pt>
                <c:pt idx="946" formatCode="0.0%">
                  <c:v>0.15613390248056574</c:v>
                </c:pt>
                <c:pt idx="947" formatCode="0.0%">
                  <c:v>0.15613390248056574</c:v>
                </c:pt>
                <c:pt idx="948" formatCode="0.0%">
                  <c:v>0.15613390248056574</c:v>
                </c:pt>
                <c:pt idx="949" formatCode="0.0%">
                  <c:v>0.16306624267342257</c:v>
                </c:pt>
                <c:pt idx="950" formatCode="0.0%">
                  <c:v>0.16307989079946877</c:v>
                </c:pt>
                <c:pt idx="951" formatCode="0.0%">
                  <c:v>0.15276265777204714</c:v>
                </c:pt>
                <c:pt idx="952" formatCode="0.0%">
                  <c:v>0.15329472028270999</c:v>
                </c:pt>
                <c:pt idx="953" formatCode="0.0%">
                  <c:v>0.14942761986876563</c:v>
                </c:pt>
                <c:pt idx="954" formatCode="0.0%">
                  <c:v>0.14942761986876563</c:v>
                </c:pt>
                <c:pt idx="955" formatCode="0.0%">
                  <c:v>0.14942761986876563</c:v>
                </c:pt>
                <c:pt idx="956" formatCode="0.0%">
                  <c:v>0.16126953199915775</c:v>
                </c:pt>
                <c:pt idx="957" formatCode="0.0%">
                  <c:v>0.14759680281397222</c:v>
                </c:pt>
                <c:pt idx="958" formatCode="0.0%">
                  <c:v>0.14179410825851435</c:v>
                </c:pt>
                <c:pt idx="959" formatCode="0.0%">
                  <c:v>0.13181195342745824</c:v>
                </c:pt>
                <c:pt idx="960" formatCode="0.0%">
                  <c:v>0.12921847824137969</c:v>
                </c:pt>
                <c:pt idx="961" formatCode="0.0%">
                  <c:v>0.12921847824137969</c:v>
                </c:pt>
                <c:pt idx="962" formatCode="0.0%">
                  <c:v>0.12921847824137969</c:v>
                </c:pt>
                <c:pt idx="963" formatCode="0.0%">
                  <c:v>0.13713640287168147</c:v>
                </c:pt>
                <c:pt idx="964" formatCode="0.0%">
                  <c:v>0.14298692824950593</c:v>
                </c:pt>
                <c:pt idx="965" formatCode="0.0%">
                  <c:v>0.15773331387569783</c:v>
                </c:pt>
                <c:pt idx="966" formatCode="0.0%">
                  <c:v>0.14492049480103561</c:v>
                </c:pt>
                <c:pt idx="967" formatCode="0.0%">
                  <c:v>0.15361061100090054</c:v>
                </c:pt>
                <c:pt idx="968" formatCode="0.0%">
                  <c:v>0.15361061100090054</c:v>
                </c:pt>
                <c:pt idx="969" formatCode="0.0%">
                  <c:v>0.15361061100090054</c:v>
                </c:pt>
                <c:pt idx="970" formatCode="0.0%">
                  <c:v>0.15986193548663621</c:v>
                </c:pt>
                <c:pt idx="971" formatCode="0.0%">
                  <c:v>0.17687486632172253</c:v>
                </c:pt>
                <c:pt idx="972" formatCode="0.0%">
                  <c:v>0.17349675599360778</c:v>
                </c:pt>
                <c:pt idx="973" formatCode="0.0%">
                  <c:v>0.18000878520163455</c:v>
                </c:pt>
                <c:pt idx="974" formatCode="0.0%">
                  <c:v>0.18584482168206606</c:v>
                </c:pt>
                <c:pt idx="975" formatCode="0.0%">
                  <c:v>0.18584482168206606</c:v>
                </c:pt>
                <c:pt idx="976" formatCode="0.0%">
                  <c:v>0.18584482168206606</c:v>
                </c:pt>
                <c:pt idx="977" formatCode="0.0%">
                  <c:v>0.18916806841501413</c:v>
                </c:pt>
                <c:pt idx="978" formatCode="0.0%">
                  <c:v>0.19413429132320373</c:v>
                </c:pt>
                <c:pt idx="979" formatCode="0.0%">
                  <c:v>0.18508154639191063</c:v>
                </c:pt>
                <c:pt idx="980" formatCode="0.0%">
                  <c:v>0.1791591630978904</c:v>
                </c:pt>
                <c:pt idx="981" formatCode="0.0%">
                  <c:v>0.17797842464798377</c:v>
                </c:pt>
                <c:pt idx="982" formatCode="0.0%">
                  <c:v>0.17797842464798377</c:v>
                </c:pt>
                <c:pt idx="983" formatCode="0.0%">
                  <c:v>0.17797842464798377</c:v>
                </c:pt>
                <c:pt idx="984" formatCode="0.0%">
                  <c:v>0.18471281791771091</c:v>
                </c:pt>
                <c:pt idx="985" formatCode="0.0%">
                  <c:v>0.17883802142091781</c:v>
                </c:pt>
                <c:pt idx="986" formatCode="0.0%">
                  <c:v>0.176766415036616</c:v>
                </c:pt>
                <c:pt idx="987" formatCode="0.0%">
                  <c:v>0.19253472488652307</c:v>
                </c:pt>
                <c:pt idx="988" formatCode="0.0%">
                  <c:v>0.18196793741930378</c:v>
                </c:pt>
                <c:pt idx="989" formatCode="0.0%">
                  <c:v>0.18196793741930378</c:v>
                </c:pt>
                <c:pt idx="990" formatCode="0.0%">
                  <c:v>0.18196793741930378</c:v>
                </c:pt>
                <c:pt idx="991" formatCode="0.0%">
                  <c:v>0.17713270925345398</c:v>
                </c:pt>
                <c:pt idx="992" formatCode="0.0%">
                  <c:v>0.17188943622302047</c:v>
                </c:pt>
                <c:pt idx="993" formatCode="0.0%">
                  <c:v>0.15872925075063279</c:v>
                </c:pt>
                <c:pt idx="994" formatCode="0.0%">
                  <c:v>0.14219069597080433</c:v>
                </c:pt>
                <c:pt idx="995" formatCode="0.0%">
                  <c:v>0.14247411429025064</c:v>
                </c:pt>
                <c:pt idx="996" formatCode="0.0%">
                  <c:v>0.14247411429025064</c:v>
                </c:pt>
                <c:pt idx="997" formatCode="0.0%">
                  <c:v>0.14247411429025064</c:v>
                </c:pt>
                <c:pt idx="998" formatCode="0.0%">
                  <c:v>0.15160663113645925</c:v>
                </c:pt>
                <c:pt idx="999" formatCode="0.0%">
                  <c:v>0.13495997258128825</c:v>
                </c:pt>
                <c:pt idx="1000" formatCode="0.0%">
                  <c:v>0.14245337291551949</c:v>
                </c:pt>
                <c:pt idx="1001" formatCode="0.0%">
                  <c:v>0.14343336594955033</c:v>
                </c:pt>
                <c:pt idx="1002" formatCode="0.0%">
                  <c:v>0.14370830339124765</c:v>
                </c:pt>
                <c:pt idx="1003" formatCode="0.0%">
                  <c:v>0.14370830339124765</c:v>
                </c:pt>
                <c:pt idx="1004" formatCode="0.0%">
                  <c:v>0.14370830339124765</c:v>
                </c:pt>
                <c:pt idx="1005" formatCode="0.0%">
                  <c:v>0.1549128886361015</c:v>
                </c:pt>
                <c:pt idx="1006" formatCode="0.0%">
                  <c:v>0.13988860115815854</c:v>
                </c:pt>
                <c:pt idx="1007" formatCode="0.0%">
                  <c:v>0.1461129678796145</c:v>
                </c:pt>
                <c:pt idx="1008" formatCode="0.0%">
                  <c:v>0.14533022691397376</c:v>
                </c:pt>
                <c:pt idx="1009" formatCode="0.0%">
                  <c:v>0.15888887798198653</c:v>
                </c:pt>
                <c:pt idx="1010" formatCode="0.0%">
                  <c:v>0.15888887798198653</c:v>
                </c:pt>
                <c:pt idx="1011" formatCode="0.0%">
                  <c:v>0.15888887798198653</c:v>
                </c:pt>
                <c:pt idx="1012" formatCode="0.0%">
                  <c:v>0.16127908854845971</c:v>
                </c:pt>
                <c:pt idx="1013" formatCode="0.0%">
                  <c:v>0.16681374901745444</c:v>
                </c:pt>
                <c:pt idx="1014" formatCode="0.0%">
                  <c:v>0.17277605366668908</c:v>
                </c:pt>
                <c:pt idx="1015" formatCode="0.0%">
                  <c:v>0.17640186112871775</c:v>
                </c:pt>
                <c:pt idx="1016" formatCode="0.0%">
                  <c:v>0.16839767028501001</c:v>
                </c:pt>
                <c:pt idx="1017" formatCode="0.0%">
                  <c:v>0.16839767028501001</c:v>
                </c:pt>
                <c:pt idx="1018" formatCode="0.0%">
                  <c:v>0.16839767028501001</c:v>
                </c:pt>
                <c:pt idx="1019" formatCode="0.0%">
                  <c:v>0.17128572187968685</c:v>
                </c:pt>
                <c:pt idx="1020" formatCode="0.0%">
                  <c:v>0.16828107203719497</c:v>
                </c:pt>
                <c:pt idx="1021" formatCode="0.0%">
                  <c:v>0.15554653141558106</c:v>
                </c:pt>
                <c:pt idx="1022" formatCode="0.0%">
                  <c:v>0.14216037367927398</c:v>
                </c:pt>
                <c:pt idx="1023" formatCode="0.0%">
                  <c:v>0.12558159823391563</c:v>
                </c:pt>
                <c:pt idx="1024" formatCode="0.0%">
                  <c:v>0.12558159823391563</c:v>
                </c:pt>
                <c:pt idx="1025" formatCode="0.0%">
                  <c:v>0.12558159823391563</c:v>
                </c:pt>
                <c:pt idx="1026" formatCode="0.0%">
                  <c:v>0.12291309692444202</c:v>
                </c:pt>
                <c:pt idx="1027" formatCode="0.0%">
                  <c:v>0.13280231298804807</c:v>
                </c:pt>
                <c:pt idx="1028" formatCode="0.0%">
                  <c:v>0.11723964228075687</c:v>
                </c:pt>
                <c:pt idx="1029" formatCode="0.0%">
                  <c:v>0.10219918883250116</c:v>
                </c:pt>
                <c:pt idx="1030" formatCode="0.0%">
                  <c:v>0.10233438794653039</c:v>
                </c:pt>
                <c:pt idx="1031" formatCode="0.0%">
                  <c:v>0.10233438794653039</c:v>
                </c:pt>
                <c:pt idx="1032" formatCode="0.0%">
                  <c:v>0.10233438794653039</c:v>
                </c:pt>
                <c:pt idx="1033" formatCode="0.0%">
                  <c:v>0.1095863968907524</c:v>
                </c:pt>
                <c:pt idx="1034" formatCode="0.0%">
                  <c:v>0.11721649354972201</c:v>
                </c:pt>
                <c:pt idx="1035" formatCode="0.0%">
                  <c:v>0.1343436024025364</c:v>
                </c:pt>
                <c:pt idx="1036" formatCode="0.0%">
                  <c:v>0.14856591927244822</c:v>
                </c:pt>
                <c:pt idx="1037" formatCode="0.0%">
                  <c:v>0.150170040185929</c:v>
                </c:pt>
                <c:pt idx="1038" formatCode="0.0%">
                  <c:v>0.150170040185929</c:v>
                </c:pt>
                <c:pt idx="1039" formatCode="0.0%">
                  <c:v>0.150170040185929</c:v>
                </c:pt>
                <c:pt idx="1040" formatCode="0.0%">
                  <c:v>0.15712835728435692</c:v>
                </c:pt>
                <c:pt idx="1041" formatCode="0.0%">
                  <c:v>0.16762050766361369</c:v>
                </c:pt>
                <c:pt idx="1042" formatCode="0.0%">
                  <c:v>0.16909643074144512</c:v>
                </c:pt>
                <c:pt idx="1043" formatCode="0.0%">
                  <c:v>0.1644992640636822</c:v>
                </c:pt>
                <c:pt idx="1044" formatCode="0.0%">
                  <c:v>0.17860830714981546</c:v>
                </c:pt>
                <c:pt idx="1045" formatCode="0.0%">
                  <c:v>0.17860830714981546</c:v>
                </c:pt>
                <c:pt idx="1046" formatCode="0.0%">
                  <c:v>0.17860830714981546</c:v>
                </c:pt>
                <c:pt idx="1047" formatCode="0.0%">
                  <c:v>0.1785039552069192</c:v>
                </c:pt>
                <c:pt idx="1048" formatCode="0.0%">
                  <c:v>0.18458561459727946</c:v>
                </c:pt>
                <c:pt idx="1049" formatCode="0.0%">
                  <c:v>0.18779917951740616</c:v>
                </c:pt>
                <c:pt idx="1050" formatCode="0.0%">
                  <c:v>0.18849432833174304</c:v>
                </c:pt>
                <c:pt idx="1051" formatCode="0.0%">
                  <c:v>0.18831109505136709</c:v>
                </c:pt>
                <c:pt idx="1052" formatCode="0.0%">
                  <c:v>0.18831109505136709</c:v>
                </c:pt>
                <c:pt idx="1053" formatCode="0.0%">
                  <c:v>0.18831109505136709</c:v>
                </c:pt>
                <c:pt idx="1054" formatCode="0.0%">
                  <c:v>0.19405475329918148</c:v>
                </c:pt>
                <c:pt idx="1055" formatCode="0.0%">
                  <c:v>0.19294648988315302</c:v>
                </c:pt>
                <c:pt idx="1056" formatCode="0.0%">
                  <c:v>0.20273000402804001</c:v>
                </c:pt>
                <c:pt idx="1057" formatCode="0.0%">
                  <c:v>0.19970545784596069</c:v>
                </c:pt>
                <c:pt idx="1058" formatCode="0.0%">
                  <c:v>0.19491726053587513</c:v>
                </c:pt>
                <c:pt idx="1059" formatCode="0.0%">
                  <c:v>0.19491726053587513</c:v>
                </c:pt>
                <c:pt idx="1060" formatCode="0.0%">
                  <c:v>0.19491726053587513</c:v>
                </c:pt>
                <c:pt idx="1061" formatCode="0.0%">
                  <c:v>0.19398011205041185</c:v>
                </c:pt>
                <c:pt idx="1062" formatCode="0.0%">
                  <c:v>0.19187516759296813</c:v>
                </c:pt>
                <c:pt idx="1063" formatCode="0.0%">
                  <c:v>0.19200776607915812</c:v>
                </c:pt>
                <c:pt idx="1064" formatCode="0.0%">
                  <c:v>0.20005914661021976</c:v>
                </c:pt>
                <c:pt idx="1065" formatCode="0.0%">
                  <c:v>0.21122908708261975</c:v>
                </c:pt>
                <c:pt idx="1066" formatCode="0.0%">
                  <c:v>0.21122908708261975</c:v>
                </c:pt>
                <c:pt idx="1067" formatCode="0.0%">
                  <c:v>0.21122908708261975</c:v>
                </c:pt>
                <c:pt idx="1068" formatCode="0.0%">
                  <c:v>0.20369320035877053</c:v>
                </c:pt>
                <c:pt idx="1069" formatCode="0.0%">
                  <c:v>0.20684764501358785</c:v>
                </c:pt>
                <c:pt idx="1070" formatCode="0.0%">
                  <c:v>0.20662642218703667</c:v>
                </c:pt>
                <c:pt idx="1071" formatCode="0.0%">
                  <c:v>0.21559078946026061</c:v>
                </c:pt>
                <c:pt idx="1072" formatCode="0.0%">
                  <c:v>0.2228718331734845</c:v>
                </c:pt>
                <c:pt idx="1073" formatCode="0.0%">
                  <c:v>0.2228718331734845</c:v>
                </c:pt>
                <c:pt idx="1074" formatCode="0.0%">
                  <c:v>0.2228718331734845</c:v>
                </c:pt>
                <c:pt idx="1075" formatCode="0.0%">
                  <c:v>0.22479011988296166</c:v>
                </c:pt>
                <c:pt idx="1076" formatCode="0.0%">
                  <c:v>0.22820487177943222</c:v>
                </c:pt>
                <c:pt idx="1077" formatCode="0.0%">
                  <c:v>0.23596577104209898</c:v>
                </c:pt>
                <c:pt idx="1078" formatCode="0.0%">
                  <c:v>0.22060686812366015</c:v>
                </c:pt>
                <c:pt idx="1079" formatCode="0.0%">
                  <c:v>0.23286556137105235</c:v>
                </c:pt>
                <c:pt idx="1080" formatCode="0.0%">
                  <c:v>0.23286556137105235</c:v>
                </c:pt>
                <c:pt idx="1081" formatCode="0.0%">
                  <c:v>0.23286556137105235</c:v>
                </c:pt>
                <c:pt idx="1082" formatCode="0.0%">
                  <c:v>0.23666736855083159</c:v>
                </c:pt>
                <c:pt idx="1083" formatCode="0.0%">
                  <c:v>0.23630045474454461</c:v>
                </c:pt>
                <c:pt idx="1084" formatCode="0.0%">
                  <c:v>0.22752402009461065</c:v>
                </c:pt>
                <c:pt idx="1085" formatCode="0.0%">
                  <c:v>0.23414015170011568</c:v>
                </c:pt>
                <c:pt idx="1086" formatCode="0.0%">
                  <c:v>0.2300313639227356</c:v>
                </c:pt>
                <c:pt idx="1087" formatCode="0.0%">
                  <c:v>0.2300313639227356</c:v>
                </c:pt>
                <c:pt idx="1088" formatCode="0.0%">
                  <c:v>0.2300313639227356</c:v>
                </c:pt>
                <c:pt idx="1089" formatCode="0.0%">
                  <c:v>0.23040230052886598</c:v>
                </c:pt>
                <c:pt idx="1090" formatCode="0.0%">
                  <c:v>0.23199175169404043</c:v>
                </c:pt>
                <c:pt idx="1091" formatCode="0.0%">
                  <c:v>0.23000767809745626</c:v>
                </c:pt>
                <c:pt idx="1092" formatCode="0.0%">
                  <c:v>0.23259753914906794</c:v>
                </c:pt>
                <c:pt idx="1093" formatCode="0.0%">
                  <c:v>0.23544920543577219</c:v>
                </c:pt>
                <c:pt idx="1094" formatCode="0.0%">
                  <c:v>0.23544920543577219</c:v>
                </c:pt>
                <c:pt idx="1095" formatCode="0.0%">
                  <c:v>0.23544920543577219</c:v>
                </c:pt>
                <c:pt idx="1096" formatCode="0.0%">
                  <c:v>0.23557986813749041</c:v>
                </c:pt>
                <c:pt idx="1097" formatCode="0.0%">
                  <c:v>0.22808347045690966</c:v>
                </c:pt>
                <c:pt idx="1098" formatCode="0.0%">
                  <c:v>0.21933260909368471</c:v>
                </c:pt>
                <c:pt idx="1099" formatCode="0.0%">
                  <c:v>0.21075583489835567</c:v>
                </c:pt>
                <c:pt idx="1100" formatCode="0.0%">
                  <c:v>0.20878303679982807</c:v>
                </c:pt>
                <c:pt idx="1101" formatCode="0.0%">
                  <c:v>0.20878303679982807</c:v>
                </c:pt>
                <c:pt idx="1102" formatCode="0.0%">
                  <c:v>0.20878303679982807</c:v>
                </c:pt>
                <c:pt idx="1103" formatCode="0.0%">
                  <c:v>0.22679136902224939</c:v>
                </c:pt>
                <c:pt idx="1104" formatCode="0.0%">
                  <c:v>0.23416546885003414</c:v>
                </c:pt>
                <c:pt idx="1105" formatCode="0.0%">
                  <c:v>0.23827911307167796</c:v>
                </c:pt>
                <c:pt idx="1106" formatCode="0.0%">
                  <c:v>0.24239294036882142</c:v>
                </c:pt>
                <c:pt idx="1107" formatCode="0.0%">
                  <c:v>0.24512689899654988</c:v>
                </c:pt>
                <c:pt idx="1108" formatCode="0.0%">
                  <c:v>0.24512689899654988</c:v>
                </c:pt>
                <c:pt idx="1109" formatCode="0.0%">
                  <c:v>0.24512689899654988</c:v>
                </c:pt>
                <c:pt idx="1110" formatCode="0.0%">
                  <c:v>0.24516458888223938</c:v>
                </c:pt>
                <c:pt idx="1111" formatCode="0.0%">
                  <c:v>0.24672807063953811</c:v>
                </c:pt>
                <c:pt idx="1112" formatCode="0.0%">
                  <c:v>0.23872628212620925</c:v>
                </c:pt>
                <c:pt idx="1113" formatCode="0.0%">
                  <c:v>0.25171179505462776</c:v>
                </c:pt>
                <c:pt idx="1114" formatCode="0.0%">
                  <c:v>0.26447525313932485</c:v>
                </c:pt>
                <c:pt idx="1115" formatCode="0.0%">
                  <c:v>0.26447525313932485</c:v>
                </c:pt>
                <c:pt idx="1116" formatCode="0.0%">
                  <c:v>0.26447525313932485</c:v>
                </c:pt>
                <c:pt idx="1117" formatCode="0.0%">
                  <c:v>0.26828098154994606</c:v>
                </c:pt>
                <c:pt idx="1118" formatCode="0.0%">
                  <c:v>0.27578346059983488</c:v>
                </c:pt>
                <c:pt idx="1119" formatCode="0.0%">
                  <c:v>0.27719333560723741</c:v>
                </c:pt>
                <c:pt idx="1120" formatCode="0.0%">
                  <c:v>0.28683129859196782</c:v>
                </c:pt>
                <c:pt idx="1121" formatCode="0.0%">
                  <c:v>0.28378850230793518</c:v>
                </c:pt>
                <c:pt idx="1122" formatCode="0.0%">
                  <c:v>0.28378850230793518</c:v>
                </c:pt>
                <c:pt idx="1123" formatCode="0.0%">
                  <c:v>0.28378850230793518</c:v>
                </c:pt>
                <c:pt idx="1124" formatCode="0.0%">
                  <c:v>0.30209637842732889</c:v>
                </c:pt>
                <c:pt idx="1125" formatCode="0.0%">
                  <c:v>0.2931904959282764</c:v>
                </c:pt>
                <c:pt idx="1126" formatCode="0.0%">
                  <c:v>0.27248152918577562</c:v>
                </c:pt>
                <c:pt idx="1127" formatCode="0.0%">
                  <c:v>0.28781036226242807</c:v>
                </c:pt>
                <c:pt idx="1128" formatCode="0.0%">
                  <c:v>0.30915369327243125</c:v>
                </c:pt>
                <c:pt idx="1129" formatCode="0.0%">
                  <c:v>0.30915369327243125</c:v>
                </c:pt>
                <c:pt idx="1130" formatCode="0.0%">
                  <c:v>0.30915369327243125</c:v>
                </c:pt>
                <c:pt idx="1131" formatCode="0.0%">
                  <c:v>0.31756860580076191</c:v>
                </c:pt>
                <c:pt idx="1132" formatCode="0.0%">
                  <c:v>0.32013319194906331</c:v>
                </c:pt>
                <c:pt idx="1133" formatCode="0.0%">
                  <c:v>0.3306257903565768</c:v>
                </c:pt>
                <c:pt idx="1134" formatCode="0.0%">
                  <c:v>0.33101333972539804</c:v>
                </c:pt>
                <c:pt idx="1135" formatCode="0.0%">
                  <c:v>0.33928926488989475</c:v>
                </c:pt>
                <c:pt idx="1136" formatCode="0.0%">
                  <c:v>0.33928926488989475</c:v>
                </c:pt>
                <c:pt idx="1137" formatCode="0.0%">
                  <c:v>0.33928926488989475</c:v>
                </c:pt>
                <c:pt idx="1138" formatCode="0.0%">
                  <c:v>0.33613544876407703</c:v>
                </c:pt>
                <c:pt idx="1139" formatCode="0.0%">
                  <c:v>0.32660275274957257</c:v>
                </c:pt>
                <c:pt idx="1140" formatCode="0.0%">
                  <c:v>0.3400646401563972</c:v>
                </c:pt>
                <c:pt idx="1141" formatCode="0.0%">
                  <c:v>0.34199433025724912</c:v>
                </c:pt>
                <c:pt idx="1142" formatCode="0.0%">
                  <c:v>0.33780017788446004</c:v>
                </c:pt>
                <c:pt idx="1143" formatCode="0.0%">
                  <c:v>0.33780017788446004</c:v>
                </c:pt>
                <c:pt idx="1144" formatCode="0.0%">
                  <c:v>0.33780017788446004</c:v>
                </c:pt>
                <c:pt idx="1145" formatCode="0.0%">
                  <c:v>0.3380285056181867</c:v>
                </c:pt>
                <c:pt idx="1146" formatCode="0.0%">
                  <c:v>0.32214079453735112</c:v>
                </c:pt>
                <c:pt idx="1147" formatCode="0.0%">
                  <c:v>0.3202074686534826</c:v>
                </c:pt>
                <c:pt idx="1148" formatCode="0.0%">
                  <c:v>0.35284662468653721</c:v>
                </c:pt>
                <c:pt idx="1149" formatCode="0.0%">
                  <c:v>0.35097661752802167</c:v>
                </c:pt>
                <c:pt idx="1150" formatCode="0.0%">
                  <c:v>0.35097661752802167</c:v>
                </c:pt>
                <c:pt idx="1151" formatCode="0.0%">
                  <c:v>0.35097661752802167</c:v>
                </c:pt>
                <c:pt idx="1152" formatCode="0.0%">
                  <c:v>0.34523400117094838</c:v>
                </c:pt>
                <c:pt idx="1153" formatCode="0.0%">
                  <c:v>0.34807246099506839</c:v>
                </c:pt>
                <c:pt idx="1154" formatCode="0.0%">
                  <c:v>0.34352689336817294</c:v>
                </c:pt>
                <c:pt idx="1155" formatCode="0.0%">
                  <c:v>0.35320810118345236</c:v>
                </c:pt>
                <c:pt idx="1156" formatCode="0.0%">
                  <c:v>0.36366025780533617</c:v>
                </c:pt>
                <c:pt idx="1157" formatCode="0.0%">
                  <c:v>0.36366025780533617</c:v>
                </c:pt>
                <c:pt idx="1158" formatCode="0.0%">
                  <c:v>0.36366025780533617</c:v>
                </c:pt>
                <c:pt idx="1159" formatCode="0.0%">
                  <c:v>0.35853897719976546</c:v>
                </c:pt>
                <c:pt idx="1160" formatCode="0.0%">
                  <c:v>0.34096542426151016</c:v>
                </c:pt>
                <c:pt idx="1161" formatCode="0.0%">
                  <c:v>0.34412442423764761</c:v>
                </c:pt>
                <c:pt idx="1162" formatCode="0.0%">
                  <c:v>0.3589388312277873</c:v>
                </c:pt>
                <c:pt idx="1163" formatCode="0.0%">
                  <c:v>0.34898463364035931</c:v>
                </c:pt>
                <c:pt idx="1164" formatCode="0.0%">
                  <c:v>0.34898463364035931</c:v>
                </c:pt>
                <c:pt idx="1165" formatCode="0.0%">
                  <c:v>0.34898463364035931</c:v>
                </c:pt>
                <c:pt idx="1166" formatCode="0.0%">
                  <c:v>0.34499532481036738</c:v>
                </c:pt>
                <c:pt idx="1167" formatCode="0.0%">
                  <c:v>0.36611729356559519</c:v>
                </c:pt>
                <c:pt idx="1168" formatCode="0.0%">
                  <c:v>0.36059707785236467</c:v>
                </c:pt>
                <c:pt idx="1169" formatCode="0.0%">
                  <c:v>0.36638832541036492</c:v>
                </c:pt>
                <c:pt idx="1170" formatCode="0.0%">
                  <c:v>0.35155666452253004</c:v>
                </c:pt>
                <c:pt idx="1171" formatCode="0.0%">
                  <c:v>0.35155666452253004</c:v>
                </c:pt>
                <c:pt idx="1172" formatCode="0.0%">
                  <c:v>0.35155666452253004</c:v>
                </c:pt>
                <c:pt idx="1173" formatCode="0.0%">
                  <c:v>0.36243989317032144</c:v>
                </c:pt>
                <c:pt idx="1174" formatCode="0.0%">
                  <c:v>0.36846035642354308</c:v>
                </c:pt>
                <c:pt idx="1175" formatCode="0.0%">
                  <c:v>0.37848158145704813</c:v>
                </c:pt>
                <c:pt idx="1176" formatCode="0.0%">
                  <c:v>0.38405036684482324</c:v>
                </c:pt>
                <c:pt idx="1177" formatCode="0.0%">
                  <c:v>0.38856630283292132</c:v>
                </c:pt>
                <c:pt idx="1178" formatCode="0.0%">
                  <c:v>0.38856630283292132</c:v>
                </c:pt>
                <c:pt idx="1179" formatCode="0.0%">
                  <c:v>0.38856630283292132</c:v>
                </c:pt>
                <c:pt idx="1180" formatCode="0.0%">
                  <c:v>0.38137430318659538</c:v>
                </c:pt>
                <c:pt idx="1181" formatCode="0.0%">
                  <c:v>0.38018157366224614</c:v>
                </c:pt>
                <c:pt idx="1182" formatCode="0.0%">
                  <c:v>0.38343412540390576</c:v>
                </c:pt>
                <c:pt idx="1183" formatCode="0.0%">
                  <c:v>0.383849969742036</c:v>
                </c:pt>
                <c:pt idx="1184" formatCode="0.0%">
                  <c:v>0.38456980765104276</c:v>
                </c:pt>
                <c:pt idx="1185" formatCode="0.0%">
                  <c:v>0.38456980765104276</c:v>
                </c:pt>
                <c:pt idx="1186" formatCode="0.0%">
                  <c:v>0.38456980765104276</c:v>
                </c:pt>
                <c:pt idx="1187" formatCode="0.0%">
                  <c:v>0.38943163377437373</c:v>
                </c:pt>
                <c:pt idx="1188" formatCode="0.0%">
                  <c:v>0.37830893640008073</c:v>
                </c:pt>
                <c:pt idx="1189" formatCode="0.0%">
                  <c:v>0.37322627782450779</c:v>
                </c:pt>
                <c:pt idx="1190" formatCode="0.0%">
                  <c:v>0.35763012269490901</c:v>
                </c:pt>
                <c:pt idx="1191" formatCode="0.0%">
                  <c:v>0.3730626089048954</c:v>
                </c:pt>
                <c:pt idx="1192" formatCode="0.0%">
                  <c:v>0.3730626089048954</c:v>
                </c:pt>
                <c:pt idx="1193" formatCode="0.0%">
                  <c:v>0.3730626089048954</c:v>
                </c:pt>
                <c:pt idx="1194" formatCode="0.0%">
                  <c:v>0.37055556411931062</c:v>
                </c:pt>
                <c:pt idx="1195" formatCode="0.0%">
                  <c:v>0.37174249187232505</c:v>
                </c:pt>
                <c:pt idx="1196" formatCode="0.0%">
                  <c:v>0.37713870260727961</c:v>
                </c:pt>
                <c:pt idx="1197" formatCode="0.0%">
                  <c:v>0.39469767436885833</c:v>
                </c:pt>
                <c:pt idx="1198" formatCode="0.0%">
                  <c:v>0.38812316934902724</c:v>
                </c:pt>
                <c:pt idx="1199" formatCode="0.0%">
                  <c:v>0.38812316934902724</c:v>
                </c:pt>
                <c:pt idx="1200" formatCode="0.0%">
                  <c:v>0.38812316934902724</c:v>
                </c:pt>
                <c:pt idx="1201" formatCode="0.0%">
                  <c:v>0.36880865813768055</c:v>
                </c:pt>
                <c:pt idx="1202" formatCode="0.0%">
                  <c:v>0.36041533966109851</c:v>
                </c:pt>
                <c:pt idx="1203" formatCode="0.0%">
                  <c:v>0.35079932610633763</c:v>
                </c:pt>
                <c:pt idx="1204" formatCode="0.0%">
                  <c:v>0.3459537502817463</c:v>
                </c:pt>
                <c:pt idx="1205" formatCode="0.0%">
                  <c:v>0.31908965686557933</c:v>
                </c:pt>
                <c:pt idx="1206" formatCode="0.0%">
                  <c:v>0.31908965686557933</c:v>
                </c:pt>
                <c:pt idx="1207" formatCode="0.0%">
                  <c:v>0.31908965686557933</c:v>
                </c:pt>
                <c:pt idx="1208" formatCode="0.0%">
                  <c:v>0.33310554086748623</c:v>
                </c:pt>
                <c:pt idx="1209" formatCode="0.0%">
                  <c:v>0.3474703683570789</c:v>
                </c:pt>
                <c:pt idx="1210" formatCode="0.0%">
                  <c:v>0.35114429594113916</c:v>
                </c:pt>
                <c:pt idx="1211" formatCode="0.0%">
                  <c:v>0.33798527924350169</c:v>
                </c:pt>
                <c:pt idx="1212" formatCode="0.0%">
                  <c:v>0.36402243951780777</c:v>
                </c:pt>
                <c:pt idx="1213" formatCode="0.0%">
                  <c:v>0.36402243951780777</c:v>
                </c:pt>
                <c:pt idx="1214" formatCode="0.0%">
                  <c:v>0.36402243951780777</c:v>
                </c:pt>
                <c:pt idx="1215" formatCode="0.0%">
                  <c:v>0.36392934187757475</c:v>
                </c:pt>
                <c:pt idx="1216" formatCode="0.0%">
                  <c:v>0.34829752700643324</c:v>
                </c:pt>
                <c:pt idx="1217" formatCode="0.0%">
                  <c:v>0.34512611182133413</c:v>
                </c:pt>
                <c:pt idx="1218" formatCode="0.0%">
                  <c:v>0.35903786102502866</c:v>
                </c:pt>
                <c:pt idx="1219" formatCode="0.0%">
                  <c:v>0.37105212380440578</c:v>
                </c:pt>
                <c:pt idx="1220" formatCode="0.0%">
                  <c:v>0.37105212380440578</c:v>
                </c:pt>
                <c:pt idx="1221" formatCode="0.0%">
                  <c:v>0.37105212380440578</c:v>
                </c:pt>
                <c:pt idx="1222" formatCode="0.0%">
                  <c:v>0.38436390666597475</c:v>
                </c:pt>
                <c:pt idx="1223" formatCode="0.0%">
                  <c:v>0.38826802577803193</c:v>
                </c:pt>
                <c:pt idx="1224" formatCode="0.0%">
                  <c:v>0.38807787050118381</c:v>
                </c:pt>
                <c:pt idx="1225" formatCode="0.0%">
                  <c:v>0.38788825289533352</c:v>
                </c:pt>
                <c:pt idx="1226" formatCode="0.0%">
                  <c:v>0.39132601866738298</c:v>
                </c:pt>
                <c:pt idx="1227" formatCode="0.0%">
                  <c:v>0.39132601866738298</c:v>
                </c:pt>
                <c:pt idx="1228" formatCode="0.0%">
                  <c:v>0.39132601866738298</c:v>
                </c:pt>
                <c:pt idx="1229" formatCode="0.0%">
                  <c:v>0.38806567808077685</c:v>
                </c:pt>
                <c:pt idx="1230" formatCode="0.0%">
                  <c:v>0.39200000510336963</c:v>
                </c:pt>
                <c:pt idx="1231" formatCode="0.0%">
                  <c:v>0.40619415394977582</c:v>
                </c:pt>
                <c:pt idx="1232" formatCode="0.0%">
                  <c:v>0.40502242947584477</c:v>
                </c:pt>
                <c:pt idx="1233" formatCode="0.0%">
                  <c:v>0.40407198074486045</c:v>
                </c:pt>
                <c:pt idx="1234" formatCode="0.0%">
                  <c:v>0.40407198074486045</c:v>
                </c:pt>
                <c:pt idx="1235" formatCode="0.0%">
                  <c:v>0.40407198074486045</c:v>
                </c:pt>
                <c:pt idx="1236" formatCode="0.0%">
                  <c:v>0.41192946285900633</c:v>
                </c:pt>
                <c:pt idx="1237" formatCode="0.0%">
                  <c:v>0.41314337233183662</c:v>
                </c:pt>
                <c:pt idx="1238" formatCode="0.0%">
                  <c:v>0.41253620299460125</c:v>
                </c:pt>
                <c:pt idx="1239" formatCode="0.0%">
                  <c:v>0.41234261288934987</c:v>
                </c:pt>
                <c:pt idx="1240" formatCode="0.0%">
                  <c:v>0.41619136762636461</c:v>
                </c:pt>
                <c:pt idx="1241" formatCode="0.0%">
                  <c:v>0.41619136762636461</c:v>
                </c:pt>
                <c:pt idx="1242" formatCode="0.0%">
                  <c:v>0.41619136762636461</c:v>
                </c:pt>
                <c:pt idx="1243" formatCode="0.0%">
                  <c:v>0.41728944812688268</c:v>
                </c:pt>
                <c:pt idx="1244" formatCode="0.0%">
                  <c:v>0.41798771151109149</c:v>
                </c:pt>
                <c:pt idx="1245" formatCode="0.0%">
                  <c:v>0.41452679342394189</c:v>
                </c:pt>
                <c:pt idx="1246" formatCode="0.0%">
                  <c:v>0.39591558888601469</c:v>
                </c:pt>
                <c:pt idx="1247" formatCode="0.0%">
                  <c:v>0.39595502124343968</c:v>
                </c:pt>
                <c:pt idx="1248" formatCode="0.0%">
                  <c:v>0.39595502124343968</c:v>
                </c:pt>
                <c:pt idx="1249" formatCode="0.0%">
                  <c:v>0.39595502124343968</c:v>
                </c:pt>
                <c:pt idx="1250" formatCode="0.0%">
                  <c:v>0.40491188289494429</c:v>
                </c:pt>
                <c:pt idx="1251" formatCode="0.0%">
                  <c:v>0.4053373761440483</c:v>
                </c:pt>
                <c:pt idx="1252" formatCode="0.0%">
                  <c:v>0.42788829930686745</c:v>
                </c:pt>
                <c:pt idx="1253" formatCode="0.0%">
                  <c:v>0.4322695562405906</c:v>
                </c:pt>
                <c:pt idx="1254" formatCode="0.0%">
                  <c:v>0.43751644167525428</c:v>
                </c:pt>
                <c:pt idx="1255" formatCode="0.0%">
                  <c:v>0.43751644167525428</c:v>
                </c:pt>
                <c:pt idx="1256" formatCode="0.0%">
                  <c:v>0.43751644167525428</c:v>
                </c:pt>
                <c:pt idx="1257" formatCode="0.0%">
                  <c:v>0.44958377556598889</c:v>
                </c:pt>
                <c:pt idx="1258" formatCode="0.0%">
                  <c:v>0.45797178934345906</c:v>
                </c:pt>
                <c:pt idx="1259" formatCode="0.0%">
                  <c:v>0.46140935648848286</c:v>
                </c:pt>
                <c:pt idx="1260" formatCode="0.0%">
                  <c:v>0.46942456395391075</c:v>
                </c:pt>
                <c:pt idx="1261" formatCode="0.0%">
                  <c:v>0.47912287035756973</c:v>
                </c:pt>
                <c:pt idx="1262" formatCode="0.0%">
                  <c:v>0.47912287035756973</c:v>
                </c:pt>
                <c:pt idx="1263" formatCode="0.0%">
                  <c:v>0.47912287035756973</c:v>
                </c:pt>
                <c:pt idx="1264" formatCode="0.0%">
                  <c:v>0.48196579643702703</c:v>
                </c:pt>
                <c:pt idx="1265" formatCode="0.0%">
                  <c:v>0.48445692434455961</c:v>
                </c:pt>
                <c:pt idx="1266" formatCode="0.0%">
                  <c:v>0.48485937360373499</c:v>
                </c:pt>
                <c:pt idx="1267" formatCode="0.0%">
                  <c:v>0.48366962725427498</c:v>
                </c:pt>
                <c:pt idx="1268" formatCode="0.0%">
                  <c:v>0.48317237213770226</c:v>
                </c:pt>
                <c:pt idx="1269" formatCode="0.0%">
                  <c:v>0.48317237213770226</c:v>
                </c:pt>
                <c:pt idx="1270" formatCode="0.0%">
                  <c:v>0.48317237213770226</c:v>
                </c:pt>
                <c:pt idx="1271" formatCode="0.0%">
                  <c:v>0.46787295845750465</c:v>
                </c:pt>
                <c:pt idx="1272" formatCode="0.0%">
                  <c:v>0.48691078118663228</c:v>
                </c:pt>
                <c:pt idx="1273" formatCode="0.0%">
                  <c:v>0.49424647744736661</c:v>
                </c:pt>
                <c:pt idx="1274" formatCode="0.0%">
                  <c:v>0.49165074862826119</c:v>
                </c:pt>
                <c:pt idx="1275" formatCode="0.0%">
                  <c:v>0.48147127979046417</c:v>
                </c:pt>
                <c:pt idx="1276" formatCode="0.0%">
                  <c:v>0.48147127979046417</c:v>
                </c:pt>
                <c:pt idx="1277" formatCode="0.0%">
                  <c:v>0.48147127979046417</c:v>
                </c:pt>
                <c:pt idx="1278" formatCode="0.0%">
                  <c:v>0.48808223856559946</c:v>
                </c:pt>
                <c:pt idx="1279" formatCode="0.0%">
                  <c:v>0.49442359131382574</c:v>
                </c:pt>
                <c:pt idx="1280" formatCode="0.0%">
                  <c:v>0.50101741708124625</c:v>
                </c:pt>
                <c:pt idx="1281" formatCode="0.0%">
                  <c:v>0.50434631163566845</c:v>
                </c:pt>
                <c:pt idx="1282" formatCode="0.0%">
                  <c:v>0.51371482985564965</c:v>
                </c:pt>
                <c:pt idx="1283" formatCode="0.0%">
                  <c:v>0.51371482985564965</c:v>
                </c:pt>
                <c:pt idx="1284" formatCode="0.0%">
                  <c:v>0.51371482985564965</c:v>
                </c:pt>
                <c:pt idx="1285" formatCode="0.0%">
                  <c:v>0.51356674791566126</c:v>
                </c:pt>
                <c:pt idx="1286" formatCode="0.0%">
                  <c:v>0.51735124039228708</c:v>
                </c:pt>
                <c:pt idx="1287" formatCode="0.0%">
                  <c:v>0.53015650241189438</c:v>
                </c:pt>
                <c:pt idx="1288" formatCode="0.0%">
                  <c:v>0.50687607440579796</c:v>
                </c:pt>
                <c:pt idx="1289" formatCode="0.0%">
                  <c:v>0.51020180666466275</c:v>
                </c:pt>
                <c:pt idx="1290" formatCode="0.0%">
                  <c:v>0.51020180666466275</c:v>
                </c:pt>
                <c:pt idx="1291" formatCode="0.0%">
                  <c:v>0.51020180666466275</c:v>
                </c:pt>
                <c:pt idx="1292" formatCode="0.0%">
                  <c:v>0.50934529615987145</c:v>
                </c:pt>
                <c:pt idx="1293" formatCode="0.0%">
                  <c:v>0.51177523134955039</c:v>
                </c:pt>
                <c:pt idx="1294" formatCode="0.0%">
                  <c:v>0.47282241504451888</c:v>
                </c:pt>
                <c:pt idx="1295" formatCode="0.0%">
                  <c:v>0.46154847310510261</c:v>
                </c:pt>
                <c:pt idx="1296" formatCode="0.0%">
                  <c:v>0.45449736140500024</c:v>
                </c:pt>
                <c:pt idx="1297" formatCode="0.0%">
                  <c:v>0.45449736140500024</c:v>
                </c:pt>
                <c:pt idx="1298" formatCode="0.0%">
                  <c:v>0.45449736140500024</c:v>
                </c:pt>
                <c:pt idx="1299" formatCode="0.0%">
                  <c:v>0.47111798805780525</c:v>
                </c:pt>
                <c:pt idx="1300" formatCode="0.0%">
                  <c:v>0.47825321652323283</c:v>
                </c:pt>
                <c:pt idx="1301" formatCode="0.0%">
                  <c:v>0.43687028308592035</c:v>
                </c:pt>
                <c:pt idx="1302" formatCode="0.0%">
                  <c:v>0.4179628466532273</c:v>
                </c:pt>
                <c:pt idx="1303" formatCode="0.0%">
                  <c:v>0.42748006821528206</c:v>
                </c:pt>
                <c:pt idx="1304" formatCode="0.0%">
                  <c:v>0.42748006821528206</c:v>
                </c:pt>
                <c:pt idx="1305" formatCode="0.0%">
                  <c:v>0.42748006821528206</c:v>
                </c:pt>
                <c:pt idx="1306" formatCode="0.0%">
                  <c:v>0.43570408793286619</c:v>
                </c:pt>
                <c:pt idx="1307" formatCode="0.0%">
                  <c:v>0.42477364358237907</c:v>
                </c:pt>
                <c:pt idx="1308" formatCode="0.0%">
                  <c:v>0.45550273163228355</c:v>
                </c:pt>
                <c:pt idx="1309" formatCode="0.0%">
                  <c:v>0.43807362347093404</c:v>
                </c:pt>
                <c:pt idx="1310" formatCode="0.0%">
                  <c:v>0.38634164479566296</c:v>
                </c:pt>
                <c:pt idx="1311" formatCode="0.0%">
                  <c:v>0.38634164479566296</c:v>
                </c:pt>
                <c:pt idx="1312" formatCode="0.0%">
                  <c:v>0.38634164479566296</c:v>
                </c:pt>
                <c:pt idx="1313" formatCode="0.0%">
                  <c:v>0.33085941593026347</c:v>
                </c:pt>
                <c:pt idx="1314" formatCode="0.0%">
                  <c:v>0.35670110286048468</c:v>
                </c:pt>
                <c:pt idx="1315" formatCode="0.0%">
                  <c:v>0.35428483155436707</c:v>
                </c:pt>
                <c:pt idx="1316" formatCode="0.0%">
                  <c:v>0.38198578647715975</c:v>
                </c:pt>
                <c:pt idx="1317" formatCode="0.0%">
                  <c:v>0.39320233527745274</c:v>
                </c:pt>
                <c:pt idx="1318" formatCode="0.0%">
                  <c:v>0.39320233527745274</c:v>
                </c:pt>
                <c:pt idx="1319" formatCode="0.0%">
                  <c:v>0.39320233527745274</c:v>
                </c:pt>
                <c:pt idx="1320" formatCode="0.0%">
                  <c:v>0.39568287522935575</c:v>
                </c:pt>
                <c:pt idx="1321" formatCode="0.0%">
                  <c:v>0.41898774643055958</c:v>
                </c:pt>
                <c:pt idx="1322" formatCode="0.0%">
                  <c:v>0.4159886142504462</c:v>
                </c:pt>
                <c:pt idx="1323" formatCode="0.0%">
                  <c:v>0.44405252094393999</c:v>
                </c:pt>
                <c:pt idx="1324" formatCode="0.0%">
                  <c:v>0.45056439871507764</c:v>
                </c:pt>
                <c:pt idx="1325" formatCode="0.0%">
                  <c:v>0.45056439871507764</c:v>
                </c:pt>
                <c:pt idx="1326" formatCode="0.0%">
                  <c:v>0.45056439871507764</c:v>
                </c:pt>
                <c:pt idx="1327" formatCode="0.0%">
                  <c:v>0.45676716020003766</c:v>
                </c:pt>
                <c:pt idx="1328" formatCode="0.0%">
                  <c:v>0.45144396490949218</c:v>
                </c:pt>
                <c:pt idx="1329" formatCode="0.0%">
                  <c:v>0.45474563439869908</c:v>
                </c:pt>
                <c:pt idx="1330" formatCode="0.0%">
                  <c:v>0.44171532459700447</c:v>
                </c:pt>
                <c:pt idx="1331" formatCode="0.0%">
                  <c:v>0.44733546097328486</c:v>
                </c:pt>
                <c:pt idx="1332" formatCode="0.0%">
                  <c:v>0.44733546097328486</c:v>
                </c:pt>
                <c:pt idx="1333" formatCode="0.0%">
                  <c:v>0.44733546097328486</c:v>
                </c:pt>
                <c:pt idx="1334" formatCode="0.0%">
                  <c:v>0.44042994529590346</c:v>
                </c:pt>
                <c:pt idx="1335" formatCode="0.0%">
                  <c:v>0.44341777707490565</c:v>
                </c:pt>
                <c:pt idx="1336" formatCode="0.0%">
                  <c:v>0.43835324738175385</c:v>
                </c:pt>
                <c:pt idx="1337" formatCode="0.0%">
                  <c:v>0.44409109831736143</c:v>
                </c:pt>
                <c:pt idx="1338" formatCode="0.0%">
                  <c:v>0.45617223465475459</c:v>
                </c:pt>
                <c:pt idx="1339" formatCode="0.0%">
                  <c:v>0.45617223465475459</c:v>
                </c:pt>
                <c:pt idx="1340" formatCode="0.0%">
                  <c:v>0.45617223465475459</c:v>
                </c:pt>
                <c:pt idx="1341" formatCode="0.0%">
                  <c:v>0.45428980516035922</c:v>
                </c:pt>
                <c:pt idx="1342" formatCode="0.0%">
                  <c:v>0.42509234877740054</c:v>
                </c:pt>
                <c:pt idx="1343" formatCode="0.0%">
                  <c:v>0.40773994148478609</c:v>
                </c:pt>
                <c:pt idx="1344" formatCode="0.0%">
                  <c:v>0.40741203347083088</c:v>
                </c:pt>
                <c:pt idx="1345" formatCode="0.0%">
                  <c:v>0.38045148309849197</c:v>
                </c:pt>
                <c:pt idx="1346" formatCode="0.0%">
                  <c:v>0.38045148309849197</c:v>
                </c:pt>
                <c:pt idx="1347" formatCode="0.0%">
                  <c:v>0.38045148309849197</c:v>
                </c:pt>
                <c:pt idx="1348" formatCode="0.0%">
                  <c:v>0.3999012266485204</c:v>
                </c:pt>
                <c:pt idx="1349" formatCode="0.0%">
                  <c:v>0.40855676745017944</c:v>
                </c:pt>
                <c:pt idx="1350" formatCode="0.0%">
                  <c:v>0.42933463789484622</c:v>
                </c:pt>
                <c:pt idx="1351" formatCode="0.0%">
                  <c:v>0.44344790642447324</c:v>
                </c:pt>
                <c:pt idx="1352" formatCode="0.0%">
                  <c:v>0.44463297580050548</c:v>
                </c:pt>
                <c:pt idx="1353" formatCode="0.0%">
                  <c:v>0.44463297580050548</c:v>
                </c:pt>
                <c:pt idx="1354" formatCode="0.0%">
                  <c:v>0.44463297580050548</c:v>
                </c:pt>
                <c:pt idx="1355" formatCode="0.0%">
                  <c:v>0.43717472013288783</c:v>
                </c:pt>
                <c:pt idx="1356" formatCode="0.0%">
                  <c:v>0.43784028311849821</c:v>
                </c:pt>
                <c:pt idx="1357" formatCode="0.0%">
                  <c:v>0.43315408502104302</c:v>
                </c:pt>
                <c:pt idx="1358" formatCode="0.0%">
                  <c:v>0.46293074785373733</c:v>
                </c:pt>
                <c:pt idx="1359" formatCode="0.0%">
                  <c:v>0.45578276394070938</c:v>
                </c:pt>
                <c:pt idx="1360" formatCode="0.0%">
                  <c:v>0.45578276394070938</c:v>
                </c:pt>
                <c:pt idx="1361" formatCode="0.0%">
                  <c:v>0.45578276394070938</c:v>
                </c:pt>
                <c:pt idx="1362" formatCode="0.0%">
                  <c:v>0.46059555821036752</c:v>
                </c:pt>
                <c:pt idx="1363" formatCode="0.0%">
                  <c:v>0.46758945543885827</c:v>
                </c:pt>
                <c:pt idx="1364" formatCode="0.0%">
                  <c:v>0.46744393326017103</c:v>
                </c:pt>
                <c:pt idx="1365" formatCode="0.0%">
                  <c:v>0.48044746380031739</c:v>
                </c:pt>
                <c:pt idx="1366" formatCode="0.0%">
                  <c:v>0.47932023950530012</c:v>
                </c:pt>
                <c:pt idx="1367" formatCode="0.0%">
                  <c:v>0.47932023950530012</c:v>
                </c:pt>
                <c:pt idx="1368" formatCode="0.0%">
                  <c:v>0.47932023950530012</c:v>
                </c:pt>
                <c:pt idx="1369" formatCode="0.0%">
                  <c:v>0.48000685347497951</c:v>
                </c:pt>
                <c:pt idx="1370" formatCode="0.0%">
                  <c:v>0.47719963082553252</c:v>
                </c:pt>
                <c:pt idx="1371" formatCode="0.0%">
                  <c:v>0.48285459360791066</c:v>
                </c:pt>
                <c:pt idx="1372" formatCode="0.0%">
                  <c:v>0.48241635852651543</c:v>
                </c:pt>
                <c:pt idx="1373" formatCode="0.0%">
                  <c:v>0.49834736195760881</c:v>
                </c:pt>
                <c:pt idx="1374" formatCode="0.0%">
                  <c:v>0.49834736195760881</c:v>
                </c:pt>
                <c:pt idx="1375" formatCode="0.0%">
                  <c:v>0.49834736195760881</c:v>
                </c:pt>
                <c:pt idx="1376" formatCode="0.0%">
                  <c:v>0.48950687601254972</c:v>
                </c:pt>
                <c:pt idx="1377" formatCode="0.0%">
                  <c:v>0.50032881356617598</c:v>
                </c:pt>
                <c:pt idx="1378" formatCode="0.0%">
                  <c:v>0.51022221828515202</c:v>
                </c:pt>
                <c:pt idx="1379" formatCode="0.0%">
                  <c:v>0.51432386265759078</c:v>
                </c:pt>
                <c:pt idx="1380" formatCode="0.0%">
                  <c:v>0.51709291843221961</c:v>
                </c:pt>
                <c:pt idx="1381" formatCode="0.0%">
                  <c:v>0.51709291843221961</c:v>
                </c:pt>
                <c:pt idx="1382" formatCode="0.0%">
                  <c:v>0.51709291843221961</c:v>
                </c:pt>
                <c:pt idx="1383" formatCode="0.0%">
                  <c:v>0.52992595025316913</c:v>
                </c:pt>
                <c:pt idx="1384" formatCode="0.0%">
                  <c:v>0.51771541741759675</c:v>
                </c:pt>
                <c:pt idx="1385" formatCode="0.0%">
                  <c:v>0.51809396652874651</c:v>
                </c:pt>
                <c:pt idx="1386" formatCode="0.0%">
                  <c:v>0.52466404284349633</c:v>
                </c:pt>
                <c:pt idx="1387" formatCode="0.0%">
                  <c:v>0.53280545715732675</c:v>
                </c:pt>
                <c:pt idx="1388" formatCode="0.0%">
                  <c:v>0.53280545715732675</c:v>
                </c:pt>
                <c:pt idx="1389" formatCode="0.0%">
                  <c:v>0.53280545715732675</c:v>
                </c:pt>
                <c:pt idx="1390" formatCode="0.0%">
                  <c:v>0.53693371083677055</c:v>
                </c:pt>
                <c:pt idx="1391" formatCode="0.0%">
                  <c:v>0.53751316089968926</c:v>
                </c:pt>
                <c:pt idx="1392" formatCode="0.0%">
                  <c:v>0.52375898305623703</c:v>
                </c:pt>
                <c:pt idx="1393" formatCode="0.0%">
                  <c:v>0.5278596679713411</c:v>
                </c:pt>
                <c:pt idx="1394" formatCode="0.0%">
                  <c:v>0.52872339115232736</c:v>
                </c:pt>
                <c:pt idx="1395" formatCode="0.0%">
                  <c:v>0.52872339115232736</c:v>
                </c:pt>
                <c:pt idx="1396" formatCode="0.0%">
                  <c:v>0.52872339115232736</c:v>
                </c:pt>
                <c:pt idx="1397" formatCode="0.0%">
                  <c:v>0.53223512910716975</c:v>
                </c:pt>
                <c:pt idx="1398" formatCode="0.0%">
                  <c:v>0.54255250903991314</c:v>
                </c:pt>
                <c:pt idx="1399" formatCode="0.0%">
                  <c:v>0.52477699290826252</c:v>
                </c:pt>
                <c:pt idx="1400" formatCode="0.0%">
                  <c:v>0.49152969947065911</c:v>
                </c:pt>
                <c:pt idx="1401" formatCode="0.0%">
                  <c:v>0.50094331350346633</c:v>
                </c:pt>
                <c:pt idx="1402" formatCode="0.0%">
                  <c:v>0.50094331350346633</c:v>
                </c:pt>
                <c:pt idx="1403" formatCode="0.0%">
                  <c:v>0.50094331350346633</c:v>
                </c:pt>
                <c:pt idx="1404" formatCode="0.0%">
                  <c:v>0.49270736256938763</c:v>
                </c:pt>
                <c:pt idx="1405" formatCode="0.0%">
                  <c:v>0.5088041223062385</c:v>
                </c:pt>
                <c:pt idx="1406" formatCode="0.0%">
                  <c:v>0.55442640675464927</c:v>
                </c:pt>
                <c:pt idx="1407" formatCode="0.0%">
                  <c:v>0.56759942147746723</c:v>
                </c:pt>
                <c:pt idx="1408" formatCode="0.0%">
                  <c:v>0.57743703908755317</c:v>
                </c:pt>
                <c:pt idx="1409" formatCode="0.0%">
                  <c:v>0.57743703908755317</c:v>
                </c:pt>
                <c:pt idx="1410" formatCode="0.0%">
                  <c:v>0.57743703908755317</c:v>
                </c:pt>
                <c:pt idx="1411" formatCode="0.0%">
                  <c:v>0.59277894826170863</c:v>
                </c:pt>
                <c:pt idx="1412" formatCode="0.0%">
                  <c:v>0.5929052813967729</c:v>
                </c:pt>
                <c:pt idx="1413" formatCode="0.0%">
                  <c:v>0.5910652927290968</c:v>
                </c:pt>
                <c:pt idx="1414" formatCode="0.0%">
                  <c:v>0.58549452105042266</c:v>
                </c:pt>
                <c:pt idx="1415" formatCode="0.0%">
                  <c:v>0.5646844982389726</c:v>
                </c:pt>
                <c:pt idx="1416" formatCode="0.0%">
                  <c:v>0.5646844982389726</c:v>
                </c:pt>
                <c:pt idx="1417" formatCode="0.0%">
                  <c:v>0.5646844982389726</c:v>
                </c:pt>
                <c:pt idx="1418" formatCode="0.0%">
                  <c:v>0.56369162357365721</c:v>
                </c:pt>
                <c:pt idx="1419" formatCode="0.0%">
                  <c:v>0.57744727998658396</c:v>
                </c:pt>
                <c:pt idx="1420" formatCode="0.0%">
                  <c:v>0.5838865511022775</c:v>
                </c:pt>
                <c:pt idx="1421" formatCode="0.0%">
                  <c:v>0.58624009614485828</c:v>
                </c:pt>
                <c:pt idx="1422" formatCode="0.0%">
                  <c:v>0.6040497474531159</c:v>
                </c:pt>
                <c:pt idx="1423" formatCode="0.0%">
                  <c:v>0.6040497474531159</c:v>
                </c:pt>
                <c:pt idx="1424" formatCode="0.0%">
                  <c:v>0.6040497474531159</c:v>
                </c:pt>
                <c:pt idx="1425" formatCode="0.0%">
                  <c:v>0.59606916354413897</c:v>
                </c:pt>
                <c:pt idx="1426" formatCode="0.0%">
                  <c:v>0.60525635631665298</c:v>
                </c:pt>
                <c:pt idx="1427" formatCode="0.0%">
                  <c:v>0.58636911674915548</c:v>
                </c:pt>
                <c:pt idx="1428" formatCode="0.0%">
                  <c:v>0.58921030109840733</c:v>
                </c:pt>
                <c:pt idx="1429" formatCode="0.0%">
                  <c:v>0.59941472089392422</c:v>
                </c:pt>
                <c:pt idx="1430" formatCode="0.0%">
                  <c:v>0.59941472089392422</c:v>
                </c:pt>
                <c:pt idx="1431" formatCode="0.0%">
                  <c:v>0.59941472089392422</c:v>
                </c:pt>
                <c:pt idx="1432" formatCode="0.0%">
                  <c:v>0.62717189058239742</c:v>
                </c:pt>
                <c:pt idx="1433" formatCode="0.0%">
                  <c:v>0.63289149551506452</c:v>
                </c:pt>
                <c:pt idx="1434" formatCode="0.0%">
                  <c:v>0.64981275967729146</c:v>
                </c:pt>
                <c:pt idx="1435" formatCode="0.0%">
                  <c:v>0.64326065574093971</c:v>
                </c:pt>
                <c:pt idx="1436" formatCode="0.0%">
                  <c:v>0.65467885447943019</c:v>
                </c:pt>
                <c:pt idx="1437" formatCode="0.0%">
                  <c:v>0.65467885447943019</c:v>
                </c:pt>
                <c:pt idx="1438" formatCode="0.0%">
                  <c:v>0.65467885447943019</c:v>
                </c:pt>
                <c:pt idx="1439" formatCode="0.0%">
                  <c:v>0.64382649749385368</c:v>
                </c:pt>
                <c:pt idx="1440" formatCode="0.0%">
                  <c:v>0.64985715455895188</c:v>
                </c:pt>
                <c:pt idx="1441" formatCode="0.0%">
                  <c:v>0.67393044969856108</c:v>
                </c:pt>
                <c:pt idx="1442" formatCode="0.0%">
                  <c:v>0.67016922768747034</c:v>
                </c:pt>
                <c:pt idx="1443" formatCode="0.0%">
                  <c:v>0.66542171736224698</c:v>
                </c:pt>
                <c:pt idx="1444" formatCode="0.0%">
                  <c:v>0.66542171736224698</c:v>
                </c:pt>
                <c:pt idx="1445" formatCode="0.0%">
                  <c:v>0.66542171736224698</c:v>
                </c:pt>
                <c:pt idx="1446" formatCode="0.0%">
                  <c:v>0.67780742137946282</c:v>
                </c:pt>
                <c:pt idx="1447" formatCode="0.0%">
                  <c:v>0.67405939149470984</c:v>
                </c:pt>
                <c:pt idx="1448" formatCode="0.0%">
                  <c:v>0.63656234325756711</c:v>
                </c:pt>
                <c:pt idx="1449" formatCode="0.0%">
                  <c:v>0.64185457755214004</c:v>
                </c:pt>
                <c:pt idx="1450" formatCode="0.0%">
                  <c:v>0.64606373980888832</c:v>
                </c:pt>
                <c:pt idx="1451" formatCode="0.0%">
                  <c:v>0.64606373980888832</c:v>
                </c:pt>
                <c:pt idx="1452" formatCode="0.0%">
                  <c:v>0.64606373980888832</c:v>
                </c:pt>
                <c:pt idx="1453" formatCode="0.0%">
                  <c:v>0.66183602318809531</c:v>
                </c:pt>
                <c:pt idx="1454" formatCode="0.0%">
                  <c:v>0.67866661138204021</c:v>
                </c:pt>
                <c:pt idx="1455" formatCode="0.0%">
                  <c:v>0.6789091406909159</c:v>
                </c:pt>
                <c:pt idx="1456" formatCode="0.0%">
                  <c:v>0.67405344516623644</c:v>
                </c:pt>
                <c:pt idx="1457" formatCode="0.0%">
                  <c:v>0.65709158955292335</c:v>
                </c:pt>
                <c:pt idx="1458" formatCode="0.0%">
                  <c:v>0.65709158955292335</c:v>
                </c:pt>
                <c:pt idx="1459" formatCode="0.0%">
                  <c:v>0.65709158955292335</c:v>
                </c:pt>
                <c:pt idx="1460" formatCode="0.0%">
                  <c:v>0.64594029948505238</c:v>
                </c:pt>
                <c:pt idx="1461" formatCode="0.0%">
                  <c:v>0.6378250914773147</c:v>
                </c:pt>
                <c:pt idx="1462" formatCode="0.0%">
                  <c:v>0.63800606498643619</c:v>
                </c:pt>
                <c:pt idx="1463" formatCode="0.0%">
                  <c:v>0.64904610768643578</c:v>
                </c:pt>
                <c:pt idx="1464" formatCode="0.0%">
                  <c:v>0.66545283486222984</c:v>
                </c:pt>
                <c:pt idx="1465" formatCode="0.0%">
                  <c:v>0.66545283486222984</c:v>
                </c:pt>
                <c:pt idx="1466" formatCode="0.0%">
                  <c:v>0.66545283486222984</c:v>
                </c:pt>
                <c:pt idx="1467" formatCode="0.0%">
                  <c:v>0.66899769813291921</c:v>
                </c:pt>
                <c:pt idx="1468" formatCode="0.0%">
                  <c:v>0.64955829262233811</c:v>
                </c:pt>
                <c:pt idx="1469" formatCode="0.0%">
                  <c:v>0.65912430796575538</c:v>
                </c:pt>
                <c:pt idx="1470" formatCode="0.0%">
                  <c:v>0.65926359472229679</c:v>
                </c:pt>
                <c:pt idx="1471" formatCode="0.0%">
                  <c:v>0.64440860769238839</c:v>
                </c:pt>
                <c:pt idx="1472" formatCode="0.0%">
                  <c:v>0.64440860769238839</c:v>
                </c:pt>
                <c:pt idx="1473" formatCode="0.0%">
                  <c:v>0.64440860769238839</c:v>
                </c:pt>
                <c:pt idx="1474" formatCode="0.0%">
                  <c:v>0.63991775665234774</c:v>
                </c:pt>
                <c:pt idx="1475" formatCode="0.0%">
                  <c:v>0.62263844902958676</c:v>
                </c:pt>
                <c:pt idx="1476" formatCode="0.0%">
                  <c:v>0.65254021891881053</c:v>
                </c:pt>
                <c:pt idx="1477" formatCode="0.0%">
                  <c:v>0.64956897967520266</c:v>
                </c:pt>
                <c:pt idx="1478" formatCode="0.0%">
                  <c:v>0.66662139203527204</c:v>
                </c:pt>
                <c:pt idx="1479" formatCode="0.0%">
                  <c:v>0.66662139203527204</c:v>
                </c:pt>
                <c:pt idx="1480" formatCode="0.0%">
                  <c:v>0.66662139203527204</c:v>
                </c:pt>
                <c:pt idx="1481" formatCode="0.0%">
                  <c:v>0.6562457728365686</c:v>
                </c:pt>
                <c:pt idx="1482" formatCode="0.0%">
                  <c:v>0.66618342617043569</c:v>
                </c:pt>
                <c:pt idx="1483" formatCode="0.0%">
                  <c:v>0.68486458276906659</c:v>
                </c:pt>
                <c:pt idx="1484" formatCode="0.0%">
                  <c:v>0.69355221247490617</c:v>
                </c:pt>
                <c:pt idx="1485" formatCode="0.0%">
                  <c:v>0.67473811616273138</c:v>
                </c:pt>
                <c:pt idx="1486" formatCode="0.0%">
                  <c:v>0.67473811616273138</c:v>
                </c:pt>
                <c:pt idx="1487" formatCode="0.0%">
                  <c:v>0.67473811616273138</c:v>
                </c:pt>
                <c:pt idx="1488" formatCode="0.0%">
                  <c:v>0.63463284576911316</c:v>
                </c:pt>
                <c:pt idx="1489" formatCode="0.0%">
                  <c:v>0.67280476611735029</c:v>
                </c:pt>
                <c:pt idx="1490" formatCode="0.0%">
                  <c:v>0.66830497529552246</c:v>
                </c:pt>
                <c:pt idx="1491" formatCode="0.0%">
                  <c:v>0.67376390800962727</c:v>
                </c:pt>
                <c:pt idx="1492" formatCode="0.0%">
                  <c:v>0.67474607242866513</c:v>
                </c:pt>
                <c:pt idx="1493" formatCode="0.0%">
                  <c:v>0.67474607242866513</c:v>
                </c:pt>
                <c:pt idx="1494" formatCode="0.0%">
                  <c:v>0.67474607242866513</c:v>
                </c:pt>
                <c:pt idx="1495" formatCode="0.0%">
                  <c:v>0.66371511695132313</c:v>
                </c:pt>
                <c:pt idx="1496" formatCode="0.0%">
                  <c:v>0.6745621115838446</c:v>
                </c:pt>
                <c:pt idx="1497" formatCode="0.0%">
                  <c:v>0.67399967454498355</c:v>
                </c:pt>
                <c:pt idx="1498" formatCode="0.0%">
                  <c:v>0.69405063414164347</c:v>
                </c:pt>
                <c:pt idx="1499" formatCode="0.0%">
                  <c:v>0.68300187269756918</c:v>
                </c:pt>
                <c:pt idx="1500" formatCode="0.0%">
                  <c:v>0.68300187269756918</c:v>
                </c:pt>
                <c:pt idx="1501" formatCode="0.0%">
                  <c:v>0.68300187269756918</c:v>
                </c:pt>
                <c:pt idx="1502" formatCode="0.0%">
                  <c:v>0.70016539744646966</c:v>
                </c:pt>
                <c:pt idx="1503" formatCode="0.0%">
                  <c:v>0.69139547810503221</c:v>
                </c:pt>
                <c:pt idx="1504" formatCode="0.0%">
                  <c:v>0.6868763526319458</c:v>
                </c:pt>
                <c:pt idx="1505" formatCode="0.0%">
                  <c:v>0.69824046588733357</c:v>
                </c:pt>
                <c:pt idx="1506" formatCode="0.0%">
                  <c:v>0.69239511080631388</c:v>
                </c:pt>
                <c:pt idx="1507" formatCode="0.0%">
                  <c:v>0.69239511080631388</c:v>
                </c:pt>
                <c:pt idx="1508" formatCode="0.0%">
                  <c:v>0.69239511080631388</c:v>
                </c:pt>
                <c:pt idx="1509" formatCode="0.0%">
                  <c:v>0.69999329970037705</c:v>
                </c:pt>
                <c:pt idx="1510" formatCode="0.0%">
                  <c:v>0.70304886026858726</c:v>
                </c:pt>
                <c:pt idx="1511" formatCode="0.0%">
                  <c:v>0.70693077906638424</c:v>
                </c:pt>
                <c:pt idx="1512" formatCode="0.0%">
                  <c:v>0.69028498352845358</c:v>
                </c:pt>
                <c:pt idx="1513" formatCode="0.0%">
                  <c:v>0.66867269081925085</c:v>
                </c:pt>
                <c:pt idx="1514" formatCode="0.0%">
                  <c:v>0.66867269081925085</c:v>
                </c:pt>
                <c:pt idx="1515" formatCode="0.0%">
                  <c:v>0.66867269081925085</c:v>
                </c:pt>
                <c:pt idx="1516" formatCode="0.0%">
                  <c:v>0.65056070451598091</c:v>
                </c:pt>
                <c:pt idx="1517" formatCode="0.0%">
                  <c:v>0.62858254302213656</c:v>
                </c:pt>
                <c:pt idx="1518" formatCode="0.0%">
                  <c:v>0.63693397148453923</c:v>
                </c:pt>
                <c:pt idx="1519" formatCode="0.0%">
                  <c:v>0.6145337302922087</c:v>
                </c:pt>
                <c:pt idx="1520" formatCode="0.0%">
                  <c:v>0.6300189360871673</c:v>
                </c:pt>
                <c:pt idx="1521" formatCode="0.0%">
                  <c:v>0.6300189360871673</c:v>
                </c:pt>
                <c:pt idx="1522" formatCode="0.0%">
                  <c:v>0.6300189360871673</c:v>
                </c:pt>
                <c:pt idx="1523" formatCode="0.0%">
                  <c:v>0.59236505342634527</c:v>
                </c:pt>
                <c:pt idx="1524" formatCode="0.0%">
                  <c:v>0.5752318853883307</c:v>
                </c:pt>
                <c:pt idx="1525" formatCode="0.0%">
                  <c:v>0.56771539632518997</c:v>
                </c:pt>
                <c:pt idx="1526" formatCode="0.0%">
                  <c:v>0.53195929676244957</c:v>
                </c:pt>
                <c:pt idx="1527" formatCode="0.0%">
                  <c:v>0.5238245529222525</c:v>
                </c:pt>
                <c:pt idx="1528" formatCode="0.0%">
                  <c:v>0.5238245529222525</c:v>
                </c:pt>
                <c:pt idx="1529" formatCode="0.0%">
                  <c:v>0.5238245529222525</c:v>
                </c:pt>
                <c:pt idx="1530" formatCode="0.0%">
                  <c:v>0.47613092240773969</c:v>
                </c:pt>
                <c:pt idx="1531" formatCode="0.0%">
                  <c:v>0.46001151140344321</c:v>
                </c:pt>
                <c:pt idx="1532" formatCode="0.0%">
                  <c:v>0.47786471688381255</c:v>
                </c:pt>
                <c:pt idx="1533" formatCode="0.0%">
                  <c:v>0.461920278763707</c:v>
                </c:pt>
                <c:pt idx="1534" formatCode="0.0%">
                  <c:v>0.49192730748692981</c:v>
                </c:pt>
                <c:pt idx="1535" formatCode="0.0%">
                  <c:v>0.49192730748692981</c:v>
                </c:pt>
                <c:pt idx="1536" formatCode="0.0%">
                  <c:v>0.49192730748692981</c:v>
                </c:pt>
                <c:pt idx="1537" formatCode="0.0%">
                  <c:v>0.49308954297317004</c:v>
                </c:pt>
                <c:pt idx="1538" formatCode="0.0%">
                  <c:v>0.47656201253934027</c:v>
                </c:pt>
                <c:pt idx="1539" formatCode="0.0%">
                  <c:v>0.49968168056531992</c:v>
                </c:pt>
                <c:pt idx="1540" formatCode="0.0%">
                  <c:v>0.50095614607017891</c:v>
                </c:pt>
                <c:pt idx="1541" formatCode="0.0%">
                  <c:v>0.50821822010904527</c:v>
                </c:pt>
                <c:pt idx="1542" formatCode="0.0%">
                  <c:v>0.50821822010904527</c:v>
                </c:pt>
                <c:pt idx="1543" formatCode="0.0%">
                  <c:v>0.50821822010904527</c:v>
                </c:pt>
                <c:pt idx="1544" formatCode="0.0%">
                  <c:v>0.53455183669390183</c:v>
                </c:pt>
                <c:pt idx="1545" formatCode="0.0%">
                  <c:v>0.54021330436216142</c:v>
                </c:pt>
                <c:pt idx="1546" formatCode="0.0%">
                  <c:v>0.51492413063760722</c:v>
                </c:pt>
                <c:pt idx="1547" formatCode="0.0%">
                  <c:v>0.50566634961290957</c:v>
                </c:pt>
                <c:pt idx="1548" formatCode="0.0%">
                  <c:v>0.47142438241420648</c:v>
                </c:pt>
                <c:pt idx="1549" formatCode="0.0%">
                  <c:v>0.47142438241420648</c:v>
                </c:pt>
                <c:pt idx="1550" formatCode="0.0%">
                  <c:v>0.47142438241420648</c:v>
                </c:pt>
                <c:pt idx="1551" formatCode="0.0%">
                  <c:v>0.46355820610886556</c:v>
                </c:pt>
                <c:pt idx="1552" formatCode="0.0%">
                  <c:v>0.47740473075230083</c:v>
                </c:pt>
                <c:pt idx="1553" formatCode="0.0%">
                  <c:v>0.47980440303463751</c:v>
                </c:pt>
                <c:pt idx="1554" formatCode="0.0%">
                  <c:v>0.38431359781538277</c:v>
                </c:pt>
                <c:pt idx="1555" formatCode="0.0%">
                  <c:v>0.32580923749830248</c:v>
                </c:pt>
                <c:pt idx="1556" formatCode="0.0%">
                  <c:v>0.32580923749830248</c:v>
                </c:pt>
                <c:pt idx="1557" formatCode="0.0%">
                  <c:v>0.32580923749830248</c:v>
                </c:pt>
                <c:pt idx="1558" formatCode="0.0%">
                  <c:v>0.30600112744846342</c:v>
                </c:pt>
                <c:pt idx="1559" formatCode="0.0%">
                  <c:v>0.30217536701887693</c:v>
                </c:pt>
                <c:pt idx="1560" formatCode="0.0%">
                  <c:v>0.38712206129156695</c:v>
                </c:pt>
                <c:pt idx="1561" formatCode="0.0%">
                  <c:v>0.35113219491429137</c:v>
                </c:pt>
                <c:pt idx="1562" formatCode="0.0%">
                  <c:v>0.35585104224478015</c:v>
                </c:pt>
                <c:pt idx="1563" formatCode="0.0%">
                  <c:v>0.35585104224478015</c:v>
                </c:pt>
                <c:pt idx="1564" formatCode="0.0%">
                  <c:v>0.35585104224478015</c:v>
                </c:pt>
                <c:pt idx="1565" formatCode="0.0%">
                  <c:v>0.36492717239336031</c:v>
                </c:pt>
                <c:pt idx="1566" formatCode="0.0%">
                  <c:v>0.37466171219434358</c:v>
                </c:pt>
                <c:pt idx="1567" formatCode="0.0%">
                  <c:v>0.33774798175781656</c:v>
                </c:pt>
                <c:pt idx="1568" formatCode="0.0%">
                  <c:v>0.34294385755490908</c:v>
                </c:pt>
                <c:pt idx="1569" formatCode="0.0%">
                  <c:v>0.34372166403026144</c:v>
                </c:pt>
                <c:pt idx="1570" formatCode="0.0%">
                  <c:v>0.34372166403026144</c:v>
                </c:pt>
                <c:pt idx="1571" formatCode="0.0%">
                  <c:v>0.34372166403026144</c:v>
                </c:pt>
                <c:pt idx="1572" formatCode="0.0%">
                  <c:v>0.30490012779180686</c:v>
                </c:pt>
                <c:pt idx="1573" formatCode="0.0%">
                  <c:v>0.33072483430468508</c:v>
                </c:pt>
                <c:pt idx="1574" formatCode="0.0%">
                  <c:v>0.37634313088755078</c:v>
                </c:pt>
                <c:pt idx="1575" formatCode="0.0%">
                  <c:v>0.40272279009535966</c:v>
                </c:pt>
                <c:pt idx="1576" formatCode="0.0%">
                  <c:v>0.42095446320097096</c:v>
                </c:pt>
                <c:pt idx="1577" formatCode="0.0%">
                  <c:v>0.42095446320097096</c:v>
                </c:pt>
                <c:pt idx="1578" formatCode="0.0%">
                  <c:v>0.42095446320097096</c:v>
                </c:pt>
                <c:pt idx="1579" formatCode="0.0%">
                  <c:v>0.42076944408996098</c:v>
                </c:pt>
                <c:pt idx="1580" formatCode="0.0%">
                  <c:v>0.42717966733629481</c:v>
                </c:pt>
                <c:pt idx="1581" formatCode="0.0%">
                  <c:v>0.43363684090000393</c:v>
                </c:pt>
                <c:pt idx="1582" formatCode="0.0%">
                  <c:v>0.45679162183040289</c:v>
                </c:pt>
                <c:pt idx="1583" formatCode="0.0%">
                  <c:v>0.47164943629331757</c:v>
                </c:pt>
                <c:pt idx="1584" formatCode="0.0%">
                  <c:v>0.47164943629331757</c:v>
                </c:pt>
                <c:pt idx="1585" formatCode="0.0%">
                  <c:v>0.47164943629331757</c:v>
                </c:pt>
                <c:pt idx="1586" formatCode="0.0%">
                  <c:v>0.46978772971779337</c:v>
                </c:pt>
                <c:pt idx="1587" formatCode="0.0%">
                  <c:v>0.45972898013917385</c:v>
                </c:pt>
                <c:pt idx="1588" formatCode="0.0%">
                  <c:v>0.45785231702864848</c:v>
                </c:pt>
                <c:pt idx="1589" formatCode="0.0%">
                  <c:v>0.47561026608979062</c:v>
                </c:pt>
                <c:pt idx="1590" formatCode="0.0%">
                  <c:v>0.47894940090470839</c:v>
                </c:pt>
                <c:pt idx="1591" formatCode="0.0%">
                  <c:v>0.47894940090470839</c:v>
                </c:pt>
                <c:pt idx="1592" formatCode="0.0%">
                  <c:v>0.47894940090470839</c:v>
                </c:pt>
                <c:pt idx="1593" formatCode="0.0%">
                  <c:v>0.54432544154782081</c:v>
                </c:pt>
                <c:pt idx="1594" formatCode="0.0%">
                  <c:v>0.55844394906876116</c:v>
                </c:pt>
                <c:pt idx="1595" formatCode="0.0%">
                  <c:v>0.5644611097742791</c:v>
                </c:pt>
                <c:pt idx="1596" formatCode="0.0%">
                  <c:v>0.56636208099787722</c:v>
                </c:pt>
                <c:pt idx="1597" formatCode="0.0%">
                  <c:v>0.57721625600884974</c:v>
                </c:pt>
                <c:pt idx="1598" formatCode="0.0%">
                  <c:v>0.57721625600884974</c:v>
                </c:pt>
                <c:pt idx="1599" formatCode="0.0%">
                  <c:v>0.57721625600884974</c:v>
                </c:pt>
                <c:pt idx="1600" formatCode="0.0%">
                  <c:v>0.56651692249808827</c:v>
                </c:pt>
                <c:pt idx="1601" formatCode="0.0%">
                  <c:v>0.5605566093098594</c:v>
                </c:pt>
                <c:pt idx="1602" formatCode="0.0%">
                  <c:v>0.53856810810812217</c:v>
                </c:pt>
                <c:pt idx="1603" formatCode="0.0%">
                  <c:v>0.54536233763149733</c:v>
                </c:pt>
                <c:pt idx="1604" formatCode="0.0%">
                  <c:v>0.52741754570768618</c:v>
                </c:pt>
                <c:pt idx="1605" formatCode="0.0%">
                  <c:v>0.52741754570768618</c:v>
                </c:pt>
                <c:pt idx="1606" formatCode="0.0%">
                  <c:v>0.52741754570768618</c:v>
                </c:pt>
                <c:pt idx="1607" formatCode="0.0%">
                  <c:v>0.52586109548730431</c:v>
                </c:pt>
                <c:pt idx="1608" formatCode="0.0%">
                  <c:v>0.55639215586970858</c:v>
                </c:pt>
                <c:pt idx="1609" formatCode="0.0%">
                  <c:v>0.55575743970506064</c:v>
                </c:pt>
                <c:pt idx="1610" formatCode="0.0%">
                  <c:v>0.55607237133668519</c:v>
                </c:pt>
                <c:pt idx="1611" formatCode="0.0%">
                  <c:v>0.55313681677885507</c:v>
                </c:pt>
                <c:pt idx="1612" formatCode="0.0%">
                  <c:v>0.55313681677885507</c:v>
                </c:pt>
                <c:pt idx="1613" formatCode="0.0%">
                  <c:v>0.55313681677885507</c:v>
                </c:pt>
                <c:pt idx="1614" formatCode="0.0%">
                  <c:v>0.54977959326833115</c:v>
                </c:pt>
                <c:pt idx="1615" formatCode="0.0%">
                  <c:v>0.56223468662802811</c:v>
                </c:pt>
                <c:pt idx="1616" formatCode="0.0%">
                  <c:v>0.56521524169148307</c:v>
                </c:pt>
                <c:pt idx="1617" formatCode="0.0%">
                  <c:v>0.55508584363197966</c:v>
                </c:pt>
                <c:pt idx="1618" formatCode="0.0%">
                  <c:v>0.57312567509811285</c:v>
                </c:pt>
                <c:pt idx="1619" formatCode="0.0%">
                  <c:v>0.57312567509811285</c:v>
                </c:pt>
                <c:pt idx="1620" formatCode="0.0%">
                  <c:v>0.57312567509811285</c:v>
                </c:pt>
                <c:pt idx="1621" formatCode="0.0%">
                  <c:v>0.57377142543402726</c:v>
                </c:pt>
                <c:pt idx="1622" formatCode="0.0%">
                  <c:v>0.5777275483898987</c:v>
                </c:pt>
                <c:pt idx="1623" formatCode="0.0%">
                  <c:v>0.56900794459342419</c:v>
                </c:pt>
                <c:pt idx="1624" formatCode="0.0%">
                  <c:v>0.55799527098023416</c:v>
                </c:pt>
                <c:pt idx="1625" formatCode="0.0%">
                  <c:v>0.54368417549054471</c:v>
                </c:pt>
                <c:pt idx="1626" formatCode="0.0%">
                  <c:v>0.54368417549054471</c:v>
                </c:pt>
                <c:pt idx="1627" formatCode="0.0%">
                  <c:v>0.54368417549054471</c:v>
                </c:pt>
                <c:pt idx="1628" formatCode="0.0%">
                  <c:v>0.55325822732930963</c:v>
                </c:pt>
                <c:pt idx="1629" formatCode="0.0%">
                  <c:v>0.55028553833290406</c:v>
                </c:pt>
                <c:pt idx="1630" formatCode="0.0%">
                  <c:v>0.55033498700878281</c:v>
                </c:pt>
                <c:pt idx="1631" formatCode="0.0%">
                  <c:v>0.54868005353991067</c:v>
                </c:pt>
                <c:pt idx="1632" formatCode="0.0%">
                  <c:v>0.53991475353854723</c:v>
                </c:pt>
                <c:pt idx="1633" formatCode="0.0%">
                  <c:v>0.53991475353854723</c:v>
                </c:pt>
                <c:pt idx="1634" formatCode="0.0%">
                  <c:v>0.53991475353854723</c:v>
                </c:pt>
                <c:pt idx="1635" formatCode="0.0%">
                  <c:v>0.54685054411133793</c:v>
                </c:pt>
                <c:pt idx="1636" formatCode="0.0%">
                  <c:v>0.56044564771937788</c:v>
                </c:pt>
                <c:pt idx="1637" formatCode="0.0%">
                  <c:v>0.56422236900358091</c:v>
                </c:pt>
                <c:pt idx="1638" formatCode="0.0%">
                  <c:v>0.5659939126671435</c:v>
                </c:pt>
                <c:pt idx="1639" formatCode="0.0%">
                  <c:v>0.57545225749467133</c:v>
                </c:pt>
                <c:pt idx="1640" formatCode="0.0%">
                  <c:v>0.57545225749467133</c:v>
                </c:pt>
                <c:pt idx="1641" formatCode="0.0%">
                  <c:v>0.57545225749467133</c:v>
                </c:pt>
                <c:pt idx="1642" formatCode="0.0%">
                  <c:v>0.57927926056362788</c:v>
                </c:pt>
                <c:pt idx="1643" formatCode="0.0%">
                  <c:v>0.56275745912819697</c:v>
                </c:pt>
                <c:pt idx="1644" formatCode="0.0%">
                  <c:v>0.57187172760269278</c:v>
                </c:pt>
                <c:pt idx="1645" formatCode="0.0%">
                  <c:v>0.58679166103673819</c:v>
                </c:pt>
                <c:pt idx="1646" formatCode="0.0%">
                  <c:v>0.5819860791137017</c:v>
                </c:pt>
                <c:pt idx="1647" formatCode="0.0%">
                  <c:v>0.5819860791137017</c:v>
                </c:pt>
                <c:pt idx="1648" formatCode="0.0%">
                  <c:v>0.5819860791137017</c:v>
                </c:pt>
                <c:pt idx="1649" formatCode="0.0%">
                  <c:v>0.57848201393377907</c:v>
                </c:pt>
                <c:pt idx="1650" formatCode="0.0%">
                  <c:v>0.58167140240359061</c:v>
                </c:pt>
                <c:pt idx="1651" formatCode="0.0%">
                  <c:v>0.59081274691638497</c:v>
                </c:pt>
                <c:pt idx="1652" formatCode="0.0%">
                  <c:v>0.59625802676688688</c:v>
                </c:pt>
                <c:pt idx="1653" formatCode="0.0%">
                  <c:v>0.59012435302770516</c:v>
                </c:pt>
                <c:pt idx="1654" formatCode="0.0%">
                  <c:v>0.59012435302770516</c:v>
                </c:pt>
                <c:pt idx="1655" formatCode="0.0%">
                  <c:v>0.59012435302770516</c:v>
                </c:pt>
                <c:pt idx="1656" formatCode="0.0%">
                  <c:v>0.59510342098503199</c:v>
                </c:pt>
                <c:pt idx="1657" formatCode="0.0%">
                  <c:v>0.60800406853246558</c:v>
                </c:pt>
                <c:pt idx="1658" formatCode="0.0%">
                  <c:v>0.61200042826154488</c:v>
                </c:pt>
                <c:pt idx="1659" formatCode="0.0%">
                  <c:v>0.62394848770236622</c:v>
                </c:pt>
                <c:pt idx="1660" formatCode="0.0%">
                  <c:v>0.61962599746836078</c:v>
                </c:pt>
                <c:pt idx="1661" formatCode="0.0%">
                  <c:v>0.61962599746836078</c:v>
                </c:pt>
                <c:pt idx="1662" formatCode="0.0%">
                  <c:v>0.61962599746836078</c:v>
                </c:pt>
                <c:pt idx="1663" formatCode="0.0%">
                  <c:v>0.61671275503102951</c:v>
                </c:pt>
                <c:pt idx="1664" formatCode="0.0%">
                  <c:v>0.60566900550532632</c:v>
                </c:pt>
                <c:pt idx="1665" formatCode="0.0%">
                  <c:v>0.61937135957315181</c:v>
                </c:pt>
                <c:pt idx="1666" formatCode="0.0%">
                  <c:v>0.6221487523481346</c:v>
                </c:pt>
                <c:pt idx="1667" formatCode="0.0%">
                  <c:v>0.62836594658019385</c:v>
                </c:pt>
                <c:pt idx="1668" formatCode="0.0%">
                  <c:v>0.62836594658019385</c:v>
                </c:pt>
                <c:pt idx="1669" formatCode="0.0%">
                  <c:v>0.62836594658019385</c:v>
                </c:pt>
                <c:pt idx="1670" formatCode="0.0%">
                  <c:v>0.64195007332074849</c:v>
                </c:pt>
                <c:pt idx="1671" formatCode="0.0%">
                  <c:v>0.65005009788532819</c:v>
                </c:pt>
                <c:pt idx="1672" formatCode="0.0%">
                  <c:v>0.65744093595913744</c:v>
                </c:pt>
                <c:pt idx="1673" formatCode="0.0%">
                  <c:v>0.65410235547903506</c:v>
                </c:pt>
                <c:pt idx="1674" formatCode="0.0%">
                  <c:v>0.60998150181096666</c:v>
                </c:pt>
                <c:pt idx="1675" formatCode="0.0%">
                  <c:v>0.60998150181096666</c:v>
                </c:pt>
                <c:pt idx="1676" formatCode="0.0%">
                  <c:v>0.60998150181096666</c:v>
                </c:pt>
                <c:pt idx="1677" formatCode="0.0%">
                  <c:v>0.63188548518267562</c:v>
                </c:pt>
                <c:pt idx="1678" formatCode="0.0%">
                  <c:v>0.62671057805982999</c:v>
                </c:pt>
                <c:pt idx="1679" formatCode="0.0%">
                  <c:v>0.63518728903298549</c:v>
                </c:pt>
                <c:pt idx="1680" formatCode="0.0%">
                  <c:v>0.64092103329347561</c:v>
                </c:pt>
                <c:pt idx="1681" formatCode="0.0%">
                  <c:v>0.64624072617340034</c:v>
                </c:pt>
                <c:pt idx="1682" formatCode="0.0%">
                  <c:v>0.64624072617340034</c:v>
                </c:pt>
                <c:pt idx="1683" formatCode="0.0%">
                  <c:v>0.64624072617340034</c:v>
                </c:pt>
                <c:pt idx="1684" formatCode="0.0%">
                  <c:v>0.64948182523253506</c:v>
                </c:pt>
                <c:pt idx="1685" formatCode="0.0%">
                  <c:v>0.65482388850485218</c:v>
                </c:pt>
                <c:pt idx="1686" formatCode="0.0%">
                  <c:v>0.65298298048425552</c:v>
                </c:pt>
                <c:pt idx="1687" formatCode="0.0%">
                  <c:v>0.66079744442883681</c:v>
                </c:pt>
                <c:pt idx="1688" formatCode="0.0%">
                  <c:v>0.65323859711657317</c:v>
                </c:pt>
                <c:pt idx="1689" formatCode="0.0%">
                  <c:v>0.65323859711657317</c:v>
                </c:pt>
                <c:pt idx="1690" formatCode="0.0%">
                  <c:v>0.65323859711657317</c:v>
                </c:pt>
                <c:pt idx="1691" formatCode="0.0%">
                  <c:v>0.66183971442107237</c:v>
                </c:pt>
                <c:pt idx="1692" formatCode="0.0%">
                  <c:v>0.64504501219708799</c:v>
                </c:pt>
                <c:pt idx="1693" formatCode="0.0%">
                  <c:v>0.63666604629998458</c:v>
                </c:pt>
                <c:pt idx="1694" formatCode="0.0%">
                  <c:v>0.63742194598333812</c:v>
                </c:pt>
                <c:pt idx="1695" formatCode="0.0%">
                  <c:v>0.64600203442607385</c:v>
                </c:pt>
                <c:pt idx="1696" formatCode="0.0%">
                  <c:v>0.64600203442607385</c:v>
                </c:pt>
                <c:pt idx="1697" formatCode="0.0%">
                  <c:v>0.64600203442607385</c:v>
                </c:pt>
                <c:pt idx="1698" formatCode="0.0%">
                  <c:v>0.64947412335256616</c:v>
                </c:pt>
                <c:pt idx="1699" formatCode="0.0%">
                  <c:v>0.65769481461009494</c:v>
                </c:pt>
                <c:pt idx="1700" formatCode="0.0%">
                  <c:v>0.66785294582130716</c:v>
                </c:pt>
                <c:pt idx="1701" formatCode="0.0%">
                  <c:v>0.66546654342296074</c:v>
                </c:pt>
                <c:pt idx="1702" formatCode="0.0%">
                  <c:v>0.64673139133413082</c:v>
                </c:pt>
                <c:pt idx="1703" formatCode="0.0%">
                  <c:v>0.64673139133413082</c:v>
                </c:pt>
                <c:pt idx="1704" formatCode="0.0%">
                  <c:v>0.64673139133413082</c:v>
                </c:pt>
                <c:pt idx="1705" formatCode="0.0%">
                  <c:v>0.64603302277626118</c:v>
                </c:pt>
                <c:pt idx="1706" formatCode="0.0%">
                  <c:v>0.63801952402235118</c:v>
                </c:pt>
                <c:pt idx="1707" formatCode="0.0%">
                  <c:v>0.65356084087179911</c:v>
                </c:pt>
                <c:pt idx="1708" formatCode="0.0%">
                  <c:v>0.66903942126166582</c:v>
                </c:pt>
                <c:pt idx="1709" formatCode="0.0%">
                  <c:v>0.65688270864745935</c:v>
                </c:pt>
                <c:pt idx="1710" formatCode="0.0%">
                  <c:v>0.65688270864745935</c:v>
                </c:pt>
                <c:pt idx="1711" formatCode="0.0%">
                  <c:v>0.65688270864745935</c:v>
                </c:pt>
                <c:pt idx="1712" formatCode="0.0%">
                  <c:v>0.66610386907261154</c:v>
                </c:pt>
                <c:pt idx="1713" formatCode="0.0%">
                  <c:v>0.67232642759394712</c:v>
                </c:pt>
                <c:pt idx="1714" formatCode="0.0%">
                  <c:v>0.6777462765520752</c:v>
                </c:pt>
                <c:pt idx="1715" formatCode="0.0%">
                  <c:v>0.68627128998122344</c:v>
                </c:pt>
                <c:pt idx="1716" formatCode="0.0%">
                  <c:v>0.69331286146628035</c:v>
                </c:pt>
                <c:pt idx="1717" formatCode="0.0%">
                  <c:v>0.69331286146628035</c:v>
                </c:pt>
                <c:pt idx="1718" formatCode="0.0%">
                  <c:v>0.69331286146628035</c:v>
                </c:pt>
                <c:pt idx="1719" formatCode="0.0%">
                  <c:v>0.70265354407413438</c:v>
                </c:pt>
                <c:pt idx="1720" formatCode="0.0%">
                  <c:v>0.68835502386087566</c:v>
                </c:pt>
                <c:pt idx="1721" formatCode="0.0%">
                  <c:v>0.68380141535124295</c:v>
                </c:pt>
                <c:pt idx="1722" formatCode="0.0%">
                  <c:v>0.7024526469742014</c:v>
                </c:pt>
                <c:pt idx="1723" formatCode="0.0%">
                  <c:v>0.71431148792380872</c:v>
                </c:pt>
                <c:pt idx="1724" formatCode="0.0%">
                  <c:v>0.71431148792380872</c:v>
                </c:pt>
                <c:pt idx="1725" formatCode="0.0%">
                  <c:v>0.71431148792380872</c:v>
                </c:pt>
                <c:pt idx="1726" formatCode="0.0%">
                  <c:v>0.72278136427743422</c:v>
                </c:pt>
                <c:pt idx="1727" formatCode="0.0%">
                  <c:v>0.70802333236762505</c:v>
                </c:pt>
                <c:pt idx="1728" formatCode="0.0%">
                  <c:v>0.70830854413898947</c:v>
                </c:pt>
                <c:pt idx="1729" formatCode="0.0%">
                  <c:v>0.70894309757901508</c:v>
                </c:pt>
                <c:pt idx="1730" formatCode="0.0%">
                  <c:v>0.71001712286936114</c:v>
                </c:pt>
                <c:pt idx="1731" formatCode="0.0%">
                  <c:v>0.71001712286936114</c:v>
                </c:pt>
                <c:pt idx="1732" formatCode="0.0%">
                  <c:v>0.71001712286936114</c:v>
                </c:pt>
                <c:pt idx="1733" formatCode="0.0%">
                  <c:v>0.71414001901569435</c:v>
                </c:pt>
                <c:pt idx="1734" formatCode="0.0%">
                  <c:v>0.72027630149834887</c:v>
                </c:pt>
                <c:pt idx="1735" formatCode="0.0%">
                  <c:v>0.73064919106360404</c:v>
                </c:pt>
                <c:pt idx="1736" formatCode="0.0%">
                  <c:v>0.74279532091288591</c:v>
                </c:pt>
                <c:pt idx="1737" formatCode="0.0%">
                  <c:v>0.74058979105201073</c:v>
                </c:pt>
                <c:pt idx="1738" formatCode="0.0%">
                  <c:v>0.74058979105201073</c:v>
                </c:pt>
                <c:pt idx="1739" formatCode="0.0%">
                  <c:v>0.74058979105201073</c:v>
                </c:pt>
                <c:pt idx="1740" formatCode="0.0%">
                  <c:v>0.75445500828479251</c:v>
                </c:pt>
                <c:pt idx="1741" formatCode="0.0%">
                  <c:v>0.75473841441019118</c:v>
                </c:pt>
                <c:pt idx="1742" formatCode="0.0%">
                  <c:v>0.77418368249755642</c:v>
                </c:pt>
                <c:pt idx="1743" formatCode="0.0%">
                  <c:v>0.77639860828411256</c:v>
                </c:pt>
                <c:pt idx="1744" formatCode="0.0%">
                  <c:v>0.73017536409065764</c:v>
                </c:pt>
                <c:pt idx="1745" formatCode="0.0%">
                  <c:v>0.73017536409065764</c:v>
                </c:pt>
                <c:pt idx="1746" formatCode="0.0%">
                  <c:v>0.73017536409065764</c:v>
                </c:pt>
                <c:pt idx="1747" formatCode="0.0%">
                  <c:v>0.75430629281046857</c:v>
                </c:pt>
                <c:pt idx="1748" formatCode="0.0%">
                  <c:v>0.73551937857538008</c:v>
                </c:pt>
                <c:pt idx="1749" formatCode="0.0%">
                  <c:v>0.7453894338352941</c:v>
                </c:pt>
                <c:pt idx="1750" formatCode="0.0%">
                  <c:v>0.73700466027581768</c:v>
                </c:pt>
                <c:pt idx="1751" formatCode="0.0%">
                  <c:v>0.73848125145151389</c:v>
                </c:pt>
                <c:pt idx="1752" formatCode="0.0%">
                  <c:v>0.73848125145151389</c:v>
                </c:pt>
                <c:pt idx="1753" formatCode="0.0%">
                  <c:v>0.73848125145151389</c:v>
                </c:pt>
                <c:pt idx="1754" formatCode="0.0%">
                  <c:v>0.76400085724813749</c:v>
                </c:pt>
                <c:pt idx="1755" formatCode="0.0%">
                  <c:v>0.76865485090693031</c:v>
                </c:pt>
                <c:pt idx="1756" formatCode="0.0%">
                  <c:v>0.75656216711537272</c:v>
                </c:pt>
                <c:pt idx="1757" formatCode="0.0%">
                  <c:v>0.76718310696816816</c:v>
                </c:pt>
                <c:pt idx="1758" formatCode="0.0%">
                  <c:v>0.78023743418260694</c:v>
                </c:pt>
                <c:pt idx="1759" formatCode="0.0%">
                  <c:v>0.78023743418260694</c:v>
                </c:pt>
                <c:pt idx="1760" formatCode="0.0%">
                  <c:v>0.78023743418260694</c:v>
                </c:pt>
                <c:pt idx="1761" formatCode="0.0%">
                  <c:v>0.80589126707111658</c:v>
                </c:pt>
                <c:pt idx="1762" formatCode="0.0%">
                  <c:v>0.81150900849112528</c:v>
                </c:pt>
                <c:pt idx="1763" formatCode="0.0%">
                  <c:v>0.81859911327456047</c:v>
                </c:pt>
                <c:pt idx="1764" formatCode="0.0%">
                  <c:v>0.81584770799254835</c:v>
                </c:pt>
                <c:pt idx="1765" formatCode="0.0%">
                  <c:v>0.82578913950377597</c:v>
                </c:pt>
                <c:pt idx="1766" formatCode="0.0%">
                  <c:v>0.82578913950377597</c:v>
                </c:pt>
                <c:pt idx="1767" formatCode="0.0%">
                  <c:v>0.82578913950377597</c:v>
                </c:pt>
                <c:pt idx="1768" formatCode="0.0%">
                  <c:v>0.83747731449858975</c:v>
                </c:pt>
                <c:pt idx="1769" formatCode="0.0%">
                  <c:v>0.81399470942951302</c:v>
                </c:pt>
                <c:pt idx="1770" formatCode="0.0%">
                  <c:v>0.814410778533603</c:v>
                </c:pt>
                <c:pt idx="1771" formatCode="0.0%">
                  <c:v>0.78558645016308615</c:v>
                </c:pt>
                <c:pt idx="1772" formatCode="0.0%">
                  <c:v>0.77412463348090998</c:v>
                </c:pt>
                <c:pt idx="1773" formatCode="0.0%">
                  <c:v>0.77412463348090998</c:v>
                </c:pt>
                <c:pt idx="1774" formatCode="0.0%">
                  <c:v>0.77412463348090998</c:v>
                </c:pt>
                <c:pt idx="1775" formatCode="0.0%">
                  <c:v>0.81278242701752446</c:v>
                </c:pt>
                <c:pt idx="1776" formatCode="0.0%">
                  <c:v>0.80733074743420052</c:v>
                </c:pt>
                <c:pt idx="1777" formatCode="0.0%">
                  <c:v>0.80863515612341585</c:v>
                </c:pt>
                <c:pt idx="1778" formatCode="0.0%">
                  <c:v>0.77265169526700761</c:v>
                </c:pt>
                <c:pt idx="1779" formatCode="0.0%">
                  <c:v>0.77111870688867556</c:v>
                </c:pt>
                <c:pt idx="1780" formatCode="0.0%">
                  <c:v>0.77111870688867556</c:v>
                </c:pt>
                <c:pt idx="1781" formatCode="0.0%">
                  <c:v>0.77111870688867556</c:v>
                </c:pt>
                <c:pt idx="1782" formatCode="0.0%">
                  <c:v>0.76150178827603898</c:v>
                </c:pt>
                <c:pt idx="1783" formatCode="0.0%">
                  <c:v>0.73589740117968061</c:v>
                </c:pt>
                <c:pt idx="1784" formatCode="0.0%">
                  <c:v>0.748969312540406</c:v>
                </c:pt>
                <c:pt idx="1785" formatCode="0.0%">
                  <c:v>0.73161098345160758</c:v>
                </c:pt>
                <c:pt idx="1786" formatCode="0.0%">
                  <c:v>0.73336973904024494</c:v>
                </c:pt>
                <c:pt idx="1787" formatCode="0.0%">
                  <c:v>0.73336973904024494</c:v>
                </c:pt>
                <c:pt idx="1788" formatCode="0.0%">
                  <c:v>0.73336973904024494</c:v>
                </c:pt>
                <c:pt idx="1789" formatCode="0.0%">
                  <c:v>0.76150008168611238</c:v>
                </c:pt>
                <c:pt idx="1790" formatCode="0.0%">
                  <c:v>0.76698692159057147</c:v>
                </c:pt>
                <c:pt idx="1791" formatCode="0.0%">
                  <c:v>0.78291567256272321</c:v>
                </c:pt>
                <c:pt idx="1792" formatCode="0.0%">
                  <c:v>0.78332280122588827</c:v>
                </c:pt>
                <c:pt idx="1793" formatCode="0.0%">
                  <c:v>0.78840343192309292</c:v>
                </c:pt>
                <c:pt idx="1794" formatCode="0.0%">
                  <c:v>0.78840343192309292</c:v>
                </c:pt>
                <c:pt idx="1795" formatCode="0.0%">
                  <c:v>0.78840343192309292</c:v>
                </c:pt>
                <c:pt idx="1796" formatCode="0.0%">
                  <c:v>0.7789293650545045</c:v>
                </c:pt>
                <c:pt idx="1797" formatCode="0.0%">
                  <c:v>0.78859392622329894</c:v>
                </c:pt>
                <c:pt idx="1798" formatCode="0.0%">
                  <c:v>0.78112723431391029</c:v>
                </c:pt>
                <c:pt idx="1799" formatCode="0.0%">
                  <c:v>0.78559303902723565</c:v>
                </c:pt>
                <c:pt idx="1800" formatCode="0.0%">
                  <c:v>0.79051883831727476</c:v>
                </c:pt>
                <c:pt idx="1801" formatCode="0.0%">
                  <c:v>0.79051883831727476</c:v>
                </c:pt>
                <c:pt idx="1802" formatCode="0.0%">
                  <c:v>0.79051883831727476</c:v>
                </c:pt>
                <c:pt idx="1803" formatCode="0.0%">
                  <c:v>0.79345276626741568</c:v>
                </c:pt>
                <c:pt idx="1804" formatCode="0.0%">
                  <c:v>0.79098535479386589</c:v>
                </c:pt>
                <c:pt idx="1805" formatCode="0.0%">
                  <c:v>0.79246200356171581</c:v>
                </c:pt>
                <c:pt idx="1806" formatCode="0.0%">
                  <c:v>0.77499747853048007</c:v>
                </c:pt>
                <c:pt idx="1807" formatCode="0.0%">
                  <c:v>0.75832875952182688</c:v>
                </c:pt>
                <c:pt idx="1808" formatCode="0.0%">
                  <c:v>0.75832875952182688</c:v>
                </c:pt>
                <c:pt idx="1809" formatCode="0.0%">
                  <c:v>0.75832875952182688</c:v>
                </c:pt>
                <c:pt idx="1810" formatCode="0.0%">
                  <c:v>0.74671717466061238</c:v>
                </c:pt>
                <c:pt idx="1811" formatCode="0.0%">
                  <c:v>0.74366396402133683</c:v>
                </c:pt>
                <c:pt idx="1812" formatCode="0.0%">
                  <c:v>0.72141439421209153</c:v>
                </c:pt>
                <c:pt idx="1813" formatCode="0.0%">
                  <c:v>0.74396010404877644</c:v>
                </c:pt>
                <c:pt idx="1814" formatCode="0.0%">
                  <c:v>0.767389541731194</c:v>
                </c:pt>
                <c:pt idx="1815" formatCode="0.0%">
                  <c:v>0.767389541731194</c:v>
                </c:pt>
                <c:pt idx="1816" formatCode="0.0%">
                  <c:v>0.767389541731194</c:v>
                </c:pt>
                <c:pt idx="1817" formatCode="0.0%">
                  <c:v>0.77150577731155356</c:v>
                </c:pt>
                <c:pt idx="1818" formatCode="0.0%">
                  <c:v>0.78142419700700738</c:v>
                </c:pt>
                <c:pt idx="1819" formatCode="0.0%">
                  <c:v>0.78394539160482879</c:v>
                </c:pt>
                <c:pt idx="1820" formatCode="0.0%">
                  <c:v>0.78402376946408703</c:v>
                </c:pt>
                <c:pt idx="1821" formatCode="0.0%">
                  <c:v>0.78491851634152088</c:v>
                </c:pt>
                <c:pt idx="1822" formatCode="0.0%">
                  <c:v>0.78491851634152088</c:v>
                </c:pt>
                <c:pt idx="1823" formatCode="0.0%">
                  <c:v>0.78491851634152088</c:v>
                </c:pt>
                <c:pt idx="1824" formatCode="0.0%">
                  <c:v>0.78016768532170455</c:v>
                </c:pt>
                <c:pt idx="1825" formatCode="0.0%">
                  <c:v>0.77846884934703409</c:v>
                </c:pt>
                <c:pt idx="1826" formatCode="0.0%">
                  <c:v>0.77094489346891915</c:v>
                </c:pt>
              </c:numCache>
            </c:numRef>
          </c:val>
          <c:smooth val="0"/>
          <c:extLst>
            <c:ext xmlns:c16="http://schemas.microsoft.com/office/drawing/2014/chart" uri="{C3380CC4-5D6E-409C-BE32-E72D297353CC}">
              <c16:uniqueId val="{00000006-C592-43EE-8D08-8400729D0F8F}"/>
            </c:ext>
          </c:extLst>
        </c:ser>
        <c:ser>
          <c:idx val="7"/>
          <c:order val="7"/>
          <c:tx>
            <c:strRef>
              <c:f>Sheet1!$I$1</c:f>
              <c:strCache>
                <c:ptCount val="1"/>
                <c:pt idx="0">
                  <c:v>EAA Fund Global Large-Cap Growth Equity (38.9%)</c:v>
                </c:pt>
              </c:strCache>
            </c:strRef>
          </c:tx>
          <c:spPr>
            <a:ln w="28575" cap="rnd">
              <a:solidFill>
                <a:schemeClr val="accent3"/>
              </a:solidFill>
              <a:round/>
            </a:ln>
            <a:effectLst/>
          </c:spPr>
          <c:marker>
            <c:symbol val="none"/>
          </c:marker>
          <c:cat>
            <c:numRef>
              <c:f>Sheet1!$A$2:$A$2069</c:f>
              <c:numCache>
                <c:formatCode>d\-mmm\-yy</c:formatCode>
                <c:ptCount val="2068"/>
                <c:pt idx="0">
                  <c:v>44196</c:v>
                </c:pt>
                <c:pt idx="1">
                  <c:v>44197</c:v>
                </c:pt>
                <c:pt idx="2">
                  <c:v>44198</c:v>
                </c:pt>
                <c:pt idx="3">
                  <c:v>44199</c:v>
                </c:pt>
                <c:pt idx="4">
                  <c:v>44200</c:v>
                </c:pt>
                <c:pt idx="5">
                  <c:v>44201</c:v>
                </c:pt>
                <c:pt idx="6">
                  <c:v>44202</c:v>
                </c:pt>
                <c:pt idx="7">
                  <c:v>44203</c:v>
                </c:pt>
                <c:pt idx="8">
                  <c:v>44204</c:v>
                </c:pt>
                <c:pt idx="9">
                  <c:v>44205</c:v>
                </c:pt>
                <c:pt idx="10">
                  <c:v>44206</c:v>
                </c:pt>
                <c:pt idx="11">
                  <c:v>44207</c:v>
                </c:pt>
                <c:pt idx="12">
                  <c:v>44208</c:v>
                </c:pt>
                <c:pt idx="13">
                  <c:v>44209</c:v>
                </c:pt>
                <c:pt idx="14">
                  <c:v>44210</c:v>
                </c:pt>
                <c:pt idx="15">
                  <c:v>44211</c:v>
                </c:pt>
                <c:pt idx="16">
                  <c:v>44212</c:v>
                </c:pt>
                <c:pt idx="17">
                  <c:v>44213</c:v>
                </c:pt>
                <c:pt idx="18">
                  <c:v>44214</c:v>
                </c:pt>
                <c:pt idx="19">
                  <c:v>44215</c:v>
                </c:pt>
                <c:pt idx="20">
                  <c:v>44216</c:v>
                </c:pt>
                <c:pt idx="21">
                  <c:v>44217</c:v>
                </c:pt>
                <c:pt idx="22">
                  <c:v>44218</c:v>
                </c:pt>
                <c:pt idx="23">
                  <c:v>44219</c:v>
                </c:pt>
                <c:pt idx="24">
                  <c:v>44220</c:v>
                </c:pt>
                <c:pt idx="25">
                  <c:v>44221</c:v>
                </c:pt>
                <c:pt idx="26">
                  <c:v>44222</c:v>
                </c:pt>
                <c:pt idx="27">
                  <c:v>44223</c:v>
                </c:pt>
                <c:pt idx="28">
                  <c:v>44224</c:v>
                </c:pt>
                <c:pt idx="29">
                  <c:v>44225</c:v>
                </c:pt>
                <c:pt idx="30">
                  <c:v>44226</c:v>
                </c:pt>
                <c:pt idx="31">
                  <c:v>44227</c:v>
                </c:pt>
                <c:pt idx="32">
                  <c:v>44228</c:v>
                </c:pt>
                <c:pt idx="33">
                  <c:v>44229</c:v>
                </c:pt>
                <c:pt idx="34">
                  <c:v>44230</c:v>
                </c:pt>
                <c:pt idx="35">
                  <c:v>44231</c:v>
                </c:pt>
                <c:pt idx="36">
                  <c:v>44232</c:v>
                </c:pt>
                <c:pt idx="37">
                  <c:v>44233</c:v>
                </c:pt>
                <c:pt idx="38">
                  <c:v>44234</c:v>
                </c:pt>
                <c:pt idx="39">
                  <c:v>44235</c:v>
                </c:pt>
                <c:pt idx="40">
                  <c:v>44236</c:v>
                </c:pt>
                <c:pt idx="41">
                  <c:v>44237</c:v>
                </c:pt>
                <c:pt idx="42">
                  <c:v>44238</c:v>
                </c:pt>
                <c:pt idx="43">
                  <c:v>44239</c:v>
                </c:pt>
                <c:pt idx="44">
                  <c:v>44240</c:v>
                </c:pt>
                <c:pt idx="45">
                  <c:v>44241</c:v>
                </c:pt>
                <c:pt idx="46">
                  <c:v>44242</c:v>
                </c:pt>
                <c:pt idx="47">
                  <c:v>44243</c:v>
                </c:pt>
                <c:pt idx="48">
                  <c:v>44244</c:v>
                </c:pt>
                <c:pt idx="49">
                  <c:v>44245</c:v>
                </c:pt>
                <c:pt idx="50">
                  <c:v>44246</c:v>
                </c:pt>
                <c:pt idx="51">
                  <c:v>44247</c:v>
                </c:pt>
                <c:pt idx="52">
                  <c:v>44248</c:v>
                </c:pt>
                <c:pt idx="53">
                  <c:v>44249</c:v>
                </c:pt>
                <c:pt idx="54">
                  <c:v>44250</c:v>
                </c:pt>
                <c:pt idx="55">
                  <c:v>44251</c:v>
                </c:pt>
                <c:pt idx="56">
                  <c:v>44252</c:v>
                </c:pt>
                <c:pt idx="57">
                  <c:v>44253</c:v>
                </c:pt>
                <c:pt idx="58">
                  <c:v>44254</c:v>
                </c:pt>
                <c:pt idx="59">
                  <c:v>44255</c:v>
                </c:pt>
                <c:pt idx="60">
                  <c:v>44256</c:v>
                </c:pt>
                <c:pt idx="61">
                  <c:v>44257</c:v>
                </c:pt>
                <c:pt idx="62">
                  <c:v>44258</c:v>
                </c:pt>
                <c:pt idx="63">
                  <c:v>44259</c:v>
                </c:pt>
                <c:pt idx="64">
                  <c:v>44260</c:v>
                </c:pt>
                <c:pt idx="65">
                  <c:v>44261</c:v>
                </c:pt>
                <c:pt idx="66">
                  <c:v>44262</c:v>
                </c:pt>
                <c:pt idx="67">
                  <c:v>44263</c:v>
                </c:pt>
                <c:pt idx="68">
                  <c:v>44264</c:v>
                </c:pt>
                <c:pt idx="69">
                  <c:v>44265</c:v>
                </c:pt>
                <c:pt idx="70">
                  <c:v>44266</c:v>
                </c:pt>
                <c:pt idx="71">
                  <c:v>44267</c:v>
                </c:pt>
                <c:pt idx="72">
                  <c:v>44268</c:v>
                </c:pt>
                <c:pt idx="73">
                  <c:v>44269</c:v>
                </c:pt>
                <c:pt idx="74">
                  <c:v>44270</c:v>
                </c:pt>
                <c:pt idx="75">
                  <c:v>44271</c:v>
                </c:pt>
                <c:pt idx="76">
                  <c:v>44272</c:v>
                </c:pt>
                <c:pt idx="77">
                  <c:v>44273</c:v>
                </c:pt>
                <c:pt idx="78">
                  <c:v>44274</c:v>
                </c:pt>
                <c:pt idx="79">
                  <c:v>44275</c:v>
                </c:pt>
                <c:pt idx="80">
                  <c:v>44276</c:v>
                </c:pt>
                <c:pt idx="81">
                  <c:v>44277</c:v>
                </c:pt>
                <c:pt idx="82">
                  <c:v>44278</c:v>
                </c:pt>
                <c:pt idx="83">
                  <c:v>44279</c:v>
                </c:pt>
                <c:pt idx="84">
                  <c:v>44280</c:v>
                </c:pt>
                <c:pt idx="85">
                  <c:v>44281</c:v>
                </c:pt>
                <c:pt idx="86">
                  <c:v>44282</c:v>
                </c:pt>
                <c:pt idx="87">
                  <c:v>44283</c:v>
                </c:pt>
                <c:pt idx="88">
                  <c:v>44284</c:v>
                </c:pt>
                <c:pt idx="89">
                  <c:v>44285</c:v>
                </c:pt>
                <c:pt idx="90">
                  <c:v>44286</c:v>
                </c:pt>
                <c:pt idx="91">
                  <c:v>44287</c:v>
                </c:pt>
                <c:pt idx="92">
                  <c:v>44288</c:v>
                </c:pt>
                <c:pt idx="93">
                  <c:v>44289</c:v>
                </c:pt>
                <c:pt idx="94">
                  <c:v>44290</c:v>
                </c:pt>
                <c:pt idx="95">
                  <c:v>44291</c:v>
                </c:pt>
                <c:pt idx="96">
                  <c:v>44292</c:v>
                </c:pt>
                <c:pt idx="97">
                  <c:v>44293</c:v>
                </c:pt>
                <c:pt idx="98">
                  <c:v>44294</c:v>
                </c:pt>
                <c:pt idx="99">
                  <c:v>44295</c:v>
                </c:pt>
                <c:pt idx="100">
                  <c:v>44296</c:v>
                </c:pt>
                <c:pt idx="101">
                  <c:v>44297</c:v>
                </c:pt>
                <c:pt idx="102">
                  <c:v>44298</c:v>
                </c:pt>
                <c:pt idx="103">
                  <c:v>44299</c:v>
                </c:pt>
                <c:pt idx="104">
                  <c:v>44300</c:v>
                </c:pt>
                <c:pt idx="105">
                  <c:v>44301</c:v>
                </c:pt>
                <c:pt idx="106">
                  <c:v>44302</c:v>
                </c:pt>
                <c:pt idx="107">
                  <c:v>44303</c:v>
                </c:pt>
                <c:pt idx="108">
                  <c:v>44304</c:v>
                </c:pt>
                <c:pt idx="109">
                  <c:v>44305</c:v>
                </c:pt>
                <c:pt idx="110">
                  <c:v>44306</c:v>
                </c:pt>
                <c:pt idx="111">
                  <c:v>44307</c:v>
                </c:pt>
                <c:pt idx="112">
                  <c:v>44308</c:v>
                </c:pt>
                <c:pt idx="113">
                  <c:v>44309</c:v>
                </c:pt>
                <c:pt idx="114">
                  <c:v>44310</c:v>
                </c:pt>
                <c:pt idx="115">
                  <c:v>44311</c:v>
                </c:pt>
                <c:pt idx="116">
                  <c:v>44312</c:v>
                </c:pt>
                <c:pt idx="117">
                  <c:v>44313</c:v>
                </c:pt>
                <c:pt idx="118">
                  <c:v>44314</c:v>
                </c:pt>
                <c:pt idx="119">
                  <c:v>44315</c:v>
                </c:pt>
                <c:pt idx="120">
                  <c:v>44316</c:v>
                </c:pt>
                <c:pt idx="121">
                  <c:v>44317</c:v>
                </c:pt>
                <c:pt idx="122">
                  <c:v>44318</c:v>
                </c:pt>
                <c:pt idx="123">
                  <c:v>44319</c:v>
                </c:pt>
                <c:pt idx="124">
                  <c:v>44320</c:v>
                </c:pt>
                <c:pt idx="125">
                  <c:v>44321</c:v>
                </c:pt>
                <c:pt idx="126">
                  <c:v>44322</c:v>
                </c:pt>
                <c:pt idx="127">
                  <c:v>44323</c:v>
                </c:pt>
                <c:pt idx="128">
                  <c:v>44324</c:v>
                </c:pt>
                <c:pt idx="129">
                  <c:v>44325</c:v>
                </c:pt>
                <c:pt idx="130">
                  <c:v>44326</c:v>
                </c:pt>
                <c:pt idx="131">
                  <c:v>44327</c:v>
                </c:pt>
                <c:pt idx="132">
                  <c:v>44328</c:v>
                </c:pt>
                <c:pt idx="133">
                  <c:v>44329</c:v>
                </c:pt>
                <c:pt idx="134">
                  <c:v>44330</c:v>
                </c:pt>
                <c:pt idx="135">
                  <c:v>44331</c:v>
                </c:pt>
                <c:pt idx="136">
                  <c:v>44332</c:v>
                </c:pt>
                <c:pt idx="137">
                  <c:v>44333</c:v>
                </c:pt>
                <c:pt idx="138">
                  <c:v>44334</c:v>
                </c:pt>
                <c:pt idx="139">
                  <c:v>44335</c:v>
                </c:pt>
                <c:pt idx="140">
                  <c:v>44336</c:v>
                </c:pt>
                <c:pt idx="141">
                  <c:v>44337</c:v>
                </c:pt>
                <c:pt idx="142">
                  <c:v>44338</c:v>
                </c:pt>
                <c:pt idx="143">
                  <c:v>44339</c:v>
                </c:pt>
                <c:pt idx="144">
                  <c:v>44340</c:v>
                </c:pt>
                <c:pt idx="145">
                  <c:v>44341</c:v>
                </c:pt>
                <c:pt idx="146">
                  <c:v>44342</c:v>
                </c:pt>
                <c:pt idx="147">
                  <c:v>44343</c:v>
                </c:pt>
                <c:pt idx="148">
                  <c:v>44344</c:v>
                </c:pt>
                <c:pt idx="149">
                  <c:v>44345</c:v>
                </c:pt>
                <c:pt idx="150">
                  <c:v>44346</c:v>
                </c:pt>
                <c:pt idx="151">
                  <c:v>44347</c:v>
                </c:pt>
                <c:pt idx="152">
                  <c:v>44348</c:v>
                </c:pt>
                <c:pt idx="153">
                  <c:v>44349</c:v>
                </c:pt>
                <c:pt idx="154">
                  <c:v>44350</c:v>
                </c:pt>
                <c:pt idx="155">
                  <c:v>44351</c:v>
                </c:pt>
                <c:pt idx="156">
                  <c:v>44352</c:v>
                </c:pt>
                <c:pt idx="157">
                  <c:v>44353</c:v>
                </c:pt>
                <c:pt idx="158">
                  <c:v>44354</c:v>
                </c:pt>
                <c:pt idx="159">
                  <c:v>44355</c:v>
                </c:pt>
                <c:pt idx="160">
                  <c:v>44356</c:v>
                </c:pt>
                <c:pt idx="161">
                  <c:v>44357</c:v>
                </c:pt>
                <c:pt idx="162">
                  <c:v>44358</c:v>
                </c:pt>
                <c:pt idx="163">
                  <c:v>44359</c:v>
                </c:pt>
                <c:pt idx="164">
                  <c:v>44360</c:v>
                </c:pt>
                <c:pt idx="165">
                  <c:v>44361</c:v>
                </c:pt>
                <c:pt idx="166">
                  <c:v>44362</c:v>
                </c:pt>
                <c:pt idx="167">
                  <c:v>44363</c:v>
                </c:pt>
                <c:pt idx="168">
                  <c:v>44364</c:v>
                </c:pt>
                <c:pt idx="169">
                  <c:v>44365</c:v>
                </c:pt>
                <c:pt idx="170">
                  <c:v>44366</c:v>
                </c:pt>
                <c:pt idx="171">
                  <c:v>44367</c:v>
                </c:pt>
                <c:pt idx="172">
                  <c:v>44368</c:v>
                </c:pt>
                <c:pt idx="173">
                  <c:v>44369</c:v>
                </c:pt>
                <c:pt idx="174">
                  <c:v>44370</c:v>
                </c:pt>
                <c:pt idx="175">
                  <c:v>44371</c:v>
                </c:pt>
                <c:pt idx="176">
                  <c:v>44372</c:v>
                </c:pt>
                <c:pt idx="177">
                  <c:v>44373</c:v>
                </c:pt>
                <c:pt idx="178">
                  <c:v>44374</c:v>
                </c:pt>
                <c:pt idx="179">
                  <c:v>44375</c:v>
                </c:pt>
                <c:pt idx="180">
                  <c:v>44376</c:v>
                </c:pt>
                <c:pt idx="181">
                  <c:v>44377</c:v>
                </c:pt>
                <c:pt idx="182">
                  <c:v>44378</c:v>
                </c:pt>
                <c:pt idx="183">
                  <c:v>44379</c:v>
                </c:pt>
                <c:pt idx="184">
                  <c:v>44380</c:v>
                </c:pt>
                <c:pt idx="185">
                  <c:v>44381</c:v>
                </c:pt>
                <c:pt idx="186">
                  <c:v>44382</c:v>
                </c:pt>
                <c:pt idx="187">
                  <c:v>44383</c:v>
                </c:pt>
                <c:pt idx="188">
                  <c:v>44384</c:v>
                </c:pt>
                <c:pt idx="189">
                  <c:v>44385</c:v>
                </c:pt>
                <c:pt idx="190">
                  <c:v>44386</c:v>
                </c:pt>
                <c:pt idx="191">
                  <c:v>44387</c:v>
                </c:pt>
                <c:pt idx="192">
                  <c:v>44388</c:v>
                </c:pt>
                <c:pt idx="193">
                  <c:v>44389</c:v>
                </c:pt>
                <c:pt idx="194">
                  <c:v>44390</c:v>
                </c:pt>
                <c:pt idx="195">
                  <c:v>44391</c:v>
                </c:pt>
                <c:pt idx="196">
                  <c:v>44392</c:v>
                </c:pt>
                <c:pt idx="197">
                  <c:v>44393</c:v>
                </c:pt>
                <c:pt idx="198">
                  <c:v>44394</c:v>
                </c:pt>
                <c:pt idx="199">
                  <c:v>44395</c:v>
                </c:pt>
                <c:pt idx="200">
                  <c:v>44396</c:v>
                </c:pt>
                <c:pt idx="201">
                  <c:v>44397</c:v>
                </c:pt>
                <c:pt idx="202">
                  <c:v>44398</c:v>
                </c:pt>
                <c:pt idx="203">
                  <c:v>44399</c:v>
                </c:pt>
                <c:pt idx="204">
                  <c:v>44400</c:v>
                </c:pt>
                <c:pt idx="205">
                  <c:v>44401</c:v>
                </c:pt>
                <c:pt idx="206">
                  <c:v>44402</c:v>
                </c:pt>
                <c:pt idx="207">
                  <c:v>44403</c:v>
                </c:pt>
                <c:pt idx="208">
                  <c:v>44404</c:v>
                </c:pt>
                <c:pt idx="209">
                  <c:v>44405</c:v>
                </c:pt>
                <c:pt idx="210">
                  <c:v>44406</c:v>
                </c:pt>
                <c:pt idx="211">
                  <c:v>44407</c:v>
                </c:pt>
                <c:pt idx="212">
                  <c:v>44408</c:v>
                </c:pt>
                <c:pt idx="213">
                  <c:v>44409</c:v>
                </c:pt>
                <c:pt idx="214">
                  <c:v>44410</c:v>
                </c:pt>
                <c:pt idx="215">
                  <c:v>44411</c:v>
                </c:pt>
                <c:pt idx="216">
                  <c:v>44412</c:v>
                </c:pt>
                <c:pt idx="217">
                  <c:v>44413</c:v>
                </c:pt>
                <c:pt idx="218">
                  <c:v>44414</c:v>
                </c:pt>
                <c:pt idx="219">
                  <c:v>44415</c:v>
                </c:pt>
                <c:pt idx="220">
                  <c:v>44416</c:v>
                </c:pt>
                <c:pt idx="221">
                  <c:v>44417</c:v>
                </c:pt>
                <c:pt idx="222">
                  <c:v>44418</c:v>
                </c:pt>
                <c:pt idx="223">
                  <c:v>44419</c:v>
                </c:pt>
                <c:pt idx="224">
                  <c:v>44420</c:v>
                </c:pt>
                <c:pt idx="225">
                  <c:v>44421</c:v>
                </c:pt>
                <c:pt idx="226">
                  <c:v>44422</c:v>
                </c:pt>
                <c:pt idx="227">
                  <c:v>44423</c:v>
                </c:pt>
                <c:pt idx="228">
                  <c:v>44424</c:v>
                </c:pt>
                <c:pt idx="229">
                  <c:v>44425</c:v>
                </c:pt>
                <c:pt idx="230">
                  <c:v>44426</c:v>
                </c:pt>
                <c:pt idx="231">
                  <c:v>44427</c:v>
                </c:pt>
                <c:pt idx="232">
                  <c:v>44428</c:v>
                </c:pt>
                <c:pt idx="233">
                  <c:v>44429</c:v>
                </c:pt>
                <c:pt idx="234">
                  <c:v>44430</c:v>
                </c:pt>
                <c:pt idx="235">
                  <c:v>44431</c:v>
                </c:pt>
                <c:pt idx="236">
                  <c:v>44432</c:v>
                </c:pt>
                <c:pt idx="237">
                  <c:v>44433</c:v>
                </c:pt>
                <c:pt idx="238">
                  <c:v>44434</c:v>
                </c:pt>
                <c:pt idx="239">
                  <c:v>44435</c:v>
                </c:pt>
                <c:pt idx="240">
                  <c:v>44436</c:v>
                </c:pt>
                <c:pt idx="241">
                  <c:v>44437</c:v>
                </c:pt>
                <c:pt idx="242">
                  <c:v>44438</c:v>
                </c:pt>
                <c:pt idx="243">
                  <c:v>44439</c:v>
                </c:pt>
                <c:pt idx="244">
                  <c:v>44440</c:v>
                </c:pt>
                <c:pt idx="245">
                  <c:v>44441</c:v>
                </c:pt>
                <c:pt idx="246">
                  <c:v>44442</c:v>
                </c:pt>
                <c:pt idx="247">
                  <c:v>44443</c:v>
                </c:pt>
                <c:pt idx="248">
                  <c:v>44444</c:v>
                </c:pt>
                <c:pt idx="249">
                  <c:v>44445</c:v>
                </c:pt>
                <c:pt idx="250">
                  <c:v>44446</c:v>
                </c:pt>
                <c:pt idx="251">
                  <c:v>44447</c:v>
                </c:pt>
                <c:pt idx="252">
                  <c:v>44448</c:v>
                </c:pt>
                <c:pt idx="253">
                  <c:v>44449</c:v>
                </c:pt>
                <c:pt idx="254">
                  <c:v>44450</c:v>
                </c:pt>
                <c:pt idx="255">
                  <c:v>44451</c:v>
                </c:pt>
                <c:pt idx="256">
                  <c:v>44452</c:v>
                </c:pt>
                <c:pt idx="257">
                  <c:v>44453</c:v>
                </c:pt>
                <c:pt idx="258">
                  <c:v>44454</c:v>
                </c:pt>
                <c:pt idx="259">
                  <c:v>44455</c:v>
                </c:pt>
                <c:pt idx="260">
                  <c:v>44456</c:v>
                </c:pt>
                <c:pt idx="261">
                  <c:v>44457</c:v>
                </c:pt>
                <c:pt idx="262">
                  <c:v>44458</c:v>
                </c:pt>
                <c:pt idx="263">
                  <c:v>44459</c:v>
                </c:pt>
                <c:pt idx="264">
                  <c:v>44460</c:v>
                </c:pt>
                <c:pt idx="265">
                  <c:v>44461</c:v>
                </c:pt>
                <c:pt idx="266">
                  <c:v>44462</c:v>
                </c:pt>
                <c:pt idx="267">
                  <c:v>44463</c:v>
                </c:pt>
                <c:pt idx="268">
                  <c:v>44464</c:v>
                </c:pt>
                <c:pt idx="269">
                  <c:v>44465</c:v>
                </c:pt>
                <c:pt idx="270">
                  <c:v>44466</c:v>
                </c:pt>
                <c:pt idx="271">
                  <c:v>44467</c:v>
                </c:pt>
                <c:pt idx="272">
                  <c:v>44468</c:v>
                </c:pt>
                <c:pt idx="273">
                  <c:v>44469</c:v>
                </c:pt>
                <c:pt idx="274">
                  <c:v>44470</c:v>
                </c:pt>
                <c:pt idx="275">
                  <c:v>44471</c:v>
                </c:pt>
                <c:pt idx="276">
                  <c:v>44472</c:v>
                </c:pt>
                <c:pt idx="277">
                  <c:v>44473</c:v>
                </c:pt>
                <c:pt idx="278">
                  <c:v>44474</c:v>
                </c:pt>
                <c:pt idx="279">
                  <c:v>44475</c:v>
                </c:pt>
                <c:pt idx="280">
                  <c:v>44476</c:v>
                </c:pt>
                <c:pt idx="281">
                  <c:v>44477</c:v>
                </c:pt>
                <c:pt idx="282">
                  <c:v>44478</c:v>
                </c:pt>
                <c:pt idx="283">
                  <c:v>44479</c:v>
                </c:pt>
                <c:pt idx="284">
                  <c:v>44480</c:v>
                </c:pt>
                <c:pt idx="285">
                  <c:v>44481</c:v>
                </c:pt>
                <c:pt idx="286">
                  <c:v>44482</c:v>
                </c:pt>
                <c:pt idx="287">
                  <c:v>44483</c:v>
                </c:pt>
                <c:pt idx="288">
                  <c:v>44484</c:v>
                </c:pt>
                <c:pt idx="289">
                  <c:v>44485</c:v>
                </c:pt>
                <c:pt idx="290">
                  <c:v>44486</c:v>
                </c:pt>
                <c:pt idx="291">
                  <c:v>44487</c:v>
                </c:pt>
                <c:pt idx="292">
                  <c:v>44488</c:v>
                </c:pt>
                <c:pt idx="293">
                  <c:v>44489</c:v>
                </c:pt>
                <c:pt idx="294">
                  <c:v>44490</c:v>
                </c:pt>
                <c:pt idx="295">
                  <c:v>44491</c:v>
                </c:pt>
                <c:pt idx="296">
                  <c:v>44492</c:v>
                </c:pt>
                <c:pt idx="297">
                  <c:v>44493</c:v>
                </c:pt>
                <c:pt idx="298">
                  <c:v>44494</c:v>
                </c:pt>
                <c:pt idx="299">
                  <c:v>44495</c:v>
                </c:pt>
                <c:pt idx="300">
                  <c:v>44496</c:v>
                </c:pt>
                <c:pt idx="301">
                  <c:v>44497</c:v>
                </c:pt>
                <c:pt idx="302">
                  <c:v>44498</c:v>
                </c:pt>
                <c:pt idx="303">
                  <c:v>44499</c:v>
                </c:pt>
                <c:pt idx="304">
                  <c:v>44500</c:v>
                </c:pt>
                <c:pt idx="305">
                  <c:v>44501</c:v>
                </c:pt>
                <c:pt idx="306">
                  <c:v>44502</c:v>
                </c:pt>
                <c:pt idx="307">
                  <c:v>44503</c:v>
                </c:pt>
                <c:pt idx="308">
                  <c:v>44504</c:v>
                </c:pt>
                <c:pt idx="309">
                  <c:v>44505</c:v>
                </c:pt>
                <c:pt idx="310">
                  <c:v>44506</c:v>
                </c:pt>
                <c:pt idx="311">
                  <c:v>44507</c:v>
                </c:pt>
                <c:pt idx="312">
                  <c:v>44508</c:v>
                </c:pt>
                <c:pt idx="313">
                  <c:v>44509</c:v>
                </c:pt>
                <c:pt idx="314">
                  <c:v>44510</c:v>
                </c:pt>
                <c:pt idx="315">
                  <c:v>44511</c:v>
                </c:pt>
                <c:pt idx="316">
                  <c:v>44512</c:v>
                </c:pt>
                <c:pt idx="317">
                  <c:v>44513</c:v>
                </c:pt>
                <c:pt idx="318">
                  <c:v>44514</c:v>
                </c:pt>
                <c:pt idx="319">
                  <c:v>44515</c:v>
                </c:pt>
                <c:pt idx="320">
                  <c:v>44516</c:v>
                </c:pt>
                <c:pt idx="321">
                  <c:v>44517</c:v>
                </c:pt>
                <c:pt idx="322">
                  <c:v>44518</c:v>
                </c:pt>
                <c:pt idx="323">
                  <c:v>44519</c:v>
                </c:pt>
                <c:pt idx="324">
                  <c:v>44520</c:v>
                </c:pt>
                <c:pt idx="325">
                  <c:v>44521</c:v>
                </c:pt>
                <c:pt idx="326">
                  <c:v>44522</c:v>
                </c:pt>
                <c:pt idx="327">
                  <c:v>44523</c:v>
                </c:pt>
                <c:pt idx="328">
                  <c:v>44524</c:v>
                </c:pt>
                <c:pt idx="329">
                  <c:v>44525</c:v>
                </c:pt>
                <c:pt idx="330">
                  <c:v>44526</c:v>
                </c:pt>
                <c:pt idx="331">
                  <c:v>44527</c:v>
                </c:pt>
                <c:pt idx="332">
                  <c:v>44528</c:v>
                </c:pt>
                <c:pt idx="333">
                  <c:v>44529</c:v>
                </c:pt>
                <c:pt idx="334">
                  <c:v>44530</c:v>
                </c:pt>
                <c:pt idx="335">
                  <c:v>44531</c:v>
                </c:pt>
                <c:pt idx="336">
                  <c:v>44532</c:v>
                </c:pt>
                <c:pt idx="337">
                  <c:v>44533</c:v>
                </c:pt>
                <c:pt idx="338">
                  <c:v>44534</c:v>
                </c:pt>
                <c:pt idx="339">
                  <c:v>44535</c:v>
                </c:pt>
                <c:pt idx="340">
                  <c:v>44536</c:v>
                </c:pt>
                <c:pt idx="341">
                  <c:v>44537</c:v>
                </c:pt>
                <c:pt idx="342">
                  <c:v>44538</c:v>
                </c:pt>
                <c:pt idx="343">
                  <c:v>44539</c:v>
                </c:pt>
                <c:pt idx="344">
                  <c:v>44540</c:v>
                </c:pt>
                <c:pt idx="345">
                  <c:v>44541</c:v>
                </c:pt>
                <c:pt idx="346">
                  <c:v>44542</c:v>
                </c:pt>
                <c:pt idx="347">
                  <c:v>44543</c:v>
                </c:pt>
                <c:pt idx="348">
                  <c:v>44544</c:v>
                </c:pt>
                <c:pt idx="349">
                  <c:v>44545</c:v>
                </c:pt>
                <c:pt idx="350">
                  <c:v>44546</c:v>
                </c:pt>
                <c:pt idx="351">
                  <c:v>44547</c:v>
                </c:pt>
                <c:pt idx="352">
                  <c:v>44548</c:v>
                </c:pt>
                <c:pt idx="353">
                  <c:v>44549</c:v>
                </c:pt>
                <c:pt idx="354">
                  <c:v>44550</c:v>
                </c:pt>
                <c:pt idx="355">
                  <c:v>44551</c:v>
                </c:pt>
                <c:pt idx="356">
                  <c:v>44552</c:v>
                </c:pt>
                <c:pt idx="357">
                  <c:v>44553</c:v>
                </c:pt>
                <c:pt idx="358">
                  <c:v>44554</c:v>
                </c:pt>
                <c:pt idx="359">
                  <c:v>44555</c:v>
                </c:pt>
                <c:pt idx="360">
                  <c:v>44556</c:v>
                </c:pt>
                <c:pt idx="361">
                  <c:v>44557</c:v>
                </c:pt>
                <c:pt idx="362">
                  <c:v>44558</c:v>
                </c:pt>
                <c:pt idx="363">
                  <c:v>44559</c:v>
                </c:pt>
                <c:pt idx="364">
                  <c:v>44560</c:v>
                </c:pt>
                <c:pt idx="365">
                  <c:v>44561</c:v>
                </c:pt>
                <c:pt idx="366">
                  <c:v>44562</c:v>
                </c:pt>
                <c:pt idx="367">
                  <c:v>44563</c:v>
                </c:pt>
                <c:pt idx="368">
                  <c:v>44564</c:v>
                </c:pt>
                <c:pt idx="369">
                  <c:v>44565</c:v>
                </c:pt>
                <c:pt idx="370">
                  <c:v>44566</c:v>
                </c:pt>
                <c:pt idx="371">
                  <c:v>44567</c:v>
                </c:pt>
                <c:pt idx="372">
                  <c:v>44568</c:v>
                </c:pt>
                <c:pt idx="373">
                  <c:v>44569</c:v>
                </c:pt>
                <c:pt idx="374">
                  <c:v>44570</c:v>
                </c:pt>
                <c:pt idx="375">
                  <c:v>44571</c:v>
                </c:pt>
                <c:pt idx="376">
                  <c:v>44572</c:v>
                </c:pt>
                <c:pt idx="377">
                  <c:v>44573</c:v>
                </c:pt>
                <c:pt idx="378">
                  <c:v>44574</c:v>
                </c:pt>
                <c:pt idx="379">
                  <c:v>44575</c:v>
                </c:pt>
                <c:pt idx="380">
                  <c:v>44576</c:v>
                </c:pt>
                <c:pt idx="381">
                  <c:v>44577</c:v>
                </c:pt>
                <c:pt idx="382">
                  <c:v>44578</c:v>
                </c:pt>
                <c:pt idx="383">
                  <c:v>44579</c:v>
                </c:pt>
                <c:pt idx="384">
                  <c:v>44580</c:v>
                </c:pt>
                <c:pt idx="385">
                  <c:v>44581</c:v>
                </c:pt>
                <c:pt idx="386">
                  <c:v>44582</c:v>
                </c:pt>
                <c:pt idx="387">
                  <c:v>44583</c:v>
                </c:pt>
                <c:pt idx="388">
                  <c:v>44584</c:v>
                </c:pt>
                <c:pt idx="389">
                  <c:v>44585</c:v>
                </c:pt>
                <c:pt idx="390">
                  <c:v>44586</c:v>
                </c:pt>
                <c:pt idx="391">
                  <c:v>44587</c:v>
                </c:pt>
                <c:pt idx="392">
                  <c:v>44588</c:v>
                </c:pt>
                <c:pt idx="393">
                  <c:v>44589</c:v>
                </c:pt>
                <c:pt idx="394">
                  <c:v>44590</c:v>
                </c:pt>
                <c:pt idx="395">
                  <c:v>44591</c:v>
                </c:pt>
                <c:pt idx="396">
                  <c:v>44592</c:v>
                </c:pt>
                <c:pt idx="397">
                  <c:v>44593</c:v>
                </c:pt>
                <c:pt idx="398">
                  <c:v>44594</c:v>
                </c:pt>
                <c:pt idx="399">
                  <c:v>44595</c:v>
                </c:pt>
                <c:pt idx="400">
                  <c:v>44596</c:v>
                </c:pt>
                <c:pt idx="401">
                  <c:v>44597</c:v>
                </c:pt>
                <c:pt idx="402">
                  <c:v>44598</c:v>
                </c:pt>
                <c:pt idx="403">
                  <c:v>44599</c:v>
                </c:pt>
                <c:pt idx="404">
                  <c:v>44600</c:v>
                </c:pt>
                <c:pt idx="405">
                  <c:v>44601</c:v>
                </c:pt>
                <c:pt idx="406">
                  <c:v>44602</c:v>
                </c:pt>
                <c:pt idx="407">
                  <c:v>44603</c:v>
                </c:pt>
                <c:pt idx="408">
                  <c:v>44604</c:v>
                </c:pt>
                <c:pt idx="409">
                  <c:v>44605</c:v>
                </c:pt>
                <c:pt idx="410">
                  <c:v>44606</c:v>
                </c:pt>
                <c:pt idx="411">
                  <c:v>44607</c:v>
                </c:pt>
                <c:pt idx="412">
                  <c:v>44608</c:v>
                </c:pt>
                <c:pt idx="413">
                  <c:v>44609</c:v>
                </c:pt>
                <c:pt idx="414">
                  <c:v>44610</c:v>
                </c:pt>
                <c:pt idx="415">
                  <c:v>44611</c:v>
                </c:pt>
                <c:pt idx="416">
                  <c:v>44612</c:v>
                </c:pt>
                <c:pt idx="417">
                  <c:v>44613</c:v>
                </c:pt>
                <c:pt idx="418">
                  <c:v>44614</c:v>
                </c:pt>
                <c:pt idx="419">
                  <c:v>44615</c:v>
                </c:pt>
                <c:pt idx="420">
                  <c:v>44616</c:v>
                </c:pt>
                <c:pt idx="421">
                  <c:v>44617</c:v>
                </c:pt>
                <c:pt idx="422">
                  <c:v>44618</c:v>
                </c:pt>
                <c:pt idx="423">
                  <c:v>44619</c:v>
                </c:pt>
                <c:pt idx="424">
                  <c:v>44620</c:v>
                </c:pt>
                <c:pt idx="425">
                  <c:v>44621</c:v>
                </c:pt>
                <c:pt idx="426">
                  <c:v>44622</c:v>
                </c:pt>
                <c:pt idx="427">
                  <c:v>44623</c:v>
                </c:pt>
                <c:pt idx="428">
                  <c:v>44624</c:v>
                </c:pt>
                <c:pt idx="429">
                  <c:v>44625</c:v>
                </c:pt>
                <c:pt idx="430">
                  <c:v>44626</c:v>
                </c:pt>
                <c:pt idx="431">
                  <c:v>44627</c:v>
                </c:pt>
                <c:pt idx="432">
                  <c:v>44628</c:v>
                </c:pt>
                <c:pt idx="433">
                  <c:v>44629</c:v>
                </c:pt>
                <c:pt idx="434">
                  <c:v>44630</c:v>
                </c:pt>
                <c:pt idx="435">
                  <c:v>44631</c:v>
                </c:pt>
                <c:pt idx="436">
                  <c:v>44632</c:v>
                </c:pt>
                <c:pt idx="437">
                  <c:v>44633</c:v>
                </c:pt>
                <c:pt idx="438">
                  <c:v>44634</c:v>
                </c:pt>
                <c:pt idx="439">
                  <c:v>44635</c:v>
                </c:pt>
                <c:pt idx="440">
                  <c:v>44636</c:v>
                </c:pt>
                <c:pt idx="441">
                  <c:v>44637</c:v>
                </c:pt>
                <c:pt idx="442">
                  <c:v>44638</c:v>
                </c:pt>
                <c:pt idx="443">
                  <c:v>44639</c:v>
                </c:pt>
                <c:pt idx="444">
                  <c:v>44640</c:v>
                </c:pt>
                <c:pt idx="445">
                  <c:v>44641</c:v>
                </c:pt>
                <c:pt idx="446">
                  <c:v>44642</c:v>
                </c:pt>
                <c:pt idx="447">
                  <c:v>44643</c:v>
                </c:pt>
                <c:pt idx="448">
                  <c:v>44644</c:v>
                </c:pt>
                <c:pt idx="449">
                  <c:v>44645</c:v>
                </c:pt>
                <c:pt idx="450">
                  <c:v>44646</c:v>
                </c:pt>
                <c:pt idx="451">
                  <c:v>44647</c:v>
                </c:pt>
                <c:pt idx="452">
                  <c:v>44648</c:v>
                </c:pt>
                <c:pt idx="453">
                  <c:v>44649</c:v>
                </c:pt>
                <c:pt idx="454">
                  <c:v>44650</c:v>
                </c:pt>
                <c:pt idx="455">
                  <c:v>44651</c:v>
                </c:pt>
                <c:pt idx="456">
                  <c:v>44652</c:v>
                </c:pt>
                <c:pt idx="457">
                  <c:v>44653</c:v>
                </c:pt>
                <c:pt idx="458">
                  <c:v>44654</c:v>
                </c:pt>
                <c:pt idx="459">
                  <c:v>44655</c:v>
                </c:pt>
                <c:pt idx="460">
                  <c:v>44656</c:v>
                </c:pt>
                <c:pt idx="461">
                  <c:v>44657</c:v>
                </c:pt>
                <c:pt idx="462">
                  <c:v>44658</c:v>
                </c:pt>
                <c:pt idx="463">
                  <c:v>44659</c:v>
                </c:pt>
                <c:pt idx="464">
                  <c:v>44660</c:v>
                </c:pt>
                <c:pt idx="465">
                  <c:v>44661</c:v>
                </c:pt>
                <c:pt idx="466">
                  <c:v>44662</c:v>
                </c:pt>
                <c:pt idx="467">
                  <c:v>44663</c:v>
                </c:pt>
                <c:pt idx="468">
                  <c:v>44664</c:v>
                </c:pt>
                <c:pt idx="469">
                  <c:v>44665</c:v>
                </c:pt>
                <c:pt idx="470">
                  <c:v>44666</c:v>
                </c:pt>
                <c:pt idx="471">
                  <c:v>44667</c:v>
                </c:pt>
                <c:pt idx="472">
                  <c:v>44668</c:v>
                </c:pt>
                <c:pt idx="473">
                  <c:v>44669</c:v>
                </c:pt>
                <c:pt idx="474">
                  <c:v>44670</c:v>
                </c:pt>
                <c:pt idx="475">
                  <c:v>44671</c:v>
                </c:pt>
                <c:pt idx="476">
                  <c:v>44672</c:v>
                </c:pt>
                <c:pt idx="477">
                  <c:v>44673</c:v>
                </c:pt>
                <c:pt idx="478">
                  <c:v>44674</c:v>
                </c:pt>
                <c:pt idx="479">
                  <c:v>44675</c:v>
                </c:pt>
                <c:pt idx="480">
                  <c:v>44676</c:v>
                </c:pt>
                <c:pt idx="481">
                  <c:v>44677</c:v>
                </c:pt>
                <c:pt idx="482">
                  <c:v>44678</c:v>
                </c:pt>
                <c:pt idx="483">
                  <c:v>44679</c:v>
                </c:pt>
                <c:pt idx="484">
                  <c:v>44680</c:v>
                </c:pt>
                <c:pt idx="485">
                  <c:v>44681</c:v>
                </c:pt>
                <c:pt idx="486">
                  <c:v>44682</c:v>
                </c:pt>
                <c:pt idx="487">
                  <c:v>44683</c:v>
                </c:pt>
                <c:pt idx="488">
                  <c:v>44684</c:v>
                </c:pt>
                <c:pt idx="489">
                  <c:v>44685</c:v>
                </c:pt>
                <c:pt idx="490">
                  <c:v>44686</c:v>
                </c:pt>
                <c:pt idx="491">
                  <c:v>44687</c:v>
                </c:pt>
                <c:pt idx="492">
                  <c:v>44688</c:v>
                </c:pt>
                <c:pt idx="493">
                  <c:v>44689</c:v>
                </c:pt>
                <c:pt idx="494">
                  <c:v>44690</c:v>
                </c:pt>
                <c:pt idx="495">
                  <c:v>44691</c:v>
                </c:pt>
                <c:pt idx="496">
                  <c:v>44692</c:v>
                </c:pt>
                <c:pt idx="497">
                  <c:v>44693</c:v>
                </c:pt>
                <c:pt idx="498">
                  <c:v>44694</c:v>
                </c:pt>
                <c:pt idx="499">
                  <c:v>44695</c:v>
                </c:pt>
                <c:pt idx="500">
                  <c:v>44696</c:v>
                </c:pt>
                <c:pt idx="501">
                  <c:v>44697</c:v>
                </c:pt>
                <c:pt idx="502">
                  <c:v>44698</c:v>
                </c:pt>
                <c:pt idx="503">
                  <c:v>44699</c:v>
                </c:pt>
                <c:pt idx="504">
                  <c:v>44700</c:v>
                </c:pt>
                <c:pt idx="505">
                  <c:v>44701</c:v>
                </c:pt>
                <c:pt idx="506">
                  <c:v>44702</c:v>
                </c:pt>
                <c:pt idx="507">
                  <c:v>44703</c:v>
                </c:pt>
                <c:pt idx="508">
                  <c:v>44704</c:v>
                </c:pt>
                <c:pt idx="509">
                  <c:v>44705</c:v>
                </c:pt>
                <c:pt idx="510">
                  <c:v>44706</c:v>
                </c:pt>
                <c:pt idx="511">
                  <c:v>44707</c:v>
                </c:pt>
                <c:pt idx="512">
                  <c:v>44708</c:v>
                </c:pt>
                <c:pt idx="513">
                  <c:v>44709</c:v>
                </c:pt>
                <c:pt idx="514">
                  <c:v>44710</c:v>
                </c:pt>
                <c:pt idx="515">
                  <c:v>44711</c:v>
                </c:pt>
                <c:pt idx="516">
                  <c:v>44712</c:v>
                </c:pt>
                <c:pt idx="517">
                  <c:v>44713</c:v>
                </c:pt>
                <c:pt idx="518">
                  <c:v>44714</c:v>
                </c:pt>
                <c:pt idx="519">
                  <c:v>44715</c:v>
                </c:pt>
                <c:pt idx="520">
                  <c:v>44716</c:v>
                </c:pt>
                <c:pt idx="521">
                  <c:v>44717</c:v>
                </c:pt>
                <c:pt idx="522">
                  <c:v>44718</c:v>
                </c:pt>
                <c:pt idx="523">
                  <c:v>44719</c:v>
                </c:pt>
                <c:pt idx="524">
                  <c:v>44720</c:v>
                </c:pt>
                <c:pt idx="525">
                  <c:v>44721</c:v>
                </c:pt>
                <c:pt idx="526">
                  <c:v>44722</c:v>
                </c:pt>
                <c:pt idx="527">
                  <c:v>44723</c:v>
                </c:pt>
                <c:pt idx="528">
                  <c:v>44724</c:v>
                </c:pt>
                <c:pt idx="529">
                  <c:v>44725</c:v>
                </c:pt>
                <c:pt idx="530">
                  <c:v>44726</c:v>
                </c:pt>
                <c:pt idx="531">
                  <c:v>44727</c:v>
                </c:pt>
                <c:pt idx="532">
                  <c:v>44728</c:v>
                </c:pt>
                <c:pt idx="533">
                  <c:v>44729</c:v>
                </c:pt>
                <c:pt idx="534">
                  <c:v>44730</c:v>
                </c:pt>
                <c:pt idx="535">
                  <c:v>44731</c:v>
                </c:pt>
                <c:pt idx="536">
                  <c:v>44732</c:v>
                </c:pt>
                <c:pt idx="537">
                  <c:v>44733</c:v>
                </c:pt>
                <c:pt idx="538">
                  <c:v>44734</c:v>
                </c:pt>
                <c:pt idx="539">
                  <c:v>44735</c:v>
                </c:pt>
                <c:pt idx="540">
                  <c:v>44736</c:v>
                </c:pt>
                <c:pt idx="541">
                  <c:v>44737</c:v>
                </c:pt>
                <c:pt idx="542">
                  <c:v>44738</c:v>
                </c:pt>
                <c:pt idx="543">
                  <c:v>44739</c:v>
                </c:pt>
                <c:pt idx="544">
                  <c:v>44740</c:v>
                </c:pt>
                <c:pt idx="545">
                  <c:v>44741</c:v>
                </c:pt>
                <c:pt idx="546">
                  <c:v>44742</c:v>
                </c:pt>
                <c:pt idx="547">
                  <c:v>44743</c:v>
                </c:pt>
                <c:pt idx="548">
                  <c:v>44744</c:v>
                </c:pt>
                <c:pt idx="549">
                  <c:v>44745</c:v>
                </c:pt>
                <c:pt idx="550">
                  <c:v>44746</c:v>
                </c:pt>
                <c:pt idx="551">
                  <c:v>44747</c:v>
                </c:pt>
                <c:pt idx="552">
                  <c:v>44748</c:v>
                </c:pt>
                <c:pt idx="553">
                  <c:v>44749</c:v>
                </c:pt>
                <c:pt idx="554">
                  <c:v>44750</c:v>
                </c:pt>
                <c:pt idx="555">
                  <c:v>44751</c:v>
                </c:pt>
                <c:pt idx="556">
                  <c:v>44752</c:v>
                </c:pt>
                <c:pt idx="557">
                  <c:v>44753</c:v>
                </c:pt>
                <c:pt idx="558">
                  <c:v>44754</c:v>
                </c:pt>
                <c:pt idx="559">
                  <c:v>44755</c:v>
                </c:pt>
                <c:pt idx="560">
                  <c:v>44756</c:v>
                </c:pt>
                <c:pt idx="561">
                  <c:v>44757</c:v>
                </c:pt>
                <c:pt idx="562">
                  <c:v>44758</c:v>
                </c:pt>
                <c:pt idx="563">
                  <c:v>44759</c:v>
                </c:pt>
                <c:pt idx="564">
                  <c:v>44760</c:v>
                </c:pt>
                <c:pt idx="565">
                  <c:v>44761</c:v>
                </c:pt>
                <c:pt idx="566">
                  <c:v>44762</c:v>
                </c:pt>
                <c:pt idx="567">
                  <c:v>44763</c:v>
                </c:pt>
                <c:pt idx="568">
                  <c:v>44764</c:v>
                </c:pt>
                <c:pt idx="569">
                  <c:v>44765</c:v>
                </c:pt>
                <c:pt idx="570">
                  <c:v>44766</c:v>
                </c:pt>
                <c:pt idx="571">
                  <c:v>44767</c:v>
                </c:pt>
                <c:pt idx="572">
                  <c:v>44768</c:v>
                </c:pt>
                <c:pt idx="573">
                  <c:v>44769</c:v>
                </c:pt>
                <c:pt idx="574">
                  <c:v>44770</c:v>
                </c:pt>
                <c:pt idx="575">
                  <c:v>44771</c:v>
                </c:pt>
                <c:pt idx="576">
                  <c:v>44772</c:v>
                </c:pt>
                <c:pt idx="577">
                  <c:v>44773</c:v>
                </c:pt>
                <c:pt idx="578">
                  <c:v>44774</c:v>
                </c:pt>
                <c:pt idx="579">
                  <c:v>44775</c:v>
                </c:pt>
                <c:pt idx="580">
                  <c:v>44776</c:v>
                </c:pt>
                <c:pt idx="581">
                  <c:v>44777</c:v>
                </c:pt>
                <c:pt idx="582">
                  <c:v>44778</c:v>
                </c:pt>
                <c:pt idx="583">
                  <c:v>44779</c:v>
                </c:pt>
                <c:pt idx="584">
                  <c:v>44780</c:v>
                </c:pt>
                <c:pt idx="585">
                  <c:v>44781</c:v>
                </c:pt>
                <c:pt idx="586">
                  <c:v>44782</c:v>
                </c:pt>
                <c:pt idx="587">
                  <c:v>44783</c:v>
                </c:pt>
                <c:pt idx="588">
                  <c:v>44784</c:v>
                </c:pt>
                <c:pt idx="589">
                  <c:v>44785</c:v>
                </c:pt>
                <c:pt idx="590">
                  <c:v>44786</c:v>
                </c:pt>
                <c:pt idx="591">
                  <c:v>44787</c:v>
                </c:pt>
                <c:pt idx="592">
                  <c:v>44788</c:v>
                </c:pt>
                <c:pt idx="593">
                  <c:v>44789</c:v>
                </c:pt>
                <c:pt idx="594">
                  <c:v>44790</c:v>
                </c:pt>
                <c:pt idx="595">
                  <c:v>44791</c:v>
                </c:pt>
                <c:pt idx="596">
                  <c:v>44792</c:v>
                </c:pt>
                <c:pt idx="597">
                  <c:v>44793</c:v>
                </c:pt>
                <c:pt idx="598">
                  <c:v>44794</c:v>
                </c:pt>
                <c:pt idx="599">
                  <c:v>44795</c:v>
                </c:pt>
                <c:pt idx="600">
                  <c:v>44796</c:v>
                </c:pt>
                <c:pt idx="601">
                  <c:v>44797</c:v>
                </c:pt>
                <c:pt idx="602">
                  <c:v>44798</c:v>
                </c:pt>
                <c:pt idx="603">
                  <c:v>44799</c:v>
                </c:pt>
                <c:pt idx="604">
                  <c:v>44800</c:v>
                </c:pt>
                <c:pt idx="605">
                  <c:v>44801</c:v>
                </c:pt>
                <c:pt idx="606">
                  <c:v>44802</c:v>
                </c:pt>
                <c:pt idx="607">
                  <c:v>44803</c:v>
                </c:pt>
                <c:pt idx="608">
                  <c:v>44804</c:v>
                </c:pt>
                <c:pt idx="609">
                  <c:v>44805</c:v>
                </c:pt>
                <c:pt idx="610">
                  <c:v>44806</c:v>
                </c:pt>
                <c:pt idx="611">
                  <c:v>44807</c:v>
                </c:pt>
                <c:pt idx="612">
                  <c:v>44808</c:v>
                </c:pt>
                <c:pt idx="613">
                  <c:v>44809</c:v>
                </c:pt>
                <c:pt idx="614">
                  <c:v>44810</c:v>
                </c:pt>
                <c:pt idx="615">
                  <c:v>44811</c:v>
                </c:pt>
                <c:pt idx="616">
                  <c:v>44812</c:v>
                </c:pt>
                <c:pt idx="617">
                  <c:v>44813</c:v>
                </c:pt>
                <c:pt idx="618">
                  <c:v>44814</c:v>
                </c:pt>
                <c:pt idx="619">
                  <c:v>44815</c:v>
                </c:pt>
                <c:pt idx="620">
                  <c:v>44816</c:v>
                </c:pt>
                <c:pt idx="621">
                  <c:v>44817</c:v>
                </c:pt>
                <c:pt idx="622">
                  <c:v>44818</c:v>
                </c:pt>
                <c:pt idx="623">
                  <c:v>44819</c:v>
                </c:pt>
                <c:pt idx="624">
                  <c:v>44820</c:v>
                </c:pt>
                <c:pt idx="625">
                  <c:v>44821</c:v>
                </c:pt>
                <c:pt idx="626">
                  <c:v>44822</c:v>
                </c:pt>
                <c:pt idx="627">
                  <c:v>44823</c:v>
                </c:pt>
                <c:pt idx="628">
                  <c:v>44824</c:v>
                </c:pt>
                <c:pt idx="629">
                  <c:v>44825</c:v>
                </c:pt>
                <c:pt idx="630">
                  <c:v>44826</c:v>
                </c:pt>
                <c:pt idx="631">
                  <c:v>44827</c:v>
                </c:pt>
                <c:pt idx="632">
                  <c:v>44828</c:v>
                </c:pt>
                <c:pt idx="633">
                  <c:v>44829</c:v>
                </c:pt>
                <c:pt idx="634">
                  <c:v>44830</c:v>
                </c:pt>
                <c:pt idx="635">
                  <c:v>44831</c:v>
                </c:pt>
                <c:pt idx="636">
                  <c:v>44832</c:v>
                </c:pt>
                <c:pt idx="637">
                  <c:v>44833</c:v>
                </c:pt>
                <c:pt idx="638">
                  <c:v>44834</c:v>
                </c:pt>
                <c:pt idx="639">
                  <c:v>44835</c:v>
                </c:pt>
                <c:pt idx="640">
                  <c:v>44836</c:v>
                </c:pt>
                <c:pt idx="641">
                  <c:v>44837</c:v>
                </c:pt>
                <c:pt idx="642">
                  <c:v>44838</c:v>
                </c:pt>
                <c:pt idx="643">
                  <c:v>44839</c:v>
                </c:pt>
                <c:pt idx="644">
                  <c:v>44840</c:v>
                </c:pt>
                <c:pt idx="645">
                  <c:v>44841</c:v>
                </c:pt>
                <c:pt idx="646">
                  <c:v>44842</c:v>
                </c:pt>
                <c:pt idx="647">
                  <c:v>44843</c:v>
                </c:pt>
                <c:pt idx="648">
                  <c:v>44844</c:v>
                </c:pt>
                <c:pt idx="649">
                  <c:v>44845</c:v>
                </c:pt>
                <c:pt idx="650">
                  <c:v>44846</c:v>
                </c:pt>
                <c:pt idx="651">
                  <c:v>44847</c:v>
                </c:pt>
                <c:pt idx="652">
                  <c:v>44848</c:v>
                </c:pt>
                <c:pt idx="653">
                  <c:v>44849</c:v>
                </c:pt>
                <c:pt idx="654">
                  <c:v>44850</c:v>
                </c:pt>
                <c:pt idx="655">
                  <c:v>44851</c:v>
                </c:pt>
                <c:pt idx="656">
                  <c:v>44852</c:v>
                </c:pt>
                <c:pt idx="657">
                  <c:v>44853</c:v>
                </c:pt>
                <c:pt idx="658">
                  <c:v>44854</c:v>
                </c:pt>
                <c:pt idx="659">
                  <c:v>44855</c:v>
                </c:pt>
                <c:pt idx="660">
                  <c:v>44856</c:v>
                </c:pt>
                <c:pt idx="661">
                  <c:v>44857</c:v>
                </c:pt>
                <c:pt idx="662">
                  <c:v>44858</c:v>
                </c:pt>
                <c:pt idx="663">
                  <c:v>44859</c:v>
                </c:pt>
                <c:pt idx="664">
                  <c:v>44860</c:v>
                </c:pt>
                <c:pt idx="665">
                  <c:v>44861</c:v>
                </c:pt>
                <c:pt idx="666">
                  <c:v>44862</c:v>
                </c:pt>
                <c:pt idx="667">
                  <c:v>44863</c:v>
                </c:pt>
                <c:pt idx="668">
                  <c:v>44864</c:v>
                </c:pt>
                <c:pt idx="669">
                  <c:v>44865</c:v>
                </c:pt>
                <c:pt idx="670">
                  <c:v>44866</c:v>
                </c:pt>
                <c:pt idx="671">
                  <c:v>44867</c:v>
                </c:pt>
                <c:pt idx="672">
                  <c:v>44868</c:v>
                </c:pt>
                <c:pt idx="673">
                  <c:v>44869</c:v>
                </c:pt>
                <c:pt idx="674">
                  <c:v>44870</c:v>
                </c:pt>
                <c:pt idx="675">
                  <c:v>44871</c:v>
                </c:pt>
                <c:pt idx="676">
                  <c:v>44872</c:v>
                </c:pt>
                <c:pt idx="677">
                  <c:v>44873</c:v>
                </c:pt>
                <c:pt idx="678">
                  <c:v>44874</c:v>
                </c:pt>
                <c:pt idx="679">
                  <c:v>44875</c:v>
                </c:pt>
                <c:pt idx="680">
                  <c:v>44876</c:v>
                </c:pt>
                <c:pt idx="681">
                  <c:v>44877</c:v>
                </c:pt>
                <c:pt idx="682">
                  <c:v>44878</c:v>
                </c:pt>
                <c:pt idx="683">
                  <c:v>44879</c:v>
                </c:pt>
                <c:pt idx="684">
                  <c:v>44880</c:v>
                </c:pt>
                <c:pt idx="685">
                  <c:v>44881</c:v>
                </c:pt>
                <c:pt idx="686">
                  <c:v>44882</c:v>
                </c:pt>
                <c:pt idx="687">
                  <c:v>44883</c:v>
                </c:pt>
                <c:pt idx="688">
                  <c:v>44884</c:v>
                </c:pt>
                <c:pt idx="689">
                  <c:v>44885</c:v>
                </c:pt>
                <c:pt idx="690">
                  <c:v>44886</c:v>
                </c:pt>
                <c:pt idx="691">
                  <c:v>44887</c:v>
                </c:pt>
                <c:pt idx="692">
                  <c:v>44888</c:v>
                </c:pt>
                <c:pt idx="693">
                  <c:v>44889</c:v>
                </c:pt>
                <c:pt idx="694">
                  <c:v>44890</c:v>
                </c:pt>
                <c:pt idx="695">
                  <c:v>44891</c:v>
                </c:pt>
                <c:pt idx="696">
                  <c:v>44892</c:v>
                </c:pt>
                <c:pt idx="697">
                  <c:v>44893</c:v>
                </c:pt>
                <c:pt idx="698">
                  <c:v>44894</c:v>
                </c:pt>
                <c:pt idx="699">
                  <c:v>44895</c:v>
                </c:pt>
                <c:pt idx="700">
                  <c:v>44896</c:v>
                </c:pt>
                <c:pt idx="701">
                  <c:v>44897</c:v>
                </c:pt>
                <c:pt idx="702">
                  <c:v>44898</c:v>
                </c:pt>
                <c:pt idx="703">
                  <c:v>44899</c:v>
                </c:pt>
                <c:pt idx="704">
                  <c:v>44900</c:v>
                </c:pt>
                <c:pt idx="705">
                  <c:v>44901</c:v>
                </c:pt>
                <c:pt idx="706">
                  <c:v>44902</c:v>
                </c:pt>
                <c:pt idx="707">
                  <c:v>44903</c:v>
                </c:pt>
                <c:pt idx="708">
                  <c:v>44904</c:v>
                </c:pt>
                <c:pt idx="709">
                  <c:v>44905</c:v>
                </c:pt>
                <c:pt idx="710">
                  <c:v>44906</c:v>
                </c:pt>
                <c:pt idx="711">
                  <c:v>44907</c:v>
                </c:pt>
                <c:pt idx="712">
                  <c:v>44908</c:v>
                </c:pt>
                <c:pt idx="713">
                  <c:v>44909</c:v>
                </c:pt>
                <c:pt idx="714">
                  <c:v>44910</c:v>
                </c:pt>
                <c:pt idx="715">
                  <c:v>44911</c:v>
                </c:pt>
                <c:pt idx="716">
                  <c:v>44912</c:v>
                </c:pt>
                <c:pt idx="717">
                  <c:v>44913</c:v>
                </c:pt>
                <c:pt idx="718">
                  <c:v>44914</c:v>
                </c:pt>
                <c:pt idx="719">
                  <c:v>44915</c:v>
                </c:pt>
                <c:pt idx="720">
                  <c:v>44916</c:v>
                </c:pt>
                <c:pt idx="721">
                  <c:v>44917</c:v>
                </c:pt>
                <c:pt idx="722">
                  <c:v>44918</c:v>
                </c:pt>
                <c:pt idx="723">
                  <c:v>44919</c:v>
                </c:pt>
                <c:pt idx="724">
                  <c:v>44920</c:v>
                </c:pt>
                <c:pt idx="725">
                  <c:v>44921</c:v>
                </c:pt>
                <c:pt idx="726">
                  <c:v>44922</c:v>
                </c:pt>
                <c:pt idx="727">
                  <c:v>44923</c:v>
                </c:pt>
                <c:pt idx="728">
                  <c:v>44924</c:v>
                </c:pt>
                <c:pt idx="729">
                  <c:v>44925</c:v>
                </c:pt>
                <c:pt idx="730">
                  <c:v>44926</c:v>
                </c:pt>
                <c:pt idx="731">
                  <c:v>44927</c:v>
                </c:pt>
                <c:pt idx="732">
                  <c:v>44928</c:v>
                </c:pt>
                <c:pt idx="733">
                  <c:v>44929</c:v>
                </c:pt>
                <c:pt idx="734">
                  <c:v>44930</c:v>
                </c:pt>
                <c:pt idx="735">
                  <c:v>44931</c:v>
                </c:pt>
                <c:pt idx="736">
                  <c:v>44932</c:v>
                </c:pt>
                <c:pt idx="737">
                  <c:v>44933</c:v>
                </c:pt>
                <c:pt idx="738">
                  <c:v>44934</c:v>
                </c:pt>
                <c:pt idx="739">
                  <c:v>44935</c:v>
                </c:pt>
                <c:pt idx="740">
                  <c:v>44936</c:v>
                </c:pt>
                <c:pt idx="741">
                  <c:v>44937</c:v>
                </c:pt>
                <c:pt idx="742">
                  <c:v>44938</c:v>
                </c:pt>
                <c:pt idx="743">
                  <c:v>44939</c:v>
                </c:pt>
                <c:pt idx="744">
                  <c:v>44940</c:v>
                </c:pt>
                <c:pt idx="745">
                  <c:v>44941</c:v>
                </c:pt>
                <c:pt idx="746">
                  <c:v>44942</c:v>
                </c:pt>
                <c:pt idx="747">
                  <c:v>44943</c:v>
                </c:pt>
                <c:pt idx="748">
                  <c:v>44944</c:v>
                </c:pt>
                <c:pt idx="749">
                  <c:v>44945</c:v>
                </c:pt>
                <c:pt idx="750">
                  <c:v>44946</c:v>
                </c:pt>
                <c:pt idx="751">
                  <c:v>44947</c:v>
                </c:pt>
                <c:pt idx="752">
                  <c:v>44948</c:v>
                </c:pt>
                <c:pt idx="753">
                  <c:v>44949</c:v>
                </c:pt>
                <c:pt idx="754">
                  <c:v>44950</c:v>
                </c:pt>
                <c:pt idx="755">
                  <c:v>44951</c:v>
                </c:pt>
                <c:pt idx="756">
                  <c:v>44952</c:v>
                </c:pt>
                <c:pt idx="757">
                  <c:v>44953</c:v>
                </c:pt>
                <c:pt idx="758">
                  <c:v>44954</c:v>
                </c:pt>
                <c:pt idx="759">
                  <c:v>44955</c:v>
                </c:pt>
                <c:pt idx="760">
                  <c:v>44956</c:v>
                </c:pt>
                <c:pt idx="761">
                  <c:v>44957</c:v>
                </c:pt>
                <c:pt idx="762">
                  <c:v>44958</c:v>
                </c:pt>
                <c:pt idx="763">
                  <c:v>44959</c:v>
                </c:pt>
                <c:pt idx="764">
                  <c:v>44960</c:v>
                </c:pt>
                <c:pt idx="765">
                  <c:v>44961</c:v>
                </c:pt>
                <c:pt idx="766">
                  <c:v>44962</c:v>
                </c:pt>
                <c:pt idx="767">
                  <c:v>44963</c:v>
                </c:pt>
                <c:pt idx="768">
                  <c:v>44964</c:v>
                </c:pt>
                <c:pt idx="769">
                  <c:v>44965</c:v>
                </c:pt>
                <c:pt idx="770">
                  <c:v>44966</c:v>
                </c:pt>
                <c:pt idx="771">
                  <c:v>44967</c:v>
                </c:pt>
                <c:pt idx="772">
                  <c:v>44968</c:v>
                </c:pt>
                <c:pt idx="773">
                  <c:v>44969</c:v>
                </c:pt>
                <c:pt idx="774">
                  <c:v>44970</c:v>
                </c:pt>
                <c:pt idx="775">
                  <c:v>44971</c:v>
                </c:pt>
                <c:pt idx="776">
                  <c:v>44972</c:v>
                </c:pt>
                <c:pt idx="777">
                  <c:v>44973</c:v>
                </c:pt>
                <c:pt idx="778">
                  <c:v>44974</c:v>
                </c:pt>
                <c:pt idx="779">
                  <c:v>44975</c:v>
                </c:pt>
                <c:pt idx="780">
                  <c:v>44976</c:v>
                </c:pt>
                <c:pt idx="781">
                  <c:v>44977</c:v>
                </c:pt>
                <c:pt idx="782">
                  <c:v>44978</c:v>
                </c:pt>
                <c:pt idx="783">
                  <c:v>44979</c:v>
                </c:pt>
                <c:pt idx="784">
                  <c:v>44980</c:v>
                </c:pt>
                <c:pt idx="785">
                  <c:v>44981</c:v>
                </c:pt>
                <c:pt idx="786">
                  <c:v>44982</c:v>
                </c:pt>
                <c:pt idx="787">
                  <c:v>44983</c:v>
                </c:pt>
                <c:pt idx="788">
                  <c:v>44984</c:v>
                </c:pt>
                <c:pt idx="789">
                  <c:v>44985</c:v>
                </c:pt>
                <c:pt idx="790">
                  <c:v>44986</c:v>
                </c:pt>
                <c:pt idx="791">
                  <c:v>44987</c:v>
                </c:pt>
                <c:pt idx="792">
                  <c:v>44988</c:v>
                </c:pt>
                <c:pt idx="793">
                  <c:v>44989</c:v>
                </c:pt>
                <c:pt idx="794">
                  <c:v>44990</c:v>
                </c:pt>
                <c:pt idx="795">
                  <c:v>44991</c:v>
                </c:pt>
                <c:pt idx="796">
                  <c:v>44992</c:v>
                </c:pt>
                <c:pt idx="797">
                  <c:v>44993</c:v>
                </c:pt>
                <c:pt idx="798">
                  <c:v>44994</c:v>
                </c:pt>
                <c:pt idx="799">
                  <c:v>44995</c:v>
                </c:pt>
                <c:pt idx="800">
                  <c:v>44996</c:v>
                </c:pt>
                <c:pt idx="801">
                  <c:v>44997</c:v>
                </c:pt>
                <c:pt idx="802">
                  <c:v>44998</c:v>
                </c:pt>
                <c:pt idx="803">
                  <c:v>44999</c:v>
                </c:pt>
                <c:pt idx="804">
                  <c:v>45000</c:v>
                </c:pt>
                <c:pt idx="805">
                  <c:v>45001</c:v>
                </c:pt>
                <c:pt idx="806">
                  <c:v>45002</c:v>
                </c:pt>
                <c:pt idx="807">
                  <c:v>45003</c:v>
                </c:pt>
                <c:pt idx="808">
                  <c:v>45004</c:v>
                </c:pt>
                <c:pt idx="809">
                  <c:v>45005</c:v>
                </c:pt>
                <c:pt idx="810">
                  <c:v>45006</c:v>
                </c:pt>
                <c:pt idx="811">
                  <c:v>45007</c:v>
                </c:pt>
                <c:pt idx="812">
                  <c:v>45008</c:v>
                </c:pt>
                <c:pt idx="813">
                  <c:v>45009</c:v>
                </c:pt>
                <c:pt idx="814">
                  <c:v>45010</c:v>
                </c:pt>
                <c:pt idx="815">
                  <c:v>45011</c:v>
                </c:pt>
                <c:pt idx="816">
                  <c:v>45012</c:v>
                </c:pt>
                <c:pt idx="817">
                  <c:v>45013</c:v>
                </c:pt>
                <c:pt idx="818">
                  <c:v>45014</c:v>
                </c:pt>
                <c:pt idx="819">
                  <c:v>45015</c:v>
                </c:pt>
                <c:pt idx="820">
                  <c:v>45016</c:v>
                </c:pt>
                <c:pt idx="821">
                  <c:v>45017</c:v>
                </c:pt>
                <c:pt idx="822">
                  <c:v>45018</c:v>
                </c:pt>
                <c:pt idx="823">
                  <c:v>45019</c:v>
                </c:pt>
                <c:pt idx="824">
                  <c:v>45020</c:v>
                </c:pt>
                <c:pt idx="825">
                  <c:v>45021</c:v>
                </c:pt>
                <c:pt idx="826">
                  <c:v>45022</c:v>
                </c:pt>
                <c:pt idx="827">
                  <c:v>45023</c:v>
                </c:pt>
                <c:pt idx="828">
                  <c:v>45024</c:v>
                </c:pt>
                <c:pt idx="829">
                  <c:v>45025</c:v>
                </c:pt>
                <c:pt idx="830">
                  <c:v>45026</c:v>
                </c:pt>
                <c:pt idx="831">
                  <c:v>45027</c:v>
                </c:pt>
                <c:pt idx="832">
                  <c:v>45028</c:v>
                </c:pt>
                <c:pt idx="833">
                  <c:v>45029</c:v>
                </c:pt>
                <c:pt idx="834">
                  <c:v>45030</c:v>
                </c:pt>
                <c:pt idx="835">
                  <c:v>45031</c:v>
                </c:pt>
                <c:pt idx="836">
                  <c:v>45032</c:v>
                </c:pt>
                <c:pt idx="837">
                  <c:v>45033</c:v>
                </c:pt>
                <c:pt idx="838">
                  <c:v>45034</c:v>
                </c:pt>
                <c:pt idx="839">
                  <c:v>45035</c:v>
                </c:pt>
                <c:pt idx="840">
                  <c:v>45036</c:v>
                </c:pt>
                <c:pt idx="841">
                  <c:v>45037</c:v>
                </c:pt>
                <c:pt idx="842">
                  <c:v>45038</c:v>
                </c:pt>
                <c:pt idx="843">
                  <c:v>45039</c:v>
                </c:pt>
                <c:pt idx="844">
                  <c:v>45040</c:v>
                </c:pt>
                <c:pt idx="845">
                  <c:v>45041</c:v>
                </c:pt>
                <c:pt idx="846">
                  <c:v>45042</c:v>
                </c:pt>
                <c:pt idx="847">
                  <c:v>45043</c:v>
                </c:pt>
                <c:pt idx="848">
                  <c:v>45044</c:v>
                </c:pt>
                <c:pt idx="849">
                  <c:v>45045</c:v>
                </c:pt>
                <c:pt idx="850">
                  <c:v>45046</c:v>
                </c:pt>
                <c:pt idx="851">
                  <c:v>45047</c:v>
                </c:pt>
                <c:pt idx="852">
                  <c:v>45048</c:v>
                </c:pt>
                <c:pt idx="853">
                  <c:v>45049</c:v>
                </c:pt>
                <c:pt idx="854">
                  <c:v>45050</c:v>
                </c:pt>
                <c:pt idx="855">
                  <c:v>45051</c:v>
                </c:pt>
                <c:pt idx="856">
                  <c:v>45052</c:v>
                </c:pt>
                <c:pt idx="857">
                  <c:v>45053</c:v>
                </c:pt>
                <c:pt idx="858">
                  <c:v>45054</c:v>
                </c:pt>
                <c:pt idx="859">
                  <c:v>45055</c:v>
                </c:pt>
                <c:pt idx="860">
                  <c:v>45056</c:v>
                </c:pt>
                <c:pt idx="861">
                  <c:v>45057</c:v>
                </c:pt>
                <c:pt idx="862">
                  <c:v>45058</c:v>
                </c:pt>
                <c:pt idx="863">
                  <c:v>45059</c:v>
                </c:pt>
                <c:pt idx="864">
                  <c:v>45060</c:v>
                </c:pt>
                <c:pt idx="865">
                  <c:v>45061</c:v>
                </c:pt>
                <c:pt idx="866">
                  <c:v>45062</c:v>
                </c:pt>
                <c:pt idx="867">
                  <c:v>45063</c:v>
                </c:pt>
                <c:pt idx="868">
                  <c:v>45064</c:v>
                </c:pt>
                <c:pt idx="869">
                  <c:v>45065</c:v>
                </c:pt>
                <c:pt idx="870">
                  <c:v>45066</c:v>
                </c:pt>
                <c:pt idx="871">
                  <c:v>45067</c:v>
                </c:pt>
                <c:pt idx="872">
                  <c:v>45068</c:v>
                </c:pt>
                <c:pt idx="873">
                  <c:v>45069</c:v>
                </c:pt>
                <c:pt idx="874">
                  <c:v>45070</c:v>
                </c:pt>
                <c:pt idx="875">
                  <c:v>45071</c:v>
                </c:pt>
                <c:pt idx="876">
                  <c:v>45072</c:v>
                </c:pt>
                <c:pt idx="877">
                  <c:v>45073</c:v>
                </c:pt>
                <c:pt idx="878">
                  <c:v>45074</c:v>
                </c:pt>
                <c:pt idx="879">
                  <c:v>45075</c:v>
                </c:pt>
                <c:pt idx="880">
                  <c:v>45076</c:v>
                </c:pt>
                <c:pt idx="881">
                  <c:v>45077</c:v>
                </c:pt>
                <c:pt idx="882">
                  <c:v>45078</c:v>
                </c:pt>
                <c:pt idx="883">
                  <c:v>45079</c:v>
                </c:pt>
                <c:pt idx="884">
                  <c:v>45080</c:v>
                </c:pt>
                <c:pt idx="885">
                  <c:v>45081</c:v>
                </c:pt>
                <c:pt idx="886">
                  <c:v>45082</c:v>
                </c:pt>
                <c:pt idx="887">
                  <c:v>45083</c:v>
                </c:pt>
                <c:pt idx="888">
                  <c:v>45084</c:v>
                </c:pt>
                <c:pt idx="889">
                  <c:v>45085</c:v>
                </c:pt>
                <c:pt idx="890">
                  <c:v>45086</c:v>
                </c:pt>
                <c:pt idx="891">
                  <c:v>45087</c:v>
                </c:pt>
                <c:pt idx="892">
                  <c:v>45088</c:v>
                </c:pt>
                <c:pt idx="893">
                  <c:v>45089</c:v>
                </c:pt>
                <c:pt idx="894">
                  <c:v>45090</c:v>
                </c:pt>
                <c:pt idx="895">
                  <c:v>45091</c:v>
                </c:pt>
                <c:pt idx="896">
                  <c:v>45092</c:v>
                </c:pt>
                <c:pt idx="897">
                  <c:v>45093</c:v>
                </c:pt>
                <c:pt idx="898">
                  <c:v>45094</c:v>
                </c:pt>
                <c:pt idx="899">
                  <c:v>45095</c:v>
                </c:pt>
                <c:pt idx="900">
                  <c:v>45096</c:v>
                </c:pt>
                <c:pt idx="901">
                  <c:v>45097</c:v>
                </c:pt>
                <c:pt idx="902">
                  <c:v>45098</c:v>
                </c:pt>
                <c:pt idx="903">
                  <c:v>45099</c:v>
                </c:pt>
                <c:pt idx="904">
                  <c:v>45100</c:v>
                </c:pt>
                <c:pt idx="905">
                  <c:v>45101</c:v>
                </c:pt>
                <c:pt idx="906">
                  <c:v>45102</c:v>
                </c:pt>
                <c:pt idx="907">
                  <c:v>45103</c:v>
                </c:pt>
                <c:pt idx="908">
                  <c:v>45104</c:v>
                </c:pt>
                <c:pt idx="909">
                  <c:v>45105</c:v>
                </c:pt>
                <c:pt idx="910">
                  <c:v>45106</c:v>
                </c:pt>
                <c:pt idx="911">
                  <c:v>45107</c:v>
                </c:pt>
                <c:pt idx="912">
                  <c:v>45108</c:v>
                </c:pt>
                <c:pt idx="913">
                  <c:v>45109</c:v>
                </c:pt>
                <c:pt idx="914">
                  <c:v>45110</c:v>
                </c:pt>
                <c:pt idx="915">
                  <c:v>45111</c:v>
                </c:pt>
                <c:pt idx="916">
                  <c:v>45112</c:v>
                </c:pt>
                <c:pt idx="917">
                  <c:v>45113</c:v>
                </c:pt>
                <c:pt idx="918">
                  <c:v>45114</c:v>
                </c:pt>
                <c:pt idx="919">
                  <c:v>45115</c:v>
                </c:pt>
                <c:pt idx="920">
                  <c:v>45116</c:v>
                </c:pt>
                <c:pt idx="921">
                  <c:v>45117</c:v>
                </c:pt>
                <c:pt idx="922">
                  <c:v>45118</c:v>
                </c:pt>
                <c:pt idx="923">
                  <c:v>45119</c:v>
                </c:pt>
                <c:pt idx="924">
                  <c:v>45120</c:v>
                </c:pt>
                <c:pt idx="925">
                  <c:v>45121</c:v>
                </c:pt>
                <c:pt idx="926">
                  <c:v>45122</c:v>
                </c:pt>
                <c:pt idx="927">
                  <c:v>45123</c:v>
                </c:pt>
                <c:pt idx="928">
                  <c:v>45124</c:v>
                </c:pt>
                <c:pt idx="929">
                  <c:v>45125</c:v>
                </c:pt>
                <c:pt idx="930">
                  <c:v>45126</c:v>
                </c:pt>
                <c:pt idx="931">
                  <c:v>45127</c:v>
                </c:pt>
                <c:pt idx="932">
                  <c:v>45128</c:v>
                </c:pt>
                <c:pt idx="933">
                  <c:v>45129</c:v>
                </c:pt>
                <c:pt idx="934">
                  <c:v>45130</c:v>
                </c:pt>
                <c:pt idx="935">
                  <c:v>45131</c:v>
                </c:pt>
                <c:pt idx="936">
                  <c:v>45132</c:v>
                </c:pt>
                <c:pt idx="937">
                  <c:v>45133</c:v>
                </c:pt>
                <c:pt idx="938">
                  <c:v>45134</c:v>
                </c:pt>
                <c:pt idx="939">
                  <c:v>45135</c:v>
                </c:pt>
                <c:pt idx="940">
                  <c:v>45136</c:v>
                </c:pt>
                <c:pt idx="941">
                  <c:v>45137</c:v>
                </c:pt>
                <c:pt idx="942">
                  <c:v>45138</c:v>
                </c:pt>
                <c:pt idx="943">
                  <c:v>45139</c:v>
                </c:pt>
                <c:pt idx="944">
                  <c:v>45140</c:v>
                </c:pt>
                <c:pt idx="945">
                  <c:v>45141</c:v>
                </c:pt>
                <c:pt idx="946">
                  <c:v>45142</c:v>
                </c:pt>
                <c:pt idx="947">
                  <c:v>45143</c:v>
                </c:pt>
                <c:pt idx="948">
                  <c:v>45144</c:v>
                </c:pt>
                <c:pt idx="949">
                  <c:v>45145</c:v>
                </c:pt>
                <c:pt idx="950">
                  <c:v>45146</c:v>
                </c:pt>
                <c:pt idx="951">
                  <c:v>45147</c:v>
                </c:pt>
                <c:pt idx="952">
                  <c:v>45148</c:v>
                </c:pt>
                <c:pt idx="953">
                  <c:v>45149</c:v>
                </c:pt>
                <c:pt idx="954">
                  <c:v>45150</c:v>
                </c:pt>
                <c:pt idx="955">
                  <c:v>45151</c:v>
                </c:pt>
                <c:pt idx="956">
                  <c:v>45152</c:v>
                </c:pt>
                <c:pt idx="957">
                  <c:v>45153</c:v>
                </c:pt>
                <c:pt idx="958">
                  <c:v>45154</c:v>
                </c:pt>
                <c:pt idx="959">
                  <c:v>45155</c:v>
                </c:pt>
                <c:pt idx="960">
                  <c:v>45156</c:v>
                </c:pt>
                <c:pt idx="961">
                  <c:v>45157</c:v>
                </c:pt>
                <c:pt idx="962">
                  <c:v>45158</c:v>
                </c:pt>
                <c:pt idx="963">
                  <c:v>45159</c:v>
                </c:pt>
                <c:pt idx="964">
                  <c:v>45160</c:v>
                </c:pt>
                <c:pt idx="965">
                  <c:v>45161</c:v>
                </c:pt>
                <c:pt idx="966">
                  <c:v>45162</c:v>
                </c:pt>
                <c:pt idx="967">
                  <c:v>45163</c:v>
                </c:pt>
                <c:pt idx="968">
                  <c:v>45164</c:v>
                </c:pt>
                <c:pt idx="969">
                  <c:v>45165</c:v>
                </c:pt>
                <c:pt idx="970">
                  <c:v>45166</c:v>
                </c:pt>
                <c:pt idx="971">
                  <c:v>45167</c:v>
                </c:pt>
                <c:pt idx="972">
                  <c:v>45168</c:v>
                </c:pt>
                <c:pt idx="973">
                  <c:v>45169</c:v>
                </c:pt>
                <c:pt idx="974">
                  <c:v>45170</c:v>
                </c:pt>
                <c:pt idx="975">
                  <c:v>45171</c:v>
                </c:pt>
                <c:pt idx="976">
                  <c:v>45172</c:v>
                </c:pt>
                <c:pt idx="977">
                  <c:v>45173</c:v>
                </c:pt>
                <c:pt idx="978">
                  <c:v>45174</c:v>
                </c:pt>
                <c:pt idx="979">
                  <c:v>45175</c:v>
                </c:pt>
                <c:pt idx="980">
                  <c:v>45176</c:v>
                </c:pt>
                <c:pt idx="981">
                  <c:v>45177</c:v>
                </c:pt>
                <c:pt idx="982">
                  <c:v>45178</c:v>
                </c:pt>
                <c:pt idx="983">
                  <c:v>45179</c:v>
                </c:pt>
                <c:pt idx="984">
                  <c:v>45180</c:v>
                </c:pt>
                <c:pt idx="985">
                  <c:v>45181</c:v>
                </c:pt>
                <c:pt idx="986">
                  <c:v>45182</c:v>
                </c:pt>
                <c:pt idx="987">
                  <c:v>45183</c:v>
                </c:pt>
                <c:pt idx="988">
                  <c:v>45184</c:v>
                </c:pt>
                <c:pt idx="989">
                  <c:v>45185</c:v>
                </c:pt>
                <c:pt idx="990">
                  <c:v>45186</c:v>
                </c:pt>
                <c:pt idx="991">
                  <c:v>45187</c:v>
                </c:pt>
                <c:pt idx="992">
                  <c:v>45188</c:v>
                </c:pt>
                <c:pt idx="993">
                  <c:v>45189</c:v>
                </c:pt>
                <c:pt idx="994">
                  <c:v>45190</c:v>
                </c:pt>
                <c:pt idx="995">
                  <c:v>45191</c:v>
                </c:pt>
                <c:pt idx="996">
                  <c:v>45192</c:v>
                </c:pt>
                <c:pt idx="997">
                  <c:v>45193</c:v>
                </c:pt>
                <c:pt idx="998">
                  <c:v>45194</c:v>
                </c:pt>
                <c:pt idx="999">
                  <c:v>45195</c:v>
                </c:pt>
                <c:pt idx="1000">
                  <c:v>45196</c:v>
                </c:pt>
                <c:pt idx="1001">
                  <c:v>45197</c:v>
                </c:pt>
                <c:pt idx="1002">
                  <c:v>45198</c:v>
                </c:pt>
                <c:pt idx="1003">
                  <c:v>45199</c:v>
                </c:pt>
                <c:pt idx="1004">
                  <c:v>45200</c:v>
                </c:pt>
                <c:pt idx="1005">
                  <c:v>45201</c:v>
                </c:pt>
                <c:pt idx="1006">
                  <c:v>45202</c:v>
                </c:pt>
                <c:pt idx="1007">
                  <c:v>45203</c:v>
                </c:pt>
                <c:pt idx="1008">
                  <c:v>45204</c:v>
                </c:pt>
                <c:pt idx="1009">
                  <c:v>45205</c:v>
                </c:pt>
                <c:pt idx="1010">
                  <c:v>45206</c:v>
                </c:pt>
                <c:pt idx="1011">
                  <c:v>45207</c:v>
                </c:pt>
                <c:pt idx="1012">
                  <c:v>45208</c:v>
                </c:pt>
                <c:pt idx="1013">
                  <c:v>45209</c:v>
                </c:pt>
                <c:pt idx="1014">
                  <c:v>45210</c:v>
                </c:pt>
                <c:pt idx="1015">
                  <c:v>45211</c:v>
                </c:pt>
                <c:pt idx="1016">
                  <c:v>45212</c:v>
                </c:pt>
                <c:pt idx="1017">
                  <c:v>45213</c:v>
                </c:pt>
                <c:pt idx="1018">
                  <c:v>45214</c:v>
                </c:pt>
                <c:pt idx="1019">
                  <c:v>45215</c:v>
                </c:pt>
                <c:pt idx="1020">
                  <c:v>45216</c:v>
                </c:pt>
                <c:pt idx="1021">
                  <c:v>45217</c:v>
                </c:pt>
                <c:pt idx="1022">
                  <c:v>45218</c:v>
                </c:pt>
                <c:pt idx="1023">
                  <c:v>45219</c:v>
                </c:pt>
                <c:pt idx="1024">
                  <c:v>45220</c:v>
                </c:pt>
                <c:pt idx="1025">
                  <c:v>45221</c:v>
                </c:pt>
                <c:pt idx="1026">
                  <c:v>45222</c:v>
                </c:pt>
                <c:pt idx="1027">
                  <c:v>45223</c:v>
                </c:pt>
                <c:pt idx="1028">
                  <c:v>45224</c:v>
                </c:pt>
                <c:pt idx="1029">
                  <c:v>45225</c:v>
                </c:pt>
                <c:pt idx="1030">
                  <c:v>45226</c:v>
                </c:pt>
                <c:pt idx="1031">
                  <c:v>45227</c:v>
                </c:pt>
                <c:pt idx="1032">
                  <c:v>45228</c:v>
                </c:pt>
                <c:pt idx="1033">
                  <c:v>45229</c:v>
                </c:pt>
                <c:pt idx="1034">
                  <c:v>45230</c:v>
                </c:pt>
                <c:pt idx="1035">
                  <c:v>45231</c:v>
                </c:pt>
                <c:pt idx="1036">
                  <c:v>45232</c:v>
                </c:pt>
                <c:pt idx="1037">
                  <c:v>45233</c:v>
                </c:pt>
                <c:pt idx="1038">
                  <c:v>45234</c:v>
                </c:pt>
                <c:pt idx="1039">
                  <c:v>45235</c:v>
                </c:pt>
                <c:pt idx="1040">
                  <c:v>45236</c:v>
                </c:pt>
                <c:pt idx="1041">
                  <c:v>45237</c:v>
                </c:pt>
                <c:pt idx="1042">
                  <c:v>45238</c:v>
                </c:pt>
                <c:pt idx="1043">
                  <c:v>45239</c:v>
                </c:pt>
                <c:pt idx="1044">
                  <c:v>45240</c:v>
                </c:pt>
                <c:pt idx="1045">
                  <c:v>45241</c:v>
                </c:pt>
                <c:pt idx="1046">
                  <c:v>45242</c:v>
                </c:pt>
                <c:pt idx="1047">
                  <c:v>45243</c:v>
                </c:pt>
                <c:pt idx="1048">
                  <c:v>45244</c:v>
                </c:pt>
                <c:pt idx="1049">
                  <c:v>45245</c:v>
                </c:pt>
                <c:pt idx="1050">
                  <c:v>45246</c:v>
                </c:pt>
                <c:pt idx="1051">
                  <c:v>45247</c:v>
                </c:pt>
                <c:pt idx="1052">
                  <c:v>45248</c:v>
                </c:pt>
                <c:pt idx="1053">
                  <c:v>45249</c:v>
                </c:pt>
                <c:pt idx="1054">
                  <c:v>45250</c:v>
                </c:pt>
                <c:pt idx="1055">
                  <c:v>45251</c:v>
                </c:pt>
                <c:pt idx="1056">
                  <c:v>45252</c:v>
                </c:pt>
                <c:pt idx="1057">
                  <c:v>45253</c:v>
                </c:pt>
                <c:pt idx="1058">
                  <c:v>45254</c:v>
                </c:pt>
                <c:pt idx="1059">
                  <c:v>45255</c:v>
                </c:pt>
                <c:pt idx="1060">
                  <c:v>45256</c:v>
                </c:pt>
                <c:pt idx="1061">
                  <c:v>45257</c:v>
                </c:pt>
                <c:pt idx="1062">
                  <c:v>45258</c:v>
                </c:pt>
                <c:pt idx="1063">
                  <c:v>45259</c:v>
                </c:pt>
                <c:pt idx="1064">
                  <c:v>45260</c:v>
                </c:pt>
                <c:pt idx="1065">
                  <c:v>45261</c:v>
                </c:pt>
                <c:pt idx="1066">
                  <c:v>45262</c:v>
                </c:pt>
                <c:pt idx="1067">
                  <c:v>45263</c:v>
                </c:pt>
                <c:pt idx="1068">
                  <c:v>45264</c:v>
                </c:pt>
                <c:pt idx="1069">
                  <c:v>45265</c:v>
                </c:pt>
                <c:pt idx="1070">
                  <c:v>45266</c:v>
                </c:pt>
                <c:pt idx="1071">
                  <c:v>45267</c:v>
                </c:pt>
                <c:pt idx="1072">
                  <c:v>45268</c:v>
                </c:pt>
                <c:pt idx="1073">
                  <c:v>45269</c:v>
                </c:pt>
                <c:pt idx="1074">
                  <c:v>45270</c:v>
                </c:pt>
                <c:pt idx="1075">
                  <c:v>45271</c:v>
                </c:pt>
                <c:pt idx="1076">
                  <c:v>45272</c:v>
                </c:pt>
                <c:pt idx="1077">
                  <c:v>45273</c:v>
                </c:pt>
                <c:pt idx="1078">
                  <c:v>45274</c:v>
                </c:pt>
                <c:pt idx="1079">
                  <c:v>45275</c:v>
                </c:pt>
                <c:pt idx="1080">
                  <c:v>45276</c:v>
                </c:pt>
                <c:pt idx="1081">
                  <c:v>45277</c:v>
                </c:pt>
                <c:pt idx="1082">
                  <c:v>45278</c:v>
                </c:pt>
                <c:pt idx="1083">
                  <c:v>45279</c:v>
                </c:pt>
                <c:pt idx="1084">
                  <c:v>45280</c:v>
                </c:pt>
                <c:pt idx="1085">
                  <c:v>45281</c:v>
                </c:pt>
                <c:pt idx="1086">
                  <c:v>45282</c:v>
                </c:pt>
                <c:pt idx="1087">
                  <c:v>45283</c:v>
                </c:pt>
                <c:pt idx="1088">
                  <c:v>45284</c:v>
                </c:pt>
                <c:pt idx="1089">
                  <c:v>45285</c:v>
                </c:pt>
                <c:pt idx="1090">
                  <c:v>45286</c:v>
                </c:pt>
                <c:pt idx="1091">
                  <c:v>45287</c:v>
                </c:pt>
                <c:pt idx="1092">
                  <c:v>45288</c:v>
                </c:pt>
                <c:pt idx="1093">
                  <c:v>45289</c:v>
                </c:pt>
                <c:pt idx="1094">
                  <c:v>45290</c:v>
                </c:pt>
                <c:pt idx="1095">
                  <c:v>45291</c:v>
                </c:pt>
                <c:pt idx="1096">
                  <c:v>45292</c:v>
                </c:pt>
                <c:pt idx="1097">
                  <c:v>45293</c:v>
                </c:pt>
                <c:pt idx="1098">
                  <c:v>45294</c:v>
                </c:pt>
                <c:pt idx="1099">
                  <c:v>45295</c:v>
                </c:pt>
                <c:pt idx="1100">
                  <c:v>45296</c:v>
                </c:pt>
                <c:pt idx="1101">
                  <c:v>45297</c:v>
                </c:pt>
                <c:pt idx="1102">
                  <c:v>45298</c:v>
                </c:pt>
                <c:pt idx="1103">
                  <c:v>45299</c:v>
                </c:pt>
                <c:pt idx="1104">
                  <c:v>45300</c:v>
                </c:pt>
                <c:pt idx="1105">
                  <c:v>45301</c:v>
                </c:pt>
                <c:pt idx="1106">
                  <c:v>45302</c:v>
                </c:pt>
                <c:pt idx="1107">
                  <c:v>45303</c:v>
                </c:pt>
                <c:pt idx="1108">
                  <c:v>45304</c:v>
                </c:pt>
                <c:pt idx="1109">
                  <c:v>45305</c:v>
                </c:pt>
                <c:pt idx="1110">
                  <c:v>45306</c:v>
                </c:pt>
                <c:pt idx="1111">
                  <c:v>45307</c:v>
                </c:pt>
                <c:pt idx="1112">
                  <c:v>45308</c:v>
                </c:pt>
                <c:pt idx="1113">
                  <c:v>45309</c:v>
                </c:pt>
                <c:pt idx="1114">
                  <c:v>45310</c:v>
                </c:pt>
                <c:pt idx="1115">
                  <c:v>45311</c:v>
                </c:pt>
                <c:pt idx="1116">
                  <c:v>45312</c:v>
                </c:pt>
                <c:pt idx="1117">
                  <c:v>45313</c:v>
                </c:pt>
                <c:pt idx="1118">
                  <c:v>45314</c:v>
                </c:pt>
                <c:pt idx="1119">
                  <c:v>45315</c:v>
                </c:pt>
                <c:pt idx="1120">
                  <c:v>45316</c:v>
                </c:pt>
                <c:pt idx="1121">
                  <c:v>45317</c:v>
                </c:pt>
                <c:pt idx="1122">
                  <c:v>45318</c:v>
                </c:pt>
                <c:pt idx="1123">
                  <c:v>45319</c:v>
                </c:pt>
                <c:pt idx="1124">
                  <c:v>45320</c:v>
                </c:pt>
                <c:pt idx="1125">
                  <c:v>45321</c:v>
                </c:pt>
                <c:pt idx="1126">
                  <c:v>45322</c:v>
                </c:pt>
                <c:pt idx="1127">
                  <c:v>45323</c:v>
                </c:pt>
                <c:pt idx="1128">
                  <c:v>45324</c:v>
                </c:pt>
                <c:pt idx="1129">
                  <c:v>45325</c:v>
                </c:pt>
                <c:pt idx="1130">
                  <c:v>45326</c:v>
                </c:pt>
                <c:pt idx="1131">
                  <c:v>45327</c:v>
                </c:pt>
                <c:pt idx="1132">
                  <c:v>45328</c:v>
                </c:pt>
                <c:pt idx="1133">
                  <c:v>45329</c:v>
                </c:pt>
                <c:pt idx="1134">
                  <c:v>45330</c:v>
                </c:pt>
                <c:pt idx="1135">
                  <c:v>45331</c:v>
                </c:pt>
                <c:pt idx="1136">
                  <c:v>45332</c:v>
                </c:pt>
                <c:pt idx="1137">
                  <c:v>45333</c:v>
                </c:pt>
                <c:pt idx="1138">
                  <c:v>45334</c:v>
                </c:pt>
                <c:pt idx="1139">
                  <c:v>45335</c:v>
                </c:pt>
                <c:pt idx="1140">
                  <c:v>45336</c:v>
                </c:pt>
                <c:pt idx="1141">
                  <c:v>45337</c:v>
                </c:pt>
                <c:pt idx="1142">
                  <c:v>45338</c:v>
                </c:pt>
                <c:pt idx="1143">
                  <c:v>45339</c:v>
                </c:pt>
                <c:pt idx="1144">
                  <c:v>45340</c:v>
                </c:pt>
                <c:pt idx="1145">
                  <c:v>45341</c:v>
                </c:pt>
                <c:pt idx="1146">
                  <c:v>45342</c:v>
                </c:pt>
                <c:pt idx="1147">
                  <c:v>45343</c:v>
                </c:pt>
                <c:pt idx="1148">
                  <c:v>45344</c:v>
                </c:pt>
                <c:pt idx="1149">
                  <c:v>45345</c:v>
                </c:pt>
                <c:pt idx="1150">
                  <c:v>45346</c:v>
                </c:pt>
                <c:pt idx="1151">
                  <c:v>45347</c:v>
                </c:pt>
                <c:pt idx="1152">
                  <c:v>45348</c:v>
                </c:pt>
                <c:pt idx="1153">
                  <c:v>45349</c:v>
                </c:pt>
                <c:pt idx="1154">
                  <c:v>45350</c:v>
                </c:pt>
                <c:pt idx="1155">
                  <c:v>45351</c:v>
                </c:pt>
                <c:pt idx="1156">
                  <c:v>45352</c:v>
                </c:pt>
                <c:pt idx="1157">
                  <c:v>45353</c:v>
                </c:pt>
                <c:pt idx="1158">
                  <c:v>45354</c:v>
                </c:pt>
                <c:pt idx="1159">
                  <c:v>45355</c:v>
                </c:pt>
                <c:pt idx="1160">
                  <c:v>45356</c:v>
                </c:pt>
                <c:pt idx="1161">
                  <c:v>45357</c:v>
                </c:pt>
                <c:pt idx="1162">
                  <c:v>45358</c:v>
                </c:pt>
                <c:pt idx="1163">
                  <c:v>45359</c:v>
                </c:pt>
                <c:pt idx="1164">
                  <c:v>45360</c:v>
                </c:pt>
                <c:pt idx="1165">
                  <c:v>45361</c:v>
                </c:pt>
                <c:pt idx="1166">
                  <c:v>45362</c:v>
                </c:pt>
                <c:pt idx="1167">
                  <c:v>45363</c:v>
                </c:pt>
                <c:pt idx="1168">
                  <c:v>45364</c:v>
                </c:pt>
                <c:pt idx="1169">
                  <c:v>45365</c:v>
                </c:pt>
                <c:pt idx="1170">
                  <c:v>45366</c:v>
                </c:pt>
                <c:pt idx="1171">
                  <c:v>45367</c:v>
                </c:pt>
                <c:pt idx="1172">
                  <c:v>45368</c:v>
                </c:pt>
                <c:pt idx="1173">
                  <c:v>45369</c:v>
                </c:pt>
                <c:pt idx="1174">
                  <c:v>45370</c:v>
                </c:pt>
                <c:pt idx="1175">
                  <c:v>45371</c:v>
                </c:pt>
                <c:pt idx="1176">
                  <c:v>45372</c:v>
                </c:pt>
                <c:pt idx="1177">
                  <c:v>45373</c:v>
                </c:pt>
                <c:pt idx="1178">
                  <c:v>45374</c:v>
                </c:pt>
                <c:pt idx="1179">
                  <c:v>45375</c:v>
                </c:pt>
                <c:pt idx="1180">
                  <c:v>45376</c:v>
                </c:pt>
                <c:pt idx="1181">
                  <c:v>45377</c:v>
                </c:pt>
                <c:pt idx="1182">
                  <c:v>45378</c:v>
                </c:pt>
                <c:pt idx="1183">
                  <c:v>45379</c:v>
                </c:pt>
                <c:pt idx="1184">
                  <c:v>45380</c:v>
                </c:pt>
                <c:pt idx="1185">
                  <c:v>45381</c:v>
                </c:pt>
                <c:pt idx="1186">
                  <c:v>45382</c:v>
                </c:pt>
                <c:pt idx="1187">
                  <c:v>45383</c:v>
                </c:pt>
                <c:pt idx="1188">
                  <c:v>45384</c:v>
                </c:pt>
                <c:pt idx="1189">
                  <c:v>45385</c:v>
                </c:pt>
                <c:pt idx="1190">
                  <c:v>45386</c:v>
                </c:pt>
                <c:pt idx="1191">
                  <c:v>45387</c:v>
                </c:pt>
                <c:pt idx="1192">
                  <c:v>45388</c:v>
                </c:pt>
                <c:pt idx="1193">
                  <c:v>45389</c:v>
                </c:pt>
                <c:pt idx="1194">
                  <c:v>45390</c:v>
                </c:pt>
                <c:pt idx="1195">
                  <c:v>45391</c:v>
                </c:pt>
                <c:pt idx="1196">
                  <c:v>45392</c:v>
                </c:pt>
                <c:pt idx="1197">
                  <c:v>45393</c:v>
                </c:pt>
                <c:pt idx="1198">
                  <c:v>45394</c:v>
                </c:pt>
                <c:pt idx="1199">
                  <c:v>45395</c:v>
                </c:pt>
                <c:pt idx="1200">
                  <c:v>45396</c:v>
                </c:pt>
                <c:pt idx="1201">
                  <c:v>45397</c:v>
                </c:pt>
                <c:pt idx="1202">
                  <c:v>45398</c:v>
                </c:pt>
                <c:pt idx="1203">
                  <c:v>45399</c:v>
                </c:pt>
                <c:pt idx="1204">
                  <c:v>45400</c:v>
                </c:pt>
                <c:pt idx="1205">
                  <c:v>45401</c:v>
                </c:pt>
                <c:pt idx="1206">
                  <c:v>45402</c:v>
                </c:pt>
                <c:pt idx="1207">
                  <c:v>45403</c:v>
                </c:pt>
                <c:pt idx="1208">
                  <c:v>45404</c:v>
                </c:pt>
                <c:pt idx="1209">
                  <c:v>45405</c:v>
                </c:pt>
                <c:pt idx="1210">
                  <c:v>45406</c:v>
                </c:pt>
                <c:pt idx="1211">
                  <c:v>45407</c:v>
                </c:pt>
                <c:pt idx="1212">
                  <c:v>45408</c:v>
                </c:pt>
                <c:pt idx="1213">
                  <c:v>45409</c:v>
                </c:pt>
                <c:pt idx="1214">
                  <c:v>45410</c:v>
                </c:pt>
                <c:pt idx="1215">
                  <c:v>45411</c:v>
                </c:pt>
                <c:pt idx="1216">
                  <c:v>45412</c:v>
                </c:pt>
                <c:pt idx="1217">
                  <c:v>45413</c:v>
                </c:pt>
                <c:pt idx="1218">
                  <c:v>45414</c:v>
                </c:pt>
                <c:pt idx="1219">
                  <c:v>45415</c:v>
                </c:pt>
                <c:pt idx="1220">
                  <c:v>45416</c:v>
                </c:pt>
                <c:pt idx="1221">
                  <c:v>45417</c:v>
                </c:pt>
                <c:pt idx="1222">
                  <c:v>45418</c:v>
                </c:pt>
                <c:pt idx="1223">
                  <c:v>45419</c:v>
                </c:pt>
                <c:pt idx="1224">
                  <c:v>45420</c:v>
                </c:pt>
                <c:pt idx="1225">
                  <c:v>45421</c:v>
                </c:pt>
                <c:pt idx="1226">
                  <c:v>45422</c:v>
                </c:pt>
                <c:pt idx="1227">
                  <c:v>45423</c:v>
                </c:pt>
                <c:pt idx="1228">
                  <c:v>45424</c:v>
                </c:pt>
                <c:pt idx="1229">
                  <c:v>45425</c:v>
                </c:pt>
                <c:pt idx="1230">
                  <c:v>45426</c:v>
                </c:pt>
                <c:pt idx="1231">
                  <c:v>45427</c:v>
                </c:pt>
                <c:pt idx="1232">
                  <c:v>45428</c:v>
                </c:pt>
                <c:pt idx="1233">
                  <c:v>45429</c:v>
                </c:pt>
                <c:pt idx="1234">
                  <c:v>45430</c:v>
                </c:pt>
                <c:pt idx="1235">
                  <c:v>45431</c:v>
                </c:pt>
                <c:pt idx="1236">
                  <c:v>45432</c:v>
                </c:pt>
                <c:pt idx="1237">
                  <c:v>45433</c:v>
                </c:pt>
                <c:pt idx="1238">
                  <c:v>45434</c:v>
                </c:pt>
                <c:pt idx="1239">
                  <c:v>45435</c:v>
                </c:pt>
                <c:pt idx="1240">
                  <c:v>45436</c:v>
                </c:pt>
                <c:pt idx="1241">
                  <c:v>45437</c:v>
                </c:pt>
                <c:pt idx="1242">
                  <c:v>45438</c:v>
                </c:pt>
                <c:pt idx="1243">
                  <c:v>45439</c:v>
                </c:pt>
                <c:pt idx="1244">
                  <c:v>45440</c:v>
                </c:pt>
                <c:pt idx="1245">
                  <c:v>45441</c:v>
                </c:pt>
                <c:pt idx="1246">
                  <c:v>45442</c:v>
                </c:pt>
                <c:pt idx="1247">
                  <c:v>45443</c:v>
                </c:pt>
                <c:pt idx="1248">
                  <c:v>45444</c:v>
                </c:pt>
                <c:pt idx="1249">
                  <c:v>45445</c:v>
                </c:pt>
                <c:pt idx="1250">
                  <c:v>45446</c:v>
                </c:pt>
                <c:pt idx="1251">
                  <c:v>45447</c:v>
                </c:pt>
                <c:pt idx="1252">
                  <c:v>45448</c:v>
                </c:pt>
                <c:pt idx="1253">
                  <c:v>45449</c:v>
                </c:pt>
                <c:pt idx="1254">
                  <c:v>45450</c:v>
                </c:pt>
                <c:pt idx="1255">
                  <c:v>45451</c:v>
                </c:pt>
                <c:pt idx="1256">
                  <c:v>45452</c:v>
                </c:pt>
                <c:pt idx="1257">
                  <c:v>45453</c:v>
                </c:pt>
                <c:pt idx="1258">
                  <c:v>45454</c:v>
                </c:pt>
                <c:pt idx="1259">
                  <c:v>45455</c:v>
                </c:pt>
                <c:pt idx="1260">
                  <c:v>45456</c:v>
                </c:pt>
                <c:pt idx="1261">
                  <c:v>45457</c:v>
                </c:pt>
                <c:pt idx="1262">
                  <c:v>45458</c:v>
                </c:pt>
                <c:pt idx="1263">
                  <c:v>45459</c:v>
                </c:pt>
                <c:pt idx="1264">
                  <c:v>45460</c:v>
                </c:pt>
                <c:pt idx="1265">
                  <c:v>45461</c:v>
                </c:pt>
                <c:pt idx="1266">
                  <c:v>45462</c:v>
                </c:pt>
                <c:pt idx="1267">
                  <c:v>45463</c:v>
                </c:pt>
                <c:pt idx="1268">
                  <c:v>45464</c:v>
                </c:pt>
                <c:pt idx="1269">
                  <c:v>45465</c:v>
                </c:pt>
                <c:pt idx="1270">
                  <c:v>45466</c:v>
                </c:pt>
                <c:pt idx="1271">
                  <c:v>45467</c:v>
                </c:pt>
                <c:pt idx="1272">
                  <c:v>45468</c:v>
                </c:pt>
                <c:pt idx="1273">
                  <c:v>45469</c:v>
                </c:pt>
                <c:pt idx="1274">
                  <c:v>45470</c:v>
                </c:pt>
                <c:pt idx="1275">
                  <c:v>45471</c:v>
                </c:pt>
                <c:pt idx="1276">
                  <c:v>45472</c:v>
                </c:pt>
                <c:pt idx="1277">
                  <c:v>45473</c:v>
                </c:pt>
                <c:pt idx="1278">
                  <c:v>45474</c:v>
                </c:pt>
                <c:pt idx="1279">
                  <c:v>45475</c:v>
                </c:pt>
                <c:pt idx="1280">
                  <c:v>45476</c:v>
                </c:pt>
                <c:pt idx="1281">
                  <c:v>45477</c:v>
                </c:pt>
                <c:pt idx="1282">
                  <c:v>45478</c:v>
                </c:pt>
                <c:pt idx="1283">
                  <c:v>45479</c:v>
                </c:pt>
                <c:pt idx="1284">
                  <c:v>45480</c:v>
                </c:pt>
                <c:pt idx="1285">
                  <c:v>45481</c:v>
                </c:pt>
                <c:pt idx="1286">
                  <c:v>45482</c:v>
                </c:pt>
                <c:pt idx="1287">
                  <c:v>45483</c:v>
                </c:pt>
                <c:pt idx="1288">
                  <c:v>45484</c:v>
                </c:pt>
                <c:pt idx="1289">
                  <c:v>45485</c:v>
                </c:pt>
                <c:pt idx="1290">
                  <c:v>45486</c:v>
                </c:pt>
                <c:pt idx="1291">
                  <c:v>45487</c:v>
                </c:pt>
                <c:pt idx="1292">
                  <c:v>45488</c:v>
                </c:pt>
                <c:pt idx="1293">
                  <c:v>45489</c:v>
                </c:pt>
                <c:pt idx="1294">
                  <c:v>45490</c:v>
                </c:pt>
                <c:pt idx="1295">
                  <c:v>45491</c:v>
                </c:pt>
                <c:pt idx="1296">
                  <c:v>45492</c:v>
                </c:pt>
                <c:pt idx="1297">
                  <c:v>45493</c:v>
                </c:pt>
                <c:pt idx="1298">
                  <c:v>45494</c:v>
                </c:pt>
                <c:pt idx="1299">
                  <c:v>45495</c:v>
                </c:pt>
                <c:pt idx="1300">
                  <c:v>45496</c:v>
                </c:pt>
                <c:pt idx="1301">
                  <c:v>45497</c:v>
                </c:pt>
                <c:pt idx="1302">
                  <c:v>45498</c:v>
                </c:pt>
                <c:pt idx="1303">
                  <c:v>45499</c:v>
                </c:pt>
                <c:pt idx="1304">
                  <c:v>45500</c:v>
                </c:pt>
                <c:pt idx="1305">
                  <c:v>45501</c:v>
                </c:pt>
                <c:pt idx="1306">
                  <c:v>45502</c:v>
                </c:pt>
                <c:pt idx="1307">
                  <c:v>45503</c:v>
                </c:pt>
                <c:pt idx="1308">
                  <c:v>45504</c:v>
                </c:pt>
                <c:pt idx="1309">
                  <c:v>45505</c:v>
                </c:pt>
                <c:pt idx="1310">
                  <c:v>45506</c:v>
                </c:pt>
                <c:pt idx="1311">
                  <c:v>45507</c:v>
                </c:pt>
                <c:pt idx="1312">
                  <c:v>45508</c:v>
                </c:pt>
                <c:pt idx="1313">
                  <c:v>45509</c:v>
                </c:pt>
                <c:pt idx="1314">
                  <c:v>45510</c:v>
                </c:pt>
                <c:pt idx="1315">
                  <c:v>45511</c:v>
                </c:pt>
                <c:pt idx="1316">
                  <c:v>45512</c:v>
                </c:pt>
                <c:pt idx="1317">
                  <c:v>45513</c:v>
                </c:pt>
                <c:pt idx="1318">
                  <c:v>45514</c:v>
                </c:pt>
                <c:pt idx="1319">
                  <c:v>45515</c:v>
                </c:pt>
                <c:pt idx="1320">
                  <c:v>45516</c:v>
                </c:pt>
                <c:pt idx="1321">
                  <c:v>45517</c:v>
                </c:pt>
                <c:pt idx="1322">
                  <c:v>45518</c:v>
                </c:pt>
                <c:pt idx="1323">
                  <c:v>45519</c:v>
                </c:pt>
                <c:pt idx="1324">
                  <c:v>45520</c:v>
                </c:pt>
                <c:pt idx="1325">
                  <c:v>45521</c:v>
                </c:pt>
                <c:pt idx="1326">
                  <c:v>45522</c:v>
                </c:pt>
                <c:pt idx="1327">
                  <c:v>45523</c:v>
                </c:pt>
                <c:pt idx="1328">
                  <c:v>45524</c:v>
                </c:pt>
                <c:pt idx="1329">
                  <c:v>45525</c:v>
                </c:pt>
                <c:pt idx="1330">
                  <c:v>45526</c:v>
                </c:pt>
                <c:pt idx="1331">
                  <c:v>45527</c:v>
                </c:pt>
                <c:pt idx="1332">
                  <c:v>45528</c:v>
                </c:pt>
                <c:pt idx="1333">
                  <c:v>45529</c:v>
                </c:pt>
                <c:pt idx="1334">
                  <c:v>45530</c:v>
                </c:pt>
                <c:pt idx="1335">
                  <c:v>45531</c:v>
                </c:pt>
                <c:pt idx="1336">
                  <c:v>45532</c:v>
                </c:pt>
                <c:pt idx="1337">
                  <c:v>45533</c:v>
                </c:pt>
                <c:pt idx="1338">
                  <c:v>45534</c:v>
                </c:pt>
                <c:pt idx="1339">
                  <c:v>45535</c:v>
                </c:pt>
                <c:pt idx="1340">
                  <c:v>45536</c:v>
                </c:pt>
                <c:pt idx="1341">
                  <c:v>45537</c:v>
                </c:pt>
                <c:pt idx="1342">
                  <c:v>45538</c:v>
                </c:pt>
                <c:pt idx="1343">
                  <c:v>45539</c:v>
                </c:pt>
                <c:pt idx="1344">
                  <c:v>45540</c:v>
                </c:pt>
                <c:pt idx="1345">
                  <c:v>45541</c:v>
                </c:pt>
                <c:pt idx="1346">
                  <c:v>45542</c:v>
                </c:pt>
                <c:pt idx="1347">
                  <c:v>45543</c:v>
                </c:pt>
                <c:pt idx="1348">
                  <c:v>45544</c:v>
                </c:pt>
                <c:pt idx="1349">
                  <c:v>45545</c:v>
                </c:pt>
                <c:pt idx="1350">
                  <c:v>45546</c:v>
                </c:pt>
                <c:pt idx="1351">
                  <c:v>45547</c:v>
                </c:pt>
                <c:pt idx="1352">
                  <c:v>45548</c:v>
                </c:pt>
                <c:pt idx="1353">
                  <c:v>45549</c:v>
                </c:pt>
                <c:pt idx="1354">
                  <c:v>45550</c:v>
                </c:pt>
                <c:pt idx="1355">
                  <c:v>45551</c:v>
                </c:pt>
                <c:pt idx="1356">
                  <c:v>45552</c:v>
                </c:pt>
                <c:pt idx="1357">
                  <c:v>45553</c:v>
                </c:pt>
                <c:pt idx="1358">
                  <c:v>45554</c:v>
                </c:pt>
                <c:pt idx="1359">
                  <c:v>45555</c:v>
                </c:pt>
                <c:pt idx="1360">
                  <c:v>45556</c:v>
                </c:pt>
                <c:pt idx="1361">
                  <c:v>45557</c:v>
                </c:pt>
                <c:pt idx="1362">
                  <c:v>45558</c:v>
                </c:pt>
                <c:pt idx="1363">
                  <c:v>45559</c:v>
                </c:pt>
                <c:pt idx="1364">
                  <c:v>45560</c:v>
                </c:pt>
                <c:pt idx="1365">
                  <c:v>45561</c:v>
                </c:pt>
                <c:pt idx="1366">
                  <c:v>45562</c:v>
                </c:pt>
                <c:pt idx="1367">
                  <c:v>45563</c:v>
                </c:pt>
                <c:pt idx="1368">
                  <c:v>45564</c:v>
                </c:pt>
                <c:pt idx="1369">
                  <c:v>45565</c:v>
                </c:pt>
                <c:pt idx="1370">
                  <c:v>45566</c:v>
                </c:pt>
                <c:pt idx="1371">
                  <c:v>45567</c:v>
                </c:pt>
                <c:pt idx="1372">
                  <c:v>45568</c:v>
                </c:pt>
                <c:pt idx="1373">
                  <c:v>45569</c:v>
                </c:pt>
                <c:pt idx="1374">
                  <c:v>45570</c:v>
                </c:pt>
                <c:pt idx="1375">
                  <c:v>45571</c:v>
                </c:pt>
                <c:pt idx="1376">
                  <c:v>45572</c:v>
                </c:pt>
                <c:pt idx="1377">
                  <c:v>45573</c:v>
                </c:pt>
                <c:pt idx="1378">
                  <c:v>45574</c:v>
                </c:pt>
                <c:pt idx="1379">
                  <c:v>45575</c:v>
                </c:pt>
                <c:pt idx="1380">
                  <c:v>45576</c:v>
                </c:pt>
                <c:pt idx="1381">
                  <c:v>45577</c:v>
                </c:pt>
                <c:pt idx="1382">
                  <c:v>45578</c:v>
                </c:pt>
                <c:pt idx="1383">
                  <c:v>45579</c:v>
                </c:pt>
                <c:pt idx="1384">
                  <c:v>45580</c:v>
                </c:pt>
                <c:pt idx="1385">
                  <c:v>45581</c:v>
                </c:pt>
                <c:pt idx="1386">
                  <c:v>45582</c:v>
                </c:pt>
                <c:pt idx="1387">
                  <c:v>45583</c:v>
                </c:pt>
                <c:pt idx="1388">
                  <c:v>45584</c:v>
                </c:pt>
                <c:pt idx="1389">
                  <c:v>45585</c:v>
                </c:pt>
                <c:pt idx="1390">
                  <c:v>45586</c:v>
                </c:pt>
                <c:pt idx="1391">
                  <c:v>45587</c:v>
                </c:pt>
                <c:pt idx="1392">
                  <c:v>45588</c:v>
                </c:pt>
                <c:pt idx="1393">
                  <c:v>45589</c:v>
                </c:pt>
                <c:pt idx="1394">
                  <c:v>45590</c:v>
                </c:pt>
                <c:pt idx="1395">
                  <c:v>45591</c:v>
                </c:pt>
                <c:pt idx="1396">
                  <c:v>45592</c:v>
                </c:pt>
                <c:pt idx="1397">
                  <c:v>45593</c:v>
                </c:pt>
                <c:pt idx="1398">
                  <c:v>45594</c:v>
                </c:pt>
                <c:pt idx="1399">
                  <c:v>45595</c:v>
                </c:pt>
                <c:pt idx="1400">
                  <c:v>45596</c:v>
                </c:pt>
                <c:pt idx="1401">
                  <c:v>45597</c:v>
                </c:pt>
                <c:pt idx="1402">
                  <c:v>45598</c:v>
                </c:pt>
                <c:pt idx="1403">
                  <c:v>45599</c:v>
                </c:pt>
                <c:pt idx="1404">
                  <c:v>45600</c:v>
                </c:pt>
                <c:pt idx="1405">
                  <c:v>45601</c:v>
                </c:pt>
                <c:pt idx="1406">
                  <c:v>45602</c:v>
                </c:pt>
                <c:pt idx="1407">
                  <c:v>45603</c:v>
                </c:pt>
                <c:pt idx="1408">
                  <c:v>45604</c:v>
                </c:pt>
                <c:pt idx="1409">
                  <c:v>45605</c:v>
                </c:pt>
                <c:pt idx="1410">
                  <c:v>45606</c:v>
                </c:pt>
                <c:pt idx="1411">
                  <c:v>45607</c:v>
                </c:pt>
                <c:pt idx="1412">
                  <c:v>45608</c:v>
                </c:pt>
                <c:pt idx="1413">
                  <c:v>45609</c:v>
                </c:pt>
                <c:pt idx="1414">
                  <c:v>45610</c:v>
                </c:pt>
                <c:pt idx="1415">
                  <c:v>45611</c:v>
                </c:pt>
                <c:pt idx="1416">
                  <c:v>45612</c:v>
                </c:pt>
                <c:pt idx="1417">
                  <c:v>45613</c:v>
                </c:pt>
                <c:pt idx="1418">
                  <c:v>45614</c:v>
                </c:pt>
                <c:pt idx="1419">
                  <c:v>45615</c:v>
                </c:pt>
                <c:pt idx="1420">
                  <c:v>45616</c:v>
                </c:pt>
                <c:pt idx="1421">
                  <c:v>45617</c:v>
                </c:pt>
                <c:pt idx="1422">
                  <c:v>45618</c:v>
                </c:pt>
                <c:pt idx="1423">
                  <c:v>45619</c:v>
                </c:pt>
                <c:pt idx="1424">
                  <c:v>45620</c:v>
                </c:pt>
                <c:pt idx="1425">
                  <c:v>45621</c:v>
                </c:pt>
                <c:pt idx="1426">
                  <c:v>45622</c:v>
                </c:pt>
                <c:pt idx="1427">
                  <c:v>45623</c:v>
                </c:pt>
                <c:pt idx="1428">
                  <c:v>45624</c:v>
                </c:pt>
                <c:pt idx="1429">
                  <c:v>45625</c:v>
                </c:pt>
                <c:pt idx="1430">
                  <c:v>45626</c:v>
                </c:pt>
                <c:pt idx="1431">
                  <c:v>45627</c:v>
                </c:pt>
                <c:pt idx="1432">
                  <c:v>45628</c:v>
                </c:pt>
                <c:pt idx="1433">
                  <c:v>45629</c:v>
                </c:pt>
                <c:pt idx="1434">
                  <c:v>45630</c:v>
                </c:pt>
                <c:pt idx="1435">
                  <c:v>45631</c:v>
                </c:pt>
                <c:pt idx="1436">
                  <c:v>45632</c:v>
                </c:pt>
                <c:pt idx="1437">
                  <c:v>45633</c:v>
                </c:pt>
                <c:pt idx="1438">
                  <c:v>45634</c:v>
                </c:pt>
                <c:pt idx="1439">
                  <c:v>45635</c:v>
                </c:pt>
                <c:pt idx="1440">
                  <c:v>45636</c:v>
                </c:pt>
                <c:pt idx="1441">
                  <c:v>45637</c:v>
                </c:pt>
                <c:pt idx="1442">
                  <c:v>45638</c:v>
                </c:pt>
                <c:pt idx="1443">
                  <c:v>45639</c:v>
                </c:pt>
                <c:pt idx="1444">
                  <c:v>45640</c:v>
                </c:pt>
                <c:pt idx="1445">
                  <c:v>45641</c:v>
                </c:pt>
                <c:pt idx="1446">
                  <c:v>45642</c:v>
                </c:pt>
                <c:pt idx="1447">
                  <c:v>45643</c:v>
                </c:pt>
                <c:pt idx="1448">
                  <c:v>45644</c:v>
                </c:pt>
                <c:pt idx="1449">
                  <c:v>45645</c:v>
                </c:pt>
                <c:pt idx="1450">
                  <c:v>45646</c:v>
                </c:pt>
                <c:pt idx="1451">
                  <c:v>45647</c:v>
                </c:pt>
                <c:pt idx="1452">
                  <c:v>45648</c:v>
                </c:pt>
                <c:pt idx="1453">
                  <c:v>45649</c:v>
                </c:pt>
                <c:pt idx="1454">
                  <c:v>45650</c:v>
                </c:pt>
                <c:pt idx="1455">
                  <c:v>45651</c:v>
                </c:pt>
                <c:pt idx="1456">
                  <c:v>45652</c:v>
                </c:pt>
                <c:pt idx="1457">
                  <c:v>45653</c:v>
                </c:pt>
                <c:pt idx="1458">
                  <c:v>45654</c:v>
                </c:pt>
                <c:pt idx="1459">
                  <c:v>45655</c:v>
                </c:pt>
                <c:pt idx="1460">
                  <c:v>45656</c:v>
                </c:pt>
                <c:pt idx="1461">
                  <c:v>45657</c:v>
                </c:pt>
                <c:pt idx="1462">
                  <c:v>45658</c:v>
                </c:pt>
                <c:pt idx="1463">
                  <c:v>45659</c:v>
                </c:pt>
                <c:pt idx="1464">
                  <c:v>45660</c:v>
                </c:pt>
                <c:pt idx="1465">
                  <c:v>45661</c:v>
                </c:pt>
                <c:pt idx="1466">
                  <c:v>45662</c:v>
                </c:pt>
                <c:pt idx="1467">
                  <c:v>45663</c:v>
                </c:pt>
                <c:pt idx="1468">
                  <c:v>45664</c:v>
                </c:pt>
                <c:pt idx="1469">
                  <c:v>45665</c:v>
                </c:pt>
                <c:pt idx="1470">
                  <c:v>45666</c:v>
                </c:pt>
                <c:pt idx="1471">
                  <c:v>45667</c:v>
                </c:pt>
                <c:pt idx="1472">
                  <c:v>45668</c:v>
                </c:pt>
                <c:pt idx="1473">
                  <c:v>45669</c:v>
                </c:pt>
                <c:pt idx="1474">
                  <c:v>45670</c:v>
                </c:pt>
                <c:pt idx="1475">
                  <c:v>45671</c:v>
                </c:pt>
                <c:pt idx="1476">
                  <c:v>45672</c:v>
                </c:pt>
                <c:pt idx="1477">
                  <c:v>45673</c:v>
                </c:pt>
                <c:pt idx="1478">
                  <c:v>45674</c:v>
                </c:pt>
                <c:pt idx="1479">
                  <c:v>45675</c:v>
                </c:pt>
                <c:pt idx="1480">
                  <c:v>45676</c:v>
                </c:pt>
                <c:pt idx="1481">
                  <c:v>45677</c:v>
                </c:pt>
                <c:pt idx="1482">
                  <c:v>45678</c:v>
                </c:pt>
                <c:pt idx="1483">
                  <c:v>45679</c:v>
                </c:pt>
                <c:pt idx="1484">
                  <c:v>45680</c:v>
                </c:pt>
                <c:pt idx="1485">
                  <c:v>45681</c:v>
                </c:pt>
                <c:pt idx="1486">
                  <c:v>45682</c:v>
                </c:pt>
                <c:pt idx="1487">
                  <c:v>45683</c:v>
                </c:pt>
                <c:pt idx="1488">
                  <c:v>45684</c:v>
                </c:pt>
                <c:pt idx="1489">
                  <c:v>45685</c:v>
                </c:pt>
                <c:pt idx="1490">
                  <c:v>45686</c:v>
                </c:pt>
                <c:pt idx="1491">
                  <c:v>45687</c:v>
                </c:pt>
                <c:pt idx="1492">
                  <c:v>45688</c:v>
                </c:pt>
                <c:pt idx="1493">
                  <c:v>45689</c:v>
                </c:pt>
                <c:pt idx="1494">
                  <c:v>45690</c:v>
                </c:pt>
                <c:pt idx="1495">
                  <c:v>45691</c:v>
                </c:pt>
                <c:pt idx="1496">
                  <c:v>45692</c:v>
                </c:pt>
                <c:pt idx="1497">
                  <c:v>45693</c:v>
                </c:pt>
                <c:pt idx="1498">
                  <c:v>45694</c:v>
                </c:pt>
                <c:pt idx="1499">
                  <c:v>45695</c:v>
                </c:pt>
                <c:pt idx="1500">
                  <c:v>45696</c:v>
                </c:pt>
                <c:pt idx="1501">
                  <c:v>45697</c:v>
                </c:pt>
                <c:pt idx="1502">
                  <c:v>45698</c:v>
                </c:pt>
                <c:pt idx="1503">
                  <c:v>45699</c:v>
                </c:pt>
                <c:pt idx="1504">
                  <c:v>45700</c:v>
                </c:pt>
                <c:pt idx="1505">
                  <c:v>45701</c:v>
                </c:pt>
                <c:pt idx="1506">
                  <c:v>45702</c:v>
                </c:pt>
                <c:pt idx="1507">
                  <c:v>45703</c:v>
                </c:pt>
                <c:pt idx="1508">
                  <c:v>45704</c:v>
                </c:pt>
                <c:pt idx="1509">
                  <c:v>45705</c:v>
                </c:pt>
                <c:pt idx="1510">
                  <c:v>45706</c:v>
                </c:pt>
                <c:pt idx="1511">
                  <c:v>45707</c:v>
                </c:pt>
                <c:pt idx="1512">
                  <c:v>45708</c:v>
                </c:pt>
                <c:pt idx="1513">
                  <c:v>45709</c:v>
                </c:pt>
                <c:pt idx="1514">
                  <c:v>45710</c:v>
                </c:pt>
                <c:pt idx="1515">
                  <c:v>45711</c:v>
                </c:pt>
                <c:pt idx="1516">
                  <c:v>45712</c:v>
                </c:pt>
                <c:pt idx="1517">
                  <c:v>45713</c:v>
                </c:pt>
                <c:pt idx="1518">
                  <c:v>45714</c:v>
                </c:pt>
                <c:pt idx="1519">
                  <c:v>45715</c:v>
                </c:pt>
                <c:pt idx="1520">
                  <c:v>45716</c:v>
                </c:pt>
                <c:pt idx="1521">
                  <c:v>45717</c:v>
                </c:pt>
                <c:pt idx="1522">
                  <c:v>45718</c:v>
                </c:pt>
                <c:pt idx="1523">
                  <c:v>45719</c:v>
                </c:pt>
                <c:pt idx="1524">
                  <c:v>45720</c:v>
                </c:pt>
                <c:pt idx="1525">
                  <c:v>45721</c:v>
                </c:pt>
                <c:pt idx="1526">
                  <c:v>45722</c:v>
                </c:pt>
                <c:pt idx="1527">
                  <c:v>45723</c:v>
                </c:pt>
                <c:pt idx="1528">
                  <c:v>45724</c:v>
                </c:pt>
                <c:pt idx="1529">
                  <c:v>45725</c:v>
                </c:pt>
                <c:pt idx="1530">
                  <c:v>45726</c:v>
                </c:pt>
                <c:pt idx="1531">
                  <c:v>45727</c:v>
                </c:pt>
                <c:pt idx="1532">
                  <c:v>45728</c:v>
                </c:pt>
                <c:pt idx="1533">
                  <c:v>45729</c:v>
                </c:pt>
                <c:pt idx="1534">
                  <c:v>45730</c:v>
                </c:pt>
                <c:pt idx="1535">
                  <c:v>45731</c:v>
                </c:pt>
                <c:pt idx="1536">
                  <c:v>45732</c:v>
                </c:pt>
                <c:pt idx="1537">
                  <c:v>45733</c:v>
                </c:pt>
                <c:pt idx="1538">
                  <c:v>45734</c:v>
                </c:pt>
                <c:pt idx="1539">
                  <c:v>45735</c:v>
                </c:pt>
                <c:pt idx="1540">
                  <c:v>45736</c:v>
                </c:pt>
                <c:pt idx="1541">
                  <c:v>45737</c:v>
                </c:pt>
                <c:pt idx="1542">
                  <c:v>45738</c:v>
                </c:pt>
                <c:pt idx="1543">
                  <c:v>45739</c:v>
                </c:pt>
                <c:pt idx="1544">
                  <c:v>45740</c:v>
                </c:pt>
                <c:pt idx="1545">
                  <c:v>45741</c:v>
                </c:pt>
                <c:pt idx="1546">
                  <c:v>45742</c:v>
                </c:pt>
                <c:pt idx="1547">
                  <c:v>45743</c:v>
                </c:pt>
                <c:pt idx="1548">
                  <c:v>45744</c:v>
                </c:pt>
                <c:pt idx="1549">
                  <c:v>45745</c:v>
                </c:pt>
                <c:pt idx="1550">
                  <c:v>45746</c:v>
                </c:pt>
                <c:pt idx="1551">
                  <c:v>45747</c:v>
                </c:pt>
                <c:pt idx="1552">
                  <c:v>45748</c:v>
                </c:pt>
                <c:pt idx="1553">
                  <c:v>45749</c:v>
                </c:pt>
                <c:pt idx="1554">
                  <c:v>45750</c:v>
                </c:pt>
                <c:pt idx="1555">
                  <c:v>45751</c:v>
                </c:pt>
                <c:pt idx="1556">
                  <c:v>45752</c:v>
                </c:pt>
                <c:pt idx="1557">
                  <c:v>45753</c:v>
                </c:pt>
                <c:pt idx="1558">
                  <c:v>45754</c:v>
                </c:pt>
                <c:pt idx="1559">
                  <c:v>45755</c:v>
                </c:pt>
                <c:pt idx="1560">
                  <c:v>45756</c:v>
                </c:pt>
                <c:pt idx="1561">
                  <c:v>45757</c:v>
                </c:pt>
                <c:pt idx="1562">
                  <c:v>45758</c:v>
                </c:pt>
                <c:pt idx="1563">
                  <c:v>45759</c:v>
                </c:pt>
                <c:pt idx="1564">
                  <c:v>45760</c:v>
                </c:pt>
                <c:pt idx="1565">
                  <c:v>45761</c:v>
                </c:pt>
                <c:pt idx="1566">
                  <c:v>45762</c:v>
                </c:pt>
                <c:pt idx="1567">
                  <c:v>45763</c:v>
                </c:pt>
                <c:pt idx="1568">
                  <c:v>45764</c:v>
                </c:pt>
                <c:pt idx="1569">
                  <c:v>45765</c:v>
                </c:pt>
                <c:pt idx="1570">
                  <c:v>45766</c:v>
                </c:pt>
                <c:pt idx="1571">
                  <c:v>45767</c:v>
                </c:pt>
                <c:pt idx="1572">
                  <c:v>45768</c:v>
                </c:pt>
                <c:pt idx="1573">
                  <c:v>45769</c:v>
                </c:pt>
                <c:pt idx="1574">
                  <c:v>45770</c:v>
                </c:pt>
                <c:pt idx="1575">
                  <c:v>45771</c:v>
                </c:pt>
                <c:pt idx="1576">
                  <c:v>45772</c:v>
                </c:pt>
                <c:pt idx="1577">
                  <c:v>45773</c:v>
                </c:pt>
                <c:pt idx="1578">
                  <c:v>45774</c:v>
                </c:pt>
                <c:pt idx="1579">
                  <c:v>45775</c:v>
                </c:pt>
                <c:pt idx="1580">
                  <c:v>45776</c:v>
                </c:pt>
                <c:pt idx="1581">
                  <c:v>45777</c:v>
                </c:pt>
                <c:pt idx="1582">
                  <c:v>45778</c:v>
                </c:pt>
                <c:pt idx="1583">
                  <c:v>45779</c:v>
                </c:pt>
                <c:pt idx="1584">
                  <c:v>45780</c:v>
                </c:pt>
                <c:pt idx="1585">
                  <c:v>45781</c:v>
                </c:pt>
                <c:pt idx="1586">
                  <c:v>45782</c:v>
                </c:pt>
                <c:pt idx="1587">
                  <c:v>45783</c:v>
                </c:pt>
                <c:pt idx="1588">
                  <c:v>45784</c:v>
                </c:pt>
                <c:pt idx="1589">
                  <c:v>45785</c:v>
                </c:pt>
                <c:pt idx="1590">
                  <c:v>45786</c:v>
                </c:pt>
                <c:pt idx="1591">
                  <c:v>45787</c:v>
                </c:pt>
                <c:pt idx="1592">
                  <c:v>45788</c:v>
                </c:pt>
                <c:pt idx="1593">
                  <c:v>45789</c:v>
                </c:pt>
                <c:pt idx="1594">
                  <c:v>45790</c:v>
                </c:pt>
                <c:pt idx="1595">
                  <c:v>45791</c:v>
                </c:pt>
                <c:pt idx="1596">
                  <c:v>45792</c:v>
                </c:pt>
                <c:pt idx="1597">
                  <c:v>45793</c:v>
                </c:pt>
                <c:pt idx="1598">
                  <c:v>45794</c:v>
                </c:pt>
                <c:pt idx="1599">
                  <c:v>45795</c:v>
                </c:pt>
                <c:pt idx="1600">
                  <c:v>45796</c:v>
                </c:pt>
                <c:pt idx="1601">
                  <c:v>45797</c:v>
                </c:pt>
                <c:pt idx="1602">
                  <c:v>45798</c:v>
                </c:pt>
                <c:pt idx="1603">
                  <c:v>45799</c:v>
                </c:pt>
                <c:pt idx="1604">
                  <c:v>45800</c:v>
                </c:pt>
                <c:pt idx="1605">
                  <c:v>45801</c:v>
                </c:pt>
                <c:pt idx="1606">
                  <c:v>45802</c:v>
                </c:pt>
                <c:pt idx="1607">
                  <c:v>45803</c:v>
                </c:pt>
                <c:pt idx="1608">
                  <c:v>45804</c:v>
                </c:pt>
                <c:pt idx="1609">
                  <c:v>45805</c:v>
                </c:pt>
                <c:pt idx="1610">
                  <c:v>45806</c:v>
                </c:pt>
                <c:pt idx="1611">
                  <c:v>45807</c:v>
                </c:pt>
                <c:pt idx="1612">
                  <c:v>45808</c:v>
                </c:pt>
                <c:pt idx="1613">
                  <c:v>45809</c:v>
                </c:pt>
                <c:pt idx="1614">
                  <c:v>45810</c:v>
                </c:pt>
                <c:pt idx="1615">
                  <c:v>45811</c:v>
                </c:pt>
                <c:pt idx="1616">
                  <c:v>45812</c:v>
                </c:pt>
                <c:pt idx="1617">
                  <c:v>45813</c:v>
                </c:pt>
                <c:pt idx="1618">
                  <c:v>45814</c:v>
                </c:pt>
                <c:pt idx="1619">
                  <c:v>45815</c:v>
                </c:pt>
                <c:pt idx="1620">
                  <c:v>45816</c:v>
                </c:pt>
                <c:pt idx="1621">
                  <c:v>45817</c:v>
                </c:pt>
                <c:pt idx="1622">
                  <c:v>45818</c:v>
                </c:pt>
                <c:pt idx="1623">
                  <c:v>45819</c:v>
                </c:pt>
                <c:pt idx="1624">
                  <c:v>45820</c:v>
                </c:pt>
                <c:pt idx="1625">
                  <c:v>45821</c:v>
                </c:pt>
                <c:pt idx="1626">
                  <c:v>45822</c:v>
                </c:pt>
                <c:pt idx="1627">
                  <c:v>45823</c:v>
                </c:pt>
                <c:pt idx="1628">
                  <c:v>45824</c:v>
                </c:pt>
                <c:pt idx="1629">
                  <c:v>45825</c:v>
                </c:pt>
                <c:pt idx="1630">
                  <c:v>45826</c:v>
                </c:pt>
                <c:pt idx="1631">
                  <c:v>45827</c:v>
                </c:pt>
                <c:pt idx="1632">
                  <c:v>45828</c:v>
                </c:pt>
                <c:pt idx="1633">
                  <c:v>45829</c:v>
                </c:pt>
                <c:pt idx="1634">
                  <c:v>45830</c:v>
                </c:pt>
                <c:pt idx="1635">
                  <c:v>45831</c:v>
                </c:pt>
                <c:pt idx="1636">
                  <c:v>45832</c:v>
                </c:pt>
                <c:pt idx="1637">
                  <c:v>45833</c:v>
                </c:pt>
                <c:pt idx="1638">
                  <c:v>45834</c:v>
                </c:pt>
                <c:pt idx="1639">
                  <c:v>45835</c:v>
                </c:pt>
                <c:pt idx="1640">
                  <c:v>45836</c:v>
                </c:pt>
                <c:pt idx="1641">
                  <c:v>45837</c:v>
                </c:pt>
                <c:pt idx="1642">
                  <c:v>45838</c:v>
                </c:pt>
                <c:pt idx="1643">
                  <c:v>45839</c:v>
                </c:pt>
                <c:pt idx="1644">
                  <c:v>45840</c:v>
                </c:pt>
                <c:pt idx="1645">
                  <c:v>45841</c:v>
                </c:pt>
                <c:pt idx="1646">
                  <c:v>45842</c:v>
                </c:pt>
                <c:pt idx="1647">
                  <c:v>45843</c:v>
                </c:pt>
                <c:pt idx="1648">
                  <c:v>45844</c:v>
                </c:pt>
                <c:pt idx="1649">
                  <c:v>45845</c:v>
                </c:pt>
                <c:pt idx="1650">
                  <c:v>45846</c:v>
                </c:pt>
                <c:pt idx="1651">
                  <c:v>45847</c:v>
                </c:pt>
                <c:pt idx="1652">
                  <c:v>45848</c:v>
                </c:pt>
                <c:pt idx="1653">
                  <c:v>45849</c:v>
                </c:pt>
                <c:pt idx="1654">
                  <c:v>45850</c:v>
                </c:pt>
                <c:pt idx="1655">
                  <c:v>45851</c:v>
                </c:pt>
                <c:pt idx="1656">
                  <c:v>45852</c:v>
                </c:pt>
                <c:pt idx="1657">
                  <c:v>45853</c:v>
                </c:pt>
                <c:pt idx="1658">
                  <c:v>45854</c:v>
                </c:pt>
                <c:pt idx="1659">
                  <c:v>45855</c:v>
                </c:pt>
                <c:pt idx="1660">
                  <c:v>45856</c:v>
                </c:pt>
                <c:pt idx="1661">
                  <c:v>45857</c:v>
                </c:pt>
                <c:pt idx="1662">
                  <c:v>45858</c:v>
                </c:pt>
                <c:pt idx="1663">
                  <c:v>45859</c:v>
                </c:pt>
                <c:pt idx="1664">
                  <c:v>45860</c:v>
                </c:pt>
                <c:pt idx="1665">
                  <c:v>45861</c:v>
                </c:pt>
                <c:pt idx="1666">
                  <c:v>45862</c:v>
                </c:pt>
                <c:pt idx="1667">
                  <c:v>45863</c:v>
                </c:pt>
                <c:pt idx="1668">
                  <c:v>45864</c:v>
                </c:pt>
                <c:pt idx="1669">
                  <c:v>45865</c:v>
                </c:pt>
                <c:pt idx="1670">
                  <c:v>45866</c:v>
                </c:pt>
                <c:pt idx="1671">
                  <c:v>45867</c:v>
                </c:pt>
                <c:pt idx="1672">
                  <c:v>45868</c:v>
                </c:pt>
                <c:pt idx="1673">
                  <c:v>45869</c:v>
                </c:pt>
                <c:pt idx="1674">
                  <c:v>45870</c:v>
                </c:pt>
                <c:pt idx="1675">
                  <c:v>45871</c:v>
                </c:pt>
                <c:pt idx="1676">
                  <c:v>45872</c:v>
                </c:pt>
                <c:pt idx="1677">
                  <c:v>45873</c:v>
                </c:pt>
                <c:pt idx="1678">
                  <c:v>45874</c:v>
                </c:pt>
                <c:pt idx="1679">
                  <c:v>45875</c:v>
                </c:pt>
                <c:pt idx="1680">
                  <c:v>45876</c:v>
                </c:pt>
                <c:pt idx="1681">
                  <c:v>45877</c:v>
                </c:pt>
                <c:pt idx="1682">
                  <c:v>45878</c:v>
                </c:pt>
                <c:pt idx="1683">
                  <c:v>45879</c:v>
                </c:pt>
                <c:pt idx="1684">
                  <c:v>45880</c:v>
                </c:pt>
                <c:pt idx="1685">
                  <c:v>45881</c:v>
                </c:pt>
                <c:pt idx="1686">
                  <c:v>45882</c:v>
                </c:pt>
                <c:pt idx="1687">
                  <c:v>45883</c:v>
                </c:pt>
                <c:pt idx="1688">
                  <c:v>45884</c:v>
                </c:pt>
                <c:pt idx="1689">
                  <c:v>45885</c:v>
                </c:pt>
                <c:pt idx="1690">
                  <c:v>45886</c:v>
                </c:pt>
                <c:pt idx="1691">
                  <c:v>45887</c:v>
                </c:pt>
                <c:pt idx="1692">
                  <c:v>45888</c:v>
                </c:pt>
                <c:pt idx="1693">
                  <c:v>45889</c:v>
                </c:pt>
                <c:pt idx="1694">
                  <c:v>45890</c:v>
                </c:pt>
                <c:pt idx="1695">
                  <c:v>45891</c:v>
                </c:pt>
                <c:pt idx="1696">
                  <c:v>45892</c:v>
                </c:pt>
                <c:pt idx="1697">
                  <c:v>45893</c:v>
                </c:pt>
                <c:pt idx="1698">
                  <c:v>45894</c:v>
                </c:pt>
                <c:pt idx="1699">
                  <c:v>45895</c:v>
                </c:pt>
                <c:pt idx="1700">
                  <c:v>45896</c:v>
                </c:pt>
                <c:pt idx="1701">
                  <c:v>45897</c:v>
                </c:pt>
                <c:pt idx="1702">
                  <c:v>45898</c:v>
                </c:pt>
                <c:pt idx="1703">
                  <c:v>45899</c:v>
                </c:pt>
                <c:pt idx="1704">
                  <c:v>45900</c:v>
                </c:pt>
                <c:pt idx="1705">
                  <c:v>45901</c:v>
                </c:pt>
                <c:pt idx="1706">
                  <c:v>45902</c:v>
                </c:pt>
                <c:pt idx="1707">
                  <c:v>45903</c:v>
                </c:pt>
                <c:pt idx="1708">
                  <c:v>45904</c:v>
                </c:pt>
                <c:pt idx="1709">
                  <c:v>45905</c:v>
                </c:pt>
                <c:pt idx="1710">
                  <c:v>45906</c:v>
                </c:pt>
                <c:pt idx="1711">
                  <c:v>45907</c:v>
                </c:pt>
                <c:pt idx="1712">
                  <c:v>45908</c:v>
                </c:pt>
                <c:pt idx="1713">
                  <c:v>45909</c:v>
                </c:pt>
                <c:pt idx="1714">
                  <c:v>45910</c:v>
                </c:pt>
                <c:pt idx="1715">
                  <c:v>45911</c:v>
                </c:pt>
                <c:pt idx="1716">
                  <c:v>45912</c:v>
                </c:pt>
                <c:pt idx="1717">
                  <c:v>45913</c:v>
                </c:pt>
                <c:pt idx="1718">
                  <c:v>45914</c:v>
                </c:pt>
                <c:pt idx="1719">
                  <c:v>45915</c:v>
                </c:pt>
                <c:pt idx="1720">
                  <c:v>45916</c:v>
                </c:pt>
                <c:pt idx="1721">
                  <c:v>45917</c:v>
                </c:pt>
                <c:pt idx="1722">
                  <c:v>45918</c:v>
                </c:pt>
                <c:pt idx="1723">
                  <c:v>45919</c:v>
                </c:pt>
                <c:pt idx="1724">
                  <c:v>45920</c:v>
                </c:pt>
                <c:pt idx="1725">
                  <c:v>45921</c:v>
                </c:pt>
                <c:pt idx="1726">
                  <c:v>45922</c:v>
                </c:pt>
                <c:pt idx="1727">
                  <c:v>45923</c:v>
                </c:pt>
                <c:pt idx="1728">
                  <c:v>45924</c:v>
                </c:pt>
                <c:pt idx="1729">
                  <c:v>45925</c:v>
                </c:pt>
                <c:pt idx="1730">
                  <c:v>45926</c:v>
                </c:pt>
                <c:pt idx="1731">
                  <c:v>45927</c:v>
                </c:pt>
                <c:pt idx="1732">
                  <c:v>45928</c:v>
                </c:pt>
                <c:pt idx="1733">
                  <c:v>45929</c:v>
                </c:pt>
                <c:pt idx="1734">
                  <c:v>45930</c:v>
                </c:pt>
                <c:pt idx="1735">
                  <c:v>45931</c:v>
                </c:pt>
                <c:pt idx="1736">
                  <c:v>45932</c:v>
                </c:pt>
                <c:pt idx="1737">
                  <c:v>45933</c:v>
                </c:pt>
                <c:pt idx="1738">
                  <c:v>45934</c:v>
                </c:pt>
                <c:pt idx="1739">
                  <c:v>45935</c:v>
                </c:pt>
                <c:pt idx="1740">
                  <c:v>45936</c:v>
                </c:pt>
                <c:pt idx="1741">
                  <c:v>45937</c:v>
                </c:pt>
                <c:pt idx="1742">
                  <c:v>45938</c:v>
                </c:pt>
                <c:pt idx="1743">
                  <c:v>45939</c:v>
                </c:pt>
                <c:pt idx="1744">
                  <c:v>45940</c:v>
                </c:pt>
                <c:pt idx="1745">
                  <c:v>45941</c:v>
                </c:pt>
                <c:pt idx="1746">
                  <c:v>45942</c:v>
                </c:pt>
                <c:pt idx="1747">
                  <c:v>45943</c:v>
                </c:pt>
                <c:pt idx="1748">
                  <c:v>45944</c:v>
                </c:pt>
                <c:pt idx="1749">
                  <c:v>45945</c:v>
                </c:pt>
                <c:pt idx="1750">
                  <c:v>45946</c:v>
                </c:pt>
                <c:pt idx="1751">
                  <c:v>45947</c:v>
                </c:pt>
                <c:pt idx="1752">
                  <c:v>45948</c:v>
                </c:pt>
                <c:pt idx="1753">
                  <c:v>45949</c:v>
                </c:pt>
                <c:pt idx="1754">
                  <c:v>45950</c:v>
                </c:pt>
                <c:pt idx="1755">
                  <c:v>45951</c:v>
                </c:pt>
                <c:pt idx="1756">
                  <c:v>45952</c:v>
                </c:pt>
                <c:pt idx="1757">
                  <c:v>45953</c:v>
                </c:pt>
                <c:pt idx="1758">
                  <c:v>45954</c:v>
                </c:pt>
                <c:pt idx="1759">
                  <c:v>45955</c:v>
                </c:pt>
                <c:pt idx="1760">
                  <c:v>45956</c:v>
                </c:pt>
                <c:pt idx="1761">
                  <c:v>45957</c:v>
                </c:pt>
                <c:pt idx="1762">
                  <c:v>45958</c:v>
                </c:pt>
                <c:pt idx="1763">
                  <c:v>45959</c:v>
                </c:pt>
                <c:pt idx="1764">
                  <c:v>45960</c:v>
                </c:pt>
                <c:pt idx="1765">
                  <c:v>45961</c:v>
                </c:pt>
                <c:pt idx="1766">
                  <c:v>45962</c:v>
                </c:pt>
                <c:pt idx="1767">
                  <c:v>45963</c:v>
                </c:pt>
                <c:pt idx="1768">
                  <c:v>45964</c:v>
                </c:pt>
                <c:pt idx="1769">
                  <c:v>45965</c:v>
                </c:pt>
                <c:pt idx="1770">
                  <c:v>45966</c:v>
                </c:pt>
                <c:pt idx="1771">
                  <c:v>45967</c:v>
                </c:pt>
                <c:pt idx="1772">
                  <c:v>45968</c:v>
                </c:pt>
                <c:pt idx="1773">
                  <c:v>45969</c:v>
                </c:pt>
                <c:pt idx="1774">
                  <c:v>45970</c:v>
                </c:pt>
                <c:pt idx="1775">
                  <c:v>45971</c:v>
                </c:pt>
                <c:pt idx="1776">
                  <c:v>45972</c:v>
                </c:pt>
                <c:pt idx="1777">
                  <c:v>45973</c:v>
                </c:pt>
                <c:pt idx="1778">
                  <c:v>45974</c:v>
                </c:pt>
                <c:pt idx="1779">
                  <c:v>45975</c:v>
                </c:pt>
                <c:pt idx="1780">
                  <c:v>45976</c:v>
                </c:pt>
                <c:pt idx="1781">
                  <c:v>45977</c:v>
                </c:pt>
                <c:pt idx="1782">
                  <c:v>45978</c:v>
                </c:pt>
                <c:pt idx="1783">
                  <c:v>45979</c:v>
                </c:pt>
                <c:pt idx="1784">
                  <c:v>45980</c:v>
                </c:pt>
                <c:pt idx="1785">
                  <c:v>45981</c:v>
                </c:pt>
                <c:pt idx="1786">
                  <c:v>45982</c:v>
                </c:pt>
                <c:pt idx="1787">
                  <c:v>45983</c:v>
                </c:pt>
                <c:pt idx="1788">
                  <c:v>45984</c:v>
                </c:pt>
                <c:pt idx="1789">
                  <c:v>45985</c:v>
                </c:pt>
                <c:pt idx="1790">
                  <c:v>45986</c:v>
                </c:pt>
                <c:pt idx="1791">
                  <c:v>45987</c:v>
                </c:pt>
                <c:pt idx="1792">
                  <c:v>45988</c:v>
                </c:pt>
                <c:pt idx="1793">
                  <c:v>45989</c:v>
                </c:pt>
                <c:pt idx="1794">
                  <c:v>45990</c:v>
                </c:pt>
                <c:pt idx="1795">
                  <c:v>45991</c:v>
                </c:pt>
                <c:pt idx="1796">
                  <c:v>45992</c:v>
                </c:pt>
                <c:pt idx="1797">
                  <c:v>45993</c:v>
                </c:pt>
                <c:pt idx="1798">
                  <c:v>45994</c:v>
                </c:pt>
                <c:pt idx="1799">
                  <c:v>45995</c:v>
                </c:pt>
                <c:pt idx="1800">
                  <c:v>45996</c:v>
                </c:pt>
                <c:pt idx="1801">
                  <c:v>45997</c:v>
                </c:pt>
                <c:pt idx="1802">
                  <c:v>45998</c:v>
                </c:pt>
                <c:pt idx="1803">
                  <c:v>45999</c:v>
                </c:pt>
                <c:pt idx="1804">
                  <c:v>46000</c:v>
                </c:pt>
                <c:pt idx="1805">
                  <c:v>46001</c:v>
                </c:pt>
                <c:pt idx="1806">
                  <c:v>46002</c:v>
                </c:pt>
                <c:pt idx="1807">
                  <c:v>46003</c:v>
                </c:pt>
                <c:pt idx="1808">
                  <c:v>46004</c:v>
                </c:pt>
                <c:pt idx="1809">
                  <c:v>46005</c:v>
                </c:pt>
                <c:pt idx="1810">
                  <c:v>46006</c:v>
                </c:pt>
                <c:pt idx="1811">
                  <c:v>46007</c:v>
                </c:pt>
                <c:pt idx="1812">
                  <c:v>46008</c:v>
                </c:pt>
                <c:pt idx="1813">
                  <c:v>46009</c:v>
                </c:pt>
                <c:pt idx="1814">
                  <c:v>46010</c:v>
                </c:pt>
                <c:pt idx="1815">
                  <c:v>46011</c:v>
                </c:pt>
                <c:pt idx="1816">
                  <c:v>46012</c:v>
                </c:pt>
                <c:pt idx="1817">
                  <c:v>46013</c:v>
                </c:pt>
                <c:pt idx="1818">
                  <c:v>46014</c:v>
                </c:pt>
                <c:pt idx="1819">
                  <c:v>46015</c:v>
                </c:pt>
                <c:pt idx="1820">
                  <c:v>46016</c:v>
                </c:pt>
                <c:pt idx="1821">
                  <c:v>46017</c:v>
                </c:pt>
                <c:pt idx="1822">
                  <c:v>46018</c:v>
                </c:pt>
                <c:pt idx="1823">
                  <c:v>46019</c:v>
                </c:pt>
                <c:pt idx="1824">
                  <c:v>46020</c:v>
                </c:pt>
                <c:pt idx="1825">
                  <c:v>46021</c:v>
                </c:pt>
                <c:pt idx="1826">
                  <c:v>46022</c:v>
                </c:pt>
              </c:numCache>
            </c:numRef>
          </c:cat>
          <c:val>
            <c:numRef>
              <c:f>Sheet1!$I$2:$I$2069</c:f>
              <c:numCache>
                <c:formatCode>0.00%</c:formatCode>
                <c:ptCount val="2068"/>
                <c:pt idx="0">
                  <c:v>0</c:v>
                </c:pt>
                <c:pt idx="1">
                  <c:v>-3.4889506603974496E-6</c:v>
                </c:pt>
                <c:pt idx="2">
                  <c:v>1.0129211599746668E-4</c:v>
                </c:pt>
                <c:pt idx="3">
                  <c:v>1.0106702240648247E-4</c:v>
                </c:pt>
                <c:pt idx="4">
                  <c:v>-3.3300917842436204E-3</c:v>
                </c:pt>
                <c:pt idx="5">
                  <c:v>-3.6350197736693701E-3</c:v>
                </c:pt>
                <c:pt idx="6">
                  <c:v>-4.184570469165436E-3</c:v>
                </c:pt>
                <c:pt idx="7">
                  <c:v>6.8592469987179073E-3</c:v>
                </c:pt>
                <c:pt idx="8">
                  <c:v>1.9341286465398753E-2</c:v>
                </c:pt>
                <c:pt idx="9">
                  <c:v>1.9341286465398753E-2</c:v>
                </c:pt>
                <c:pt idx="10">
                  <c:v>1.9341286465398753E-2</c:v>
                </c:pt>
                <c:pt idx="11">
                  <c:v>2.2861023403816034E-2</c:v>
                </c:pt>
                <c:pt idx="12">
                  <c:v>2.075911781816913E-2</c:v>
                </c:pt>
                <c:pt idx="13">
                  <c:v>2.0792586819021894E-2</c:v>
                </c:pt>
                <c:pt idx="14">
                  <c:v>2.3543979856551971E-2</c:v>
                </c:pt>
                <c:pt idx="15">
                  <c:v>1.8838927331339617E-2</c:v>
                </c:pt>
                <c:pt idx="16">
                  <c:v>1.8838927331339617E-2</c:v>
                </c:pt>
                <c:pt idx="17">
                  <c:v>1.8838813520045933E-2</c:v>
                </c:pt>
                <c:pt idx="18">
                  <c:v>1.967417379283674E-2</c:v>
                </c:pt>
                <c:pt idx="19">
                  <c:v>2.3143613317645018E-2</c:v>
                </c:pt>
                <c:pt idx="20">
                  <c:v>3.5682354288206992E-2</c:v>
                </c:pt>
                <c:pt idx="21">
                  <c:v>3.8595232517773609E-2</c:v>
                </c:pt>
                <c:pt idx="22">
                  <c:v>3.369061392485051E-2</c:v>
                </c:pt>
                <c:pt idx="23">
                  <c:v>3.369061392485051E-2</c:v>
                </c:pt>
                <c:pt idx="24">
                  <c:v>3.369061392485051E-2</c:v>
                </c:pt>
                <c:pt idx="25">
                  <c:v>3.7523441338870922E-2</c:v>
                </c:pt>
                <c:pt idx="26">
                  <c:v>3.2987219634502622E-2</c:v>
                </c:pt>
                <c:pt idx="27">
                  <c:v>1.8270578534835807E-2</c:v>
                </c:pt>
                <c:pt idx="28">
                  <c:v>1.4985870859702004E-2</c:v>
                </c:pt>
                <c:pt idx="29">
                  <c:v>4.3457674000664777E-3</c:v>
                </c:pt>
                <c:pt idx="30">
                  <c:v>4.3457674000664777E-3</c:v>
                </c:pt>
                <c:pt idx="31">
                  <c:v>4.0042913387003413E-3</c:v>
                </c:pt>
                <c:pt idx="32">
                  <c:v>1.7732325340698053E-2</c:v>
                </c:pt>
                <c:pt idx="33">
                  <c:v>3.8175916990966528E-2</c:v>
                </c:pt>
                <c:pt idx="34">
                  <c:v>4.4908463200154645E-2</c:v>
                </c:pt>
                <c:pt idx="35">
                  <c:v>5.1548530064496847E-2</c:v>
                </c:pt>
                <c:pt idx="36">
                  <c:v>5.5626430210820671E-2</c:v>
                </c:pt>
                <c:pt idx="37">
                  <c:v>5.5626430210820671E-2</c:v>
                </c:pt>
                <c:pt idx="38">
                  <c:v>5.5628832466530158E-2</c:v>
                </c:pt>
                <c:pt idx="39">
                  <c:v>6.0868812271283303E-2</c:v>
                </c:pt>
                <c:pt idx="40">
                  <c:v>6.0818494119720297E-2</c:v>
                </c:pt>
                <c:pt idx="41">
                  <c:v>6.0952771659979844E-2</c:v>
                </c:pt>
                <c:pt idx="42">
                  <c:v>6.4618698965823715E-2</c:v>
                </c:pt>
                <c:pt idx="43">
                  <c:v>7.1652819984969793E-2</c:v>
                </c:pt>
                <c:pt idx="44">
                  <c:v>7.1652819984969793E-2</c:v>
                </c:pt>
                <c:pt idx="45">
                  <c:v>7.1652819984969793E-2</c:v>
                </c:pt>
                <c:pt idx="46">
                  <c:v>7.4871889948981044E-2</c:v>
                </c:pt>
                <c:pt idx="47">
                  <c:v>7.670901591115338E-2</c:v>
                </c:pt>
                <c:pt idx="48">
                  <c:v>7.6742750411256819E-2</c:v>
                </c:pt>
                <c:pt idx="49">
                  <c:v>6.7412712406434275E-2</c:v>
                </c:pt>
                <c:pt idx="50">
                  <c:v>6.3193285291868906E-2</c:v>
                </c:pt>
                <c:pt idx="51">
                  <c:v>6.3193285291868906E-2</c:v>
                </c:pt>
                <c:pt idx="52">
                  <c:v>6.3193285291868906E-2</c:v>
                </c:pt>
                <c:pt idx="53">
                  <c:v>5.059314002270128E-2</c:v>
                </c:pt>
                <c:pt idx="54">
                  <c:v>4.0819439905194911E-2</c:v>
                </c:pt>
                <c:pt idx="55">
                  <c:v>4.2337281612389858E-2</c:v>
                </c:pt>
                <c:pt idx="56">
                  <c:v>2.987144014563441E-2</c:v>
                </c:pt>
                <c:pt idx="57">
                  <c:v>1.9917779666777734E-2</c:v>
                </c:pt>
                <c:pt idx="58">
                  <c:v>1.9917779666777734E-2</c:v>
                </c:pt>
                <c:pt idx="59">
                  <c:v>1.9609274488411332E-2</c:v>
                </c:pt>
                <c:pt idx="60">
                  <c:v>4.020355361224006E-2</c:v>
                </c:pt>
                <c:pt idx="61">
                  <c:v>4.191826087456562E-2</c:v>
                </c:pt>
                <c:pt idx="62">
                  <c:v>2.9211558812641415E-2</c:v>
                </c:pt>
                <c:pt idx="63">
                  <c:v>1.3297291347527961E-2</c:v>
                </c:pt>
                <c:pt idx="64">
                  <c:v>1.7569392990384215E-2</c:v>
                </c:pt>
                <c:pt idx="65">
                  <c:v>1.7569392990384215E-2</c:v>
                </c:pt>
                <c:pt idx="66">
                  <c:v>1.7569392990384215E-2</c:v>
                </c:pt>
                <c:pt idx="67">
                  <c:v>1.8694077844233731E-2</c:v>
                </c:pt>
                <c:pt idx="68">
                  <c:v>2.8810335824718293E-2</c:v>
                </c:pt>
                <c:pt idx="69">
                  <c:v>3.4734224509115987E-2</c:v>
                </c:pt>
                <c:pt idx="70">
                  <c:v>4.3540325429447503E-2</c:v>
                </c:pt>
                <c:pt idx="71">
                  <c:v>4.4164155450428809E-2</c:v>
                </c:pt>
                <c:pt idx="72">
                  <c:v>4.4164155450428809E-2</c:v>
                </c:pt>
                <c:pt idx="73">
                  <c:v>4.4164155450428809E-2</c:v>
                </c:pt>
                <c:pt idx="74">
                  <c:v>4.718059291137109E-2</c:v>
                </c:pt>
                <c:pt idx="75">
                  <c:v>5.4065343270188748E-2</c:v>
                </c:pt>
                <c:pt idx="76">
                  <c:v>5.0684581053752564E-2</c:v>
                </c:pt>
                <c:pt idx="77">
                  <c:v>4.2924318480076523E-2</c:v>
                </c:pt>
                <c:pt idx="78">
                  <c:v>3.7805235917696078E-2</c:v>
                </c:pt>
                <c:pt idx="79">
                  <c:v>3.7805235917696078E-2</c:v>
                </c:pt>
                <c:pt idx="80">
                  <c:v>3.7805235917696078E-2</c:v>
                </c:pt>
                <c:pt idx="81">
                  <c:v>4.0473249051636913E-2</c:v>
                </c:pt>
                <c:pt idx="82">
                  <c:v>4.1995130551455588E-2</c:v>
                </c:pt>
                <c:pt idx="83">
                  <c:v>3.6195766109599958E-2</c:v>
                </c:pt>
                <c:pt idx="84">
                  <c:v>3.4484931941693588E-2</c:v>
                </c:pt>
                <c:pt idx="85">
                  <c:v>4.5848524370249492E-2</c:v>
                </c:pt>
                <c:pt idx="86">
                  <c:v>4.5848524370249492E-2</c:v>
                </c:pt>
                <c:pt idx="87">
                  <c:v>4.5879777443377637E-2</c:v>
                </c:pt>
                <c:pt idx="88">
                  <c:v>5.0430477510891907E-2</c:v>
                </c:pt>
                <c:pt idx="89">
                  <c:v>5.2888286290844917E-2</c:v>
                </c:pt>
                <c:pt idx="90">
                  <c:v>5.5819628303692921E-2</c:v>
                </c:pt>
                <c:pt idx="91">
                  <c:v>6.7607404297856707E-2</c:v>
                </c:pt>
                <c:pt idx="92">
                  <c:v>6.7675966738236462E-2</c:v>
                </c:pt>
                <c:pt idx="93">
                  <c:v>6.7675849737485125E-2</c:v>
                </c:pt>
                <c:pt idx="94">
                  <c:v>6.7675732736731928E-2</c:v>
                </c:pt>
                <c:pt idx="95">
                  <c:v>6.7727830829695537E-2</c:v>
                </c:pt>
                <c:pt idx="96">
                  <c:v>7.7406980949447049E-2</c:v>
                </c:pt>
                <c:pt idx="97">
                  <c:v>7.1936109869195519E-2</c:v>
                </c:pt>
                <c:pt idx="98">
                  <c:v>7.8169910313449692E-2</c:v>
                </c:pt>
                <c:pt idx="99">
                  <c:v>8.3791430906422881E-2</c:v>
                </c:pt>
                <c:pt idx="100">
                  <c:v>8.3791430906422881E-2</c:v>
                </c:pt>
                <c:pt idx="101">
                  <c:v>8.3791430906422881E-2</c:v>
                </c:pt>
                <c:pt idx="102">
                  <c:v>8.2015364880371922E-2</c:v>
                </c:pt>
                <c:pt idx="103">
                  <c:v>8.4525559824799076E-2</c:v>
                </c:pt>
                <c:pt idx="104">
                  <c:v>8.312455305336755E-2</c:v>
                </c:pt>
                <c:pt idx="105">
                  <c:v>8.8786306963061043E-2</c:v>
                </c:pt>
                <c:pt idx="106">
                  <c:v>9.3353897362108848E-2</c:v>
                </c:pt>
                <c:pt idx="107">
                  <c:v>9.3353897362108848E-2</c:v>
                </c:pt>
                <c:pt idx="108">
                  <c:v>9.3355275418855119E-2</c:v>
                </c:pt>
                <c:pt idx="109">
                  <c:v>8.8492228226646721E-2</c:v>
                </c:pt>
                <c:pt idx="110">
                  <c:v>7.6045412416884797E-2</c:v>
                </c:pt>
                <c:pt idx="111">
                  <c:v>7.8722385206318399E-2</c:v>
                </c:pt>
                <c:pt idx="112">
                  <c:v>8.3463779913228967E-2</c:v>
                </c:pt>
                <c:pt idx="113">
                  <c:v>8.6871191135113865E-2</c:v>
                </c:pt>
                <c:pt idx="114">
                  <c:v>8.6871191135113865E-2</c:v>
                </c:pt>
                <c:pt idx="115">
                  <c:v>8.6871191135113865E-2</c:v>
                </c:pt>
                <c:pt idx="116">
                  <c:v>9.1375854680084245E-2</c:v>
                </c:pt>
                <c:pt idx="117">
                  <c:v>9.1470842282017628E-2</c:v>
                </c:pt>
                <c:pt idx="118">
                  <c:v>9.1791328211537432E-2</c:v>
                </c:pt>
                <c:pt idx="119">
                  <c:v>9.0660732589984153E-2</c:v>
                </c:pt>
                <c:pt idx="120">
                  <c:v>8.6815690973690629E-2</c:v>
                </c:pt>
                <c:pt idx="121">
                  <c:v>8.6815690973690629E-2</c:v>
                </c:pt>
                <c:pt idx="122">
                  <c:v>8.6815462396487811E-2</c:v>
                </c:pt>
                <c:pt idx="123">
                  <c:v>8.4390042922962316E-2</c:v>
                </c:pt>
                <c:pt idx="124">
                  <c:v>7.4796662135306918E-2</c:v>
                </c:pt>
                <c:pt idx="125">
                  <c:v>7.5495725409059411E-2</c:v>
                </c:pt>
                <c:pt idx="126">
                  <c:v>7.1532258296147552E-2</c:v>
                </c:pt>
                <c:pt idx="127">
                  <c:v>7.4426602023972499E-2</c:v>
                </c:pt>
                <c:pt idx="128">
                  <c:v>7.4426488724213161E-2</c:v>
                </c:pt>
                <c:pt idx="129">
                  <c:v>7.4426375424454114E-2</c:v>
                </c:pt>
                <c:pt idx="130">
                  <c:v>6.6842747839588698E-2</c:v>
                </c:pt>
                <c:pt idx="131">
                  <c:v>5.2480564369752757E-2</c:v>
                </c:pt>
                <c:pt idx="132">
                  <c:v>4.567036172264835E-2</c:v>
                </c:pt>
                <c:pt idx="133">
                  <c:v>4.2822191917512666E-2</c:v>
                </c:pt>
                <c:pt idx="134">
                  <c:v>5.0518143185725395E-2</c:v>
                </c:pt>
                <c:pt idx="135">
                  <c:v>5.0518143185725395E-2</c:v>
                </c:pt>
                <c:pt idx="136">
                  <c:v>5.0518143185725395E-2</c:v>
                </c:pt>
                <c:pt idx="137">
                  <c:v>5.3203937879923162E-2</c:v>
                </c:pt>
                <c:pt idx="138">
                  <c:v>4.9650730686330038E-2</c:v>
                </c:pt>
                <c:pt idx="139">
                  <c:v>4.2649168818725228E-2</c:v>
                </c:pt>
                <c:pt idx="140">
                  <c:v>5.3881525980013549E-2</c:v>
                </c:pt>
                <c:pt idx="141">
                  <c:v>6.1083186798089599E-2</c:v>
                </c:pt>
                <c:pt idx="142">
                  <c:v>6.1083186798089599E-2</c:v>
                </c:pt>
                <c:pt idx="143">
                  <c:v>6.1083186798089599E-2</c:v>
                </c:pt>
                <c:pt idx="144">
                  <c:v>6.2449265834730878E-2</c:v>
                </c:pt>
                <c:pt idx="145">
                  <c:v>6.7742174391993329E-2</c:v>
                </c:pt>
                <c:pt idx="146">
                  <c:v>7.0884069474442132E-2</c:v>
                </c:pt>
                <c:pt idx="147">
                  <c:v>7.3531842280360984E-2</c:v>
                </c:pt>
                <c:pt idx="148">
                  <c:v>7.8737639258962419E-2</c:v>
                </c:pt>
                <c:pt idx="149">
                  <c:v>7.8737639258962419E-2</c:v>
                </c:pt>
                <c:pt idx="150">
                  <c:v>7.8737639258962419E-2</c:v>
                </c:pt>
                <c:pt idx="151">
                  <c:v>7.6655515289198492E-2</c:v>
                </c:pt>
                <c:pt idx="152">
                  <c:v>7.5892494626036602E-2</c:v>
                </c:pt>
                <c:pt idx="153">
                  <c:v>7.7549409140295469E-2</c:v>
                </c:pt>
                <c:pt idx="154">
                  <c:v>7.6038266365079321E-2</c:v>
                </c:pt>
                <c:pt idx="155">
                  <c:v>8.0975118004116955E-2</c:v>
                </c:pt>
                <c:pt idx="156">
                  <c:v>8.0975118004116955E-2</c:v>
                </c:pt>
                <c:pt idx="157">
                  <c:v>8.0975118004116955E-2</c:v>
                </c:pt>
                <c:pt idx="158">
                  <c:v>8.1664730779782382E-2</c:v>
                </c:pt>
                <c:pt idx="159">
                  <c:v>8.3302727764112919E-2</c:v>
                </c:pt>
                <c:pt idx="160">
                  <c:v>8.2746037296750785E-2</c:v>
                </c:pt>
                <c:pt idx="161">
                  <c:v>8.8270691454690964E-2</c:v>
                </c:pt>
                <c:pt idx="162">
                  <c:v>9.6364477597170581E-2</c:v>
                </c:pt>
                <c:pt idx="163">
                  <c:v>9.6364477597170581E-2</c:v>
                </c:pt>
                <c:pt idx="164">
                  <c:v>9.6364477597170581E-2</c:v>
                </c:pt>
                <c:pt idx="165">
                  <c:v>0.10009692700051119</c:v>
                </c:pt>
                <c:pt idx="166">
                  <c:v>0.10013929491377781</c:v>
                </c:pt>
                <c:pt idx="167">
                  <c:v>9.8397853931115692E-2</c:v>
                </c:pt>
                <c:pt idx="168">
                  <c:v>0.10959099267545497</c:v>
                </c:pt>
                <c:pt idx="169">
                  <c:v>0.11083794462444786</c:v>
                </c:pt>
                <c:pt idx="170">
                  <c:v>0.11083794462444786</c:v>
                </c:pt>
                <c:pt idx="171">
                  <c:v>0.11083794462444786</c:v>
                </c:pt>
                <c:pt idx="172">
                  <c:v>0.11047026297924248</c:v>
                </c:pt>
                <c:pt idx="173">
                  <c:v>0.11718304038403189</c:v>
                </c:pt>
                <c:pt idx="174">
                  <c:v>0.11595288311983439</c:v>
                </c:pt>
                <c:pt idx="175">
                  <c:v>0.12205708205874145</c:v>
                </c:pt>
                <c:pt idx="176">
                  <c:v>0.12590514089024651</c:v>
                </c:pt>
                <c:pt idx="177">
                  <c:v>0.12590514089024651</c:v>
                </c:pt>
                <c:pt idx="178">
                  <c:v>0.12590514089024651</c:v>
                </c:pt>
                <c:pt idx="179">
                  <c:v>0.12984231337535235</c:v>
                </c:pt>
                <c:pt idx="180">
                  <c:v>0.13468681911339275</c:v>
                </c:pt>
                <c:pt idx="181">
                  <c:v>0.13362955423015863</c:v>
                </c:pt>
                <c:pt idx="182">
                  <c:v>0.13412484801180427</c:v>
                </c:pt>
                <c:pt idx="183">
                  <c:v>0.14121432553541127</c:v>
                </c:pt>
                <c:pt idx="184">
                  <c:v>0.14121432553541127</c:v>
                </c:pt>
                <c:pt idx="185">
                  <c:v>0.14121432553541127</c:v>
                </c:pt>
                <c:pt idx="186">
                  <c:v>0.14134988777047014</c:v>
                </c:pt>
                <c:pt idx="187">
                  <c:v>0.14373307441185715</c:v>
                </c:pt>
                <c:pt idx="188">
                  <c:v>0.14920544560667368</c:v>
                </c:pt>
                <c:pt idx="189">
                  <c:v>0.13481951131913689</c:v>
                </c:pt>
                <c:pt idx="190">
                  <c:v>0.13973353676600581</c:v>
                </c:pt>
                <c:pt idx="191">
                  <c:v>0.13973353676600581</c:v>
                </c:pt>
                <c:pt idx="192">
                  <c:v>0.13973353676600581</c:v>
                </c:pt>
                <c:pt idx="193">
                  <c:v>0.14657694239485308</c:v>
                </c:pt>
                <c:pt idx="194">
                  <c:v>0.15118637852130348</c:v>
                </c:pt>
                <c:pt idx="195">
                  <c:v>0.15114069433488836</c:v>
                </c:pt>
                <c:pt idx="196">
                  <c:v>0.1459881252971624</c:v>
                </c:pt>
                <c:pt idx="197">
                  <c:v>0.14135095617876176</c:v>
                </c:pt>
                <c:pt idx="198">
                  <c:v>0.14135095617876176</c:v>
                </c:pt>
                <c:pt idx="199">
                  <c:v>0.14135095617876176</c:v>
                </c:pt>
                <c:pt idx="200">
                  <c:v>0.12605955332603486</c:v>
                </c:pt>
                <c:pt idx="201">
                  <c:v>0.13390887769871937</c:v>
                </c:pt>
                <c:pt idx="202">
                  <c:v>0.14451366527633483</c:v>
                </c:pt>
                <c:pt idx="203">
                  <c:v>0.15143132238118612</c:v>
                </c:pt>
                <c:pt idx="204">
                  <c:v>0.16208322009008128</c:v>
                </c:pt>
                <c:pt idx="205">
                  <c:v>0.16208322009008128</c:v>
                </c:pt>
                <c:pt idx="206">
                  <c:v>0.16208322009008128</c:v>
                </c:pt>
                <c:pt idx="207">
                  <c:v>0.1587403228836976</c:v>
                </c:pt>
                <c:pt idx="208">
                  <c:v>0.15040216693566918</c:v>
                </c:pt>
                <c:pt idx="209">
                  <c:v>0.15322373082541232</c:v>
                </c:pt>
                <c:pt idx="210">
                  <c:v>0.15500798509843577</c:v>
                </c:pt>
                <c:pt idx="211">
                  <c:v>0.15190834714831511</c:v>
                </c:pt>
                <c:pt idx="212">
                  <c:v>0.15183303020557135</c:v>
                </c:pt>
                <c:pt idx="213">
                  <c:v>0.15183279810405254</c:v>
                </c:pt>
                <c:pt idx="214">
                  <c:v>0.15204894501764726</c:v>
                </c:pt>
                <c:pt idx="215">
                  <c:v>0.15526955769509754</c:v>
                </c:pt>
                <c:pt idx="216">
                  <c:v>0.16030452693580885</c:v>
                </c:pt>
                <c:pt idx="217">
                  <c:v>0.1670510911078516</c:v>
                </c:pt>
                <c:pt idx="218">
                  <c:v>0.17088607354094137</c:v>
                </c:pt>
                <c:pt idx="219">
                  <c:v>0.17088583955423872</c:v>
                </c:pt>
                <c:pt idx="220">
                  <c:v>0.17088560556753607</c:v>
                </c:pt>
                <c:pt idx="221">
                  <c:v>0.17164651914230147</c:v>
                </c:pt>
                <c:pt idx="222">
                  <c:v>0.17494696519315725</c:v>
                </c:pt>
                <c:pt idx="223">
                  <c:v>0.17277378608438099</c:v>
                </c:pt>
                <c:pt idx="224">
                  <c:v>0.1723136393987876</c:v>
                </c:pt>
                <c:pt idx="225">
                  <c:v>0.17156401077937772</c:v>
                </c:pt>
                <c:pt idx="226">
                  <c:v>0.17156389411255732</c:v>
                </c:pt>
                <c:pt idx="227">
                  <c:v>0.17156377744573503</c:v>
                </c:pt>
                <c:pt idx="228">
                  <c:v>0.16833901903071236</c:v>
                </c:pt>
                <c:pt idx="229">
                  <c:v>0.16726293990122726</c:v>
                </c:pt>
                <c:pt idx="230">
                  <c:v>0.16452203955047806</c:v>
                </c:pt>
                <c:pt idx="231">
                  <c:v>0.15929147311826569</c:v>
                </c:pt>
                <c:pt idx="232">
                  <c:v>0.16433740111362852</c:v>
                </c:pt>
                <c:pt idx="233">
                  <c:v>0.16433716552109659</c:v>
                </c:pt>
                <c:pt idx="234">
                  <c:v>0.16433669433603271</c:v>
                </c:pt>
                <c:pt idx="235">
                  <c:v>0.17247286128003836</c:v>
                </c:pt>
                <c:pt idx="236">
                  <c:v>0.17862854347265952</c:v>
                </c:pt>
                <c:pt idx="237">
                  <c:v>0.18155824146885208</c:v>
                </c:pt>
                <c:pt idx="238">
                  <c:v>0.17748341765371792</c:v>
                </c:pt>
                <c:pt idx="239">
                  <c:v>0.1800491461212235</c:v>
                </c:pt>
                <c:pt idx="240">
                  <c:v>0.18004891265808026</c:v>
                </c:pt>
                <c:pt idx="241">
                  <c:v>0.18004867919493692</c:v>
                </c:pt>
                <c:pt idx="242">
                  <c:v>0.18405767468813422</c:v>
                </c:pt>
                <c:pt idx="243">
                  <c:v>0.18583315817004745</c:v>
                </c:pt>
                <c:pt idx="244">
                  <c:v>0.18691744464995025</c:v>
                </c:pt>
                <c:pt idx="245">
                  <c:v>0.18899199802866959</c:v>
                </c:pt>
                <c:pt idx="246">
                  <c:v>0.18865249229473946</c:v>
                </c:pt>
                <c:pt idx="247">
                  <c:v>0.18865226072048061</c:v>
                </c:pt>
                <c:pt idx="248">
                  <c:v>0.18865202914622173</c:v>
                </c:pt>
                <c:pt idx="249">
                  <c:v>0.19214504236095734</c:v>
                </c:pt>
                <c:pt idx="250">
                  <c:v>0.19315898759407688</c:v>
                </c:pt>
                <c:pt idx="251">
                  <c:v>0.19096980650106077</c:v>
                </c:pt>
                <c:pt idx="252">
                  <c:v>0.18776752443777339</c:v>
                </c:pt>
                <c:pt idx="253">
                  <c:v>0.18434636064498405</c:v>
                </c:pt>
                <c:pt idx="254">
                  <c:v>0.18434705809841034</c:v>
                </c:pt>
                <c:pt idx="255">
                  <c:v>0.18434682561393317</c:v>
                </c:pt>
                <c:pt idx="256">
                  <c:v>0.18206865364387625</c:v>
                </c:pt>
                <c:pt idx="257">
                  <c:v>0.17893685766372983</c:v>
                </c:pt>
                <c:pt idx="258">
                  <c:v>0.1781377423672437</c:v>
                </c:pt>
                <c:pt idx="259">
                  <c:v>0.18317216774154516</c:v>
                </c:pt>
                <c:pt idx="260">
                  <c:v>0.18091809086379057</c:v>
                </c:pt>
                <c:pt idx="261">
                  <c:v>0.18091773923437487</c:v>
                </c:pt>
                <c:pt idx="262">
                  <c:v>0.18091750481476424</c:v>
                </c:pt>
                <c:pt idx="263">
                  <c:v>0.16483179819600152</c:v>
                </c:pt>
                <c:pt idx="264">
                  <c:v>0.16526276912519505</c:v>
                </c:pt>
                <c:pt idx="265">
                  <c:v>0.16999265971159389</c:v>
                </c:pt>
                <c:pt idx="266">
                  <c:v>0.18140679498754536</c:v>
                </c:pt>
                <c:pt idx="267">
                  <c:v>0.18052988190039884</c:v>
                </c:pt>
                <c:pt idx="268">
                  <c:v>0.18052964701643176</c:v>
                </c:pt>
                <c:pt idx="269">
                  <c:v>0.1805210737515614</c:v>
                </c:pt>
                <c:pt idx="270">
                  <c:v>0.17497219930399013</c:v>
                </c:pt>
                <c:pt idx="271">
                  <c:v>0.15158265998431403</c:v>
                </c:pt>
                <c:pt idx="272">
                  <c:v>0.14765744984252521</c:v>
                </c:pt>
                <c:pt idx="273">
                  <c:v>0.14660384994712786</c:v>
                </c:pt>
                <c:pt idx="274">
                  <c:v>0.14577960984997063</c:v>
                </c:pt>
                <c:pt idx="275">
                  <c:v>0.14577913526454325</c:v>
                </c:pt>
                <c:pt idx="276">
                  <c:v>0.14577866067911757</c:v>
                </c:pt>
                <c:pt idx="277">
                  <c:v>0.13313126371779732</c:v>
                </c:pt>
                <c:pt idx="278">
                  <c:v>0.13704289308095396</c:v>
                </c:pt>
                <c:pt idx="279">
                  <c:v>0.14077069425076233</c:v>
                </c:pt>
                <c:pt idx="280">
                  <c:v>0.15533012620678704</c:v>
                </c:pt>
                <c:pt idx="281">
                  <c:v>0.15377524526962488</c:v>
                </c:pt>
                <c:pt idx="282">
                  <c:v>0.15377476951127789</c:v>
                </c:pt>
                <c:pt idx="283">
                  <c:v>0.15377429375293089</c:v>
                </c:pt>
                <c:pt idx="284">
                  <c:v>0.1489519765522698</c:v>
                </c:pt>
                <c:pt idx="285">
                  <c:v>0.14700218899533496</c:v>
                </c:pt>
                <c:pt idx="286">
                  <c:v>0.15315425206152811</c:v>
                </c:pt>
                <c:pt idx="287">
                  <c:v>0.16719360908823205</c:v>
                </c:pt>
                <c:pt idx="288">
                  <c:v>0.17814004073246664</c:v>
                </c:pt>
                <c:pt idx="289">
                  <c:v>0.178139566306144</c:v>
                </c:pt>
                <c:pt idx="290">
                  <c:v>0.17813909187982133</c:v>
                </c:pt>
                <c:pt idx="291">
                  <c:v>0.18090576207321546</c:v>
                </c:pt>
                <c:pt idx="292">
                  <c:v>0.18612796853370925</c:v>
                </c:pt>
                <c:pt idx="293">
                  <c:v>0.18940877346301035</c:v>
                </c:pt>
                <c:pt idx="294">
                  <c:v>0.19150870975909043</c:v>
                </c:pt>
                <c:pt idx="295">
                  <c:v>0.19379602043737093</c:v>
                </c:pt>
                <c:pt idx="296">
                  <c:v>0.1937955476723785</c:v>
                </c:pt>
                <c:pt idx="297">
                  <c:v>0.19379495671613797</c:v>
                </c:pt>
                <c:pt idx="298">
                  <c:v>0.1968624496512193</c:v>
                </c:pt>
                <c:pt idx="299">
                  <c:v>0.20175543785883407</c:v>
                </c:pt>
                <c:pt idx="300">
                  <c:v>0.19665121582567052</c:v>
                </c:pt>
                <c:pt idx="301">
                  <c:v>0.19540079201477625</c:v>
                </c:pt>
                <c:pt idx="302">
                  <c:v>0.20474109899291321</c:v>
                </c:pt>
                <c:pt idx="303">
                  <c:v>0.20474062328636536</c:v>
                </c:pt>
                <c:pt idx="304">
                  <c:v>0.20501296528396382</c:v>
                </c:pt>
                <c:pt idx="305">
                  <c:v>0.20667400713721279</c:v>
                </c:pt>
                <c:pt idx="306">
                  <c:v>0.21190554794883454</c:v>
                </c:pt>
                <c:pt idx="307">
                  <c:v>0.21481189609529111</c:v>
                </c:pt>
                <c:pt idx="308">
                  <c:v>0.22594930812401601</c:v>
                </c:pt>
                <c:pt idx="309">
                  <c:v>0.23022172210249722</c:v>
                </c:pt>
                <c:pt idx="310">
                  <c:v>0.23022148393472036</c:v>
                </c:pt>
                <c:pt idx="311">
                  <c:v>0.23022112668305225</c:v>
                </c:pt>
                <c:pt idx="312">
                  <c:v>0.22959430945162823</c:v>
                </c:pt>
                <c:pt idx="313">
                  <c:v>0.22820570674031473</c:v>
                </c:pt>
                <c:pt idx="314">
                  <c:v>0.22393978996337111</c:v>
                </c:pt>
                <c:pt idx="315">
                  <c:v>0.22618743641377306</c:v>
                </c:pt>
                <c:pt idx="316">
                  <c:v>0.23664463224846827</c:v>
                </c:pt>
                <c:pt idx="317">
                  <c:v>0.23664451202495826</c:v>
                </c:pt>
                <c:pt idx="318">
                  <c:v>0.23664427157793796</c:v>
                </c:pt>
                <c:pt idx="319">
                  <c:v>0.24374472447134862</c:v>
                </c:pt>
                <c:pt idx="320">
                  <c:v>0.25264862606964344</c:v>
                </c:pt>
                <c:pt idx="321">
                  <c:v>0.25540251674691844</c:v>
                </c:pt>
                <c:pt idx="322">
                  <c:v>0.25005880827361193</c:v>
                </c:pt>
                <c:pt idx="323">
                  <c:v>0.25278097828638507</c:v>
                </c:pt>
                <c:pt idx="324">
                  <c:v>0.25278085672900064</c:v>
                </c:pt>
                <c:pt idx="325">
                  <c:v>0.2527806136142321</c:v>
                </c:pt>
                <c:pt idx="326">
                  <c:v>0.24827306230737478</c:v>
                </c:pt>
                <c:pt idx="327">
                  <c:v>0.23411105470778451</c:v>
                </c:pt>
                <c:pt idx="328">
                  <c:v>0.23563615338277571</c:v>
                </c:pt>
                <c:pt idx="329">
                  <c:v>0.23833238110479485</c:v>
                </c:pt>
                <c:pt idx="330">
                  <c:v>0.2110863660748612</c:v>
                </c:pt>
                <c:pt idx="331">
                  <c:v>0.21108612291754184</c:v>
                </c:pt>
                <c:pt idx="332">
                  <c:v>0.21108600133888203</c:v>
                </c:pt>
                <c:pt idx="333">
                  <c:v>0.21812478953590472</c:v>
                </c:pt>
                <c:pt idx="334">
                  <c:v>0.20561020802864349</c:v>
                </c:pt>
                <c:pt idx="335">
                  <c:v>0.19368337342087386</c:v>
                </c:pt>
                <c:pt idx="336">
                  <c:v>0.19205352159808214</c:v>
                </c:pt>
                <c:pt idx="337">
                  <c:v>0.18687510606896837</c:v>
                </c:pt>
                <c:pt idx="338">
                  <c:v>0.18687498410827685</c:v>
                </c:pt>
                <c:pt idx="339">
                  <c:v>0.1868748621475835</c:v>
                </c:pt>
                <c:pt idx="340">
                  <c:v>0.18871548034607927</c:v>
                </c:pt>
                <c:pt idx="341">
                  <c:v>0.21887829156701444</c:v>
                </c:pt>
                <c:pt idx="342">
                  <c:v>0.22129633562341411</c:v>
                </c:pt>
                <c:pt idx="343">
                  <c:v>0.22054136612250602</c:v>
                </c:pt>
                <c:pt idx="344">
                  <c:v>0.21659117024430047</c:v>
                </c:pt>
                <c:pt idx="345">
                  <c:v>0.21659092685387663</c:v>
                </c:pt>
                <c:pt idx="346">
                  <c:v>0.21659080515866491</c:v>
                </c:pt>
                <c:pt idx="347">
                  <c:v>0.21290834941746467</c:v>
                </c:pt>
                <c:pt idx="348">
                  <c:v>0.1990684235271945</c:v>
                </c:pt>
                <c:pt idx="349">
                  <c:v>0.20491375193790007</c:v>
                </c:pt>
                <c:pt idx="350">
                  <c:v>0.20388656682999454</c:v>
                </c:pt>
                <c:pt idx="351">
                  <c:v>0.19326554130560253</c:v>
                </c:pt>
                <c:pt idx="352">
                  <c:v>0.19326541928200996</c:v>
                </c:pt>
                <c:pt idx="353">
                  <c:v>0.1932666395179379</c:v>
                </c:pt>
                <c:pt idx="354">
                  <c:v>0.17854918068583189</c:v>
                </c:pt>
                <c:pt idx="355">
                  <c:v>0.19290412930964876</c:v>
                </c:pt>
                <c:pt idx="356">
                  <c:v>0.20432300430699499</c:v>
                </c:pt>
                <c:pt idx="357">
                  <c:v>0.21447765767071986</c:v>
                </c:pt>
                <c:pt idx="358">
                  <c:v>0.2143014486022001</c:v>
                </c:pt>
                <c:pt idx="359">
                  <c:v>0.21430120574273631</c:v>
                </c:pt>
                <c:pt idx="360">
                  <c:v>0.21430108431300426</c:v>
                </c:pt>
                <c:pt idx="361">
                  <c:v>0.22106870755654812</c:v>
                </c:pt>
                <c:pt idx="362">
                  <c:v>0.22440543950182915</c:v>
                </c:pt>
                <c:pt idx="363">
                  <c:v>0.22202376018088771</c:v>
                </c:pt>
                <c:pt idx="364">
                  <c:v>0.22465634132469803</c:v>
                </c:pt>
                <c:pt idx="365">
                  <c:v>0.22101609833074434</c:v>
                </c:pt>
                <c:pt idx="366">
                  <c:v>0.22101585633709603</c:v>
                </c:pt>
                <c:pt idx="367">
                  <c:v>0.22101561434344802</c:v>
                </c:pt>
                <c:pt idx="368">
                  <c:v>0.2237940079853169</c:v>
                </c:pt>
                <c:pt idx="369">
                  <c:v>0.22119554032007116</c:v>
                </c:pt>
                <c:pt idx="370">
                  <c:v>0.2004143873073386</c:v>
                </c:pt>
                <c:pt idx="371">
                  <c:v>0.18681911050276795</c:v>
                </c:pt>
                <c:pt idx="372">
                  <c:v>0.1749273807908584</c:v>
                </c:pt>
                <c:pt idx="373">
                  <c:v>0.17492725953410471</c:v>
                </c:pt>
                <c:pt idx="374">
                  <c:v>0.1749270170205949</c:v>
                </c:pt>
                <c:pt idx="375">
                  <c:v>0.16417470003509307</c:v>
                </c:pt>
                <c:pt idx="376">
                  <c:v>0.17105486129947819</c:v>
                </c:pt>
                <c:pt idx="377">
                  <c:v>0.17586308921664012</c:v>
                </c:pt>
                <c:pt idx="378">
                  <c:v>0.16115899308675252</c:v>
                </c:pt>
                <c:pt idx="379">
                  <c:v>0.14940373361565548</c:v>
                </c:pt>
                <c:pt idx="380">
                  <c:v>0.1494034928060286</c:v>
                </c:pt>
                <c:pt idx="381">
                  <c:v>0.14940337240121537</c:v>
                </c:pt>
                <c:pt idx="382">
                  <c:v>0.15121716223997608</c:v>
                </c:pt>
                <c:pt idx="383">
                  <c:v>0.13937631369203601</c:v>
                </c:pt>
                <c:pt idx="384">
                  <c:v>0.13315909656161223</c:v>
                </c:pt>
                <c:pt idx="385">
                  <c:v>0.1317465771576623</c:v>
                </c:pt>
                <c:pt idx="386">
                  <c:v>0.11099610055054995</c:v>
                </c:pt>
                <c:pt idx="387">
                  <c:v>0.11099597919204428</c:v>
                </c:pt>
                <c:pt idx="388">
                  <c:v>0.11099585783353831</c:v>
                </c:pt>
                <c:pt idx="389">
                  <c:v>9.5198260161861725E-2</c:v>
                </c:pt>
                <c:pt idx="390">
                  <c:v>8.642647217684668E-2</c:v>
                </c:pt>
                <c:pt idx="391">
                  <c:v>8.6771162431130908E-2</c:v>
                </c:pt>
                <c:pt idx="392">
                  <c:v>8.6902824660257061E-2</c:v>
                </c:pt>
                <c:pt idx="393">
                  <c:v>9.1793803002442054E-2</c:v>
                </c:pt>
                <c:pt idx="394">
                  <c:v>9.1793556339309107E-2</c:v>
                </c:pt>
                <c:pt idx="395">
                  <c:v>9.1793433007742356E-2</c:v>
                </c:pt>
                <c:pt idx="396">
                  <c:v>0.11475339861761767</c:v>
                </c:pt>
                <c:pt idx="397">
                  <c:v>0.12595691878216372</c:v>
                </c:pt>
                <c:pt idx="398">
                  <c:v>0.13140694296572206</c:v>
                </c:pt>
                <c:pt idx="399">
                  <c:v>0.10208574975631507</c:v>
                </c:pt>
                <c:pt idx="400">
                  <c:v>9.3697862325511208E-2</c:v>
                </c:pt>
                <c:pt idx="401">
                  <c:v>9.3697741977123605E-2</c:v>
                </c:pt>
                <c:pt idx="402">
                  <c:v>9.3697501280348941E-2</c:v>
                </c:pt>
                <c:pt idx="403">
                  <c:v>9.5494492360540584E-2</c:v>
                </c:pt>
                <c:pt idx="404">
                  <c:v>9.6854318439858242E-2</c:v>
                </c:pt>
                <c:pt idx="405">
                  <c:v>0.11618869184020951</c:v>
                </c:pt>
                <c:pt idx="406">
                  <c:v>0.11019044435565718</c:v>
                </c:pt>
                <c:pt idx="407">
                  <c:v>9.5103359695584824E-2</c:v>
                </c:pt>
                <c:pt idx="408">
                  <c:v>9.5103118303197356E-2</c:v>
                </c:pt>
                <c:pt idx="409">
                  <c:v>9.5102997607003914E-2</c:v>
                </c:pt>
                <c:pt idx="410">
                  <c:v>8.5069172956704617E-2</c:v>
                </c:pt>
                <c:pt idx="411">
                  <c:v>9.5624201154887345E-2</c:v>
                </c:pt>
                <c:pt idx="412">
                  <c:v>9.8423902621001813E-2</c:v>
                </c:pt>
                <c:pt idx="413">
                  <c:v>8.4776422901489068E-2</c:v>
                </c:pt>
                <c:pt idx="414">
                  <c:v>7.1680501579285905E-2</c:v>
                </c:pt>
                <c:pt idx="415">
                  <c:v>7.1680380253155818E-2</c:v>
                </c:pt>
                <c:pt idx="416">
                  <c:v>7.1680258927025592E-2</c:v>
                </c:pt>
                <c:pt idx="417">
                  <c:v>6.5644358746906162E-2</c:v>
                </c:pt>
                <c:pt idx="418">
                  <c:v>5.835525406840162E-2</c:v>
                </c:pt>
                <c:pt idx="419">
                  <c:v>4.7881368378294556E-2</c:v>
                </c:pt>
                <c:pt idx="420">
                  <c:v>5.2503553015224046E-2</c:v>
                </c:pt>
                <c:pt idx="421">
                  <c:v>7.1405716368083738E-2</c:v>
                </c:pt>
                <c:pt idx="422">
                  <c:v>7.1405593938408451E-2</c:v>
                </c:pt>
                <c:pt idx="423">
                  <c:v>7.1405471508733317E-2</c:v>
                </c:pt>
                <c:pt idx="424">
                  <c:v>7.6983645391150338E-2</c:v>
                </c:pt>
                <c:pt idx="425">
                  <c:v>7.4025736278467064E-2</c:v>
                </c:pt>
                <c:pt idx="426">
                  <c:v>8.120418770505794E-2</c:v>
                </c:pt>
                <c:pt idx="427">
                  <c:v>7.6994977271681794E-2</c:v>
                </c:pt>
                <c:pt idx="428" formatCode="0.0%">
                  <c:v>6.4886881257167198E-2</c:v>
                </c:pt>
                <c:pt idx="429" formatCode="0.0%">
                  <c:v>6.4886755200501078E-2</c:v>
                </c:pt>
                <c:pt idx="430" formatCode="0.0%">
                  <c:v>6.4886629143834973E-2</c:v>
                </c:pt>
                <c:pt idx="431" formatCode="0.0%">
                  <c:v>4.0910276793890719E-2</c:v>
                </c:pt>
                <c:pt idx="432" formatCode="0.0%">
                  <c:v>2.5791001697678551E-2</c:v>
                </c:pt>
                <c:pt idx="433" formatCode="0.0%">
                  <c:v>3.8768509246922919E-2</c:v>
                </c:pt>
                <c:pt idx="434" formatCode="0.0%">
                  <c:v>4.1453070023267174E-2</c:v>
                </c:pt>
                <c:pt idx="435" formatCode="0.0%">
                  <c:v>3.7447409072302665E-2</c:v>
                </c:pt>
                <c:pt idx="436" formatCode="0.0%">
                  <c:v>3.7447283572496562E-2</c:v>
                </c:pt>
                <c:pt idx="437" formatCode="0.0%">
                  <c:v>3.7447158072690744E-2</c:v>
                </c:pt>
                <c:pt idx="438" formatCode="0.0%">
                  <c:v>2.6838413685710095E-2</c:v>
                </c:pt>
                <c:pt idx="439" formatCode="0.0%">
                  <c:v>3.0776735877912104E-2</c:v>
                </c:pt>
                <c:pt idx="440" formatCode="0.0%">
                  <c:v>6.3370487550014759E-2</c:v>
                </c:pt>
                <c:pt idx="441" formatCode="0.0%">
                  <c:v>7.1801455898894348E-2</c:v>
                </c:pt>
                <c:pt idx="442" formatCode="0.0%">
                  <c:v>8.8534853586892406E-2</c:v>
                </c:pt>
                <c:pt idx="443" formatCode="0.0%">
                  <c:v>8.853472898897792E-2</c:v>
                </c:pt>
                <c:pt idx="444" formatCode="0.0%">
                  <c:v>8.8534604391063282E-2</c:v>
                </c:pt>
                <c:pt idx="445" formatCode="0.0%">
                  <c:v>9.6656272443949975E-2</c:v>
                </c:pt>
                <c:pt idx="446" formatCode="0.0%">
                  <c:v>0.10761241521438564</c:v>
                </c:pt>
                <c:pt idx="447" formatCode="0.0%">
                  <c:v>0.10270284533299702</c:v>
                </c:pt>
                <c:pt idx="448" formatCode="0.0%">
                  <c:v>0.10330540384126621</c:v>
                </c:pt>
                <c:pt idx="449" formatCode="0.0%">
                  <c:v>0.10656315685949622</c:v>
                </c:pt>
                <c:pt idx="450" formatCode="0.0%">
                  <c:v>0.10656303157336894</c:v>
                </c:pt>
                <c:pt idx="451" formatCode="0.0%">
                  <c:v>0.10656290628724192</c:v>
                </c:pt>
                <c:pt idx="452" formatCode="0.0%">
                  <c:v>0.11084365434622284</c:v>
                </c:pt>
                <c:pt idx="453" formatCode="0.0%">
                  <c:v>0.12161283032554081</c:v>
                </c:pt>
                <c:pt idx="454" formatCode="0.0%">
                  <c:v>0.11679759857698159</c:v>
                </c:pt>
                <c:pt idx="455" formatCode="0.0%">
                  <c:v>0.10760591869180886</c:v>
                </c:pt>
                <c:pt idx="456" formatCode="0.0%">
                  <c:v>0.11206405084226717</c:v>
                </c:pt>
                <c:pt idx="457" formatCode="0.0%">
                  <c:v>0.11206392615832612</c:v>
                </c:pt>
                <c:pt idx="458" formatCode="0.0%">
                  <c:v>0.11206367679044391</c:v>
                </c:pt>
                <c:pt idx="459" formatCode="0.0%">
                  <c:v>0.12668843352995382</c:v>
                </c:pt>
                <c:pt idx="460" formatCode="0.0%">
                  <c:v>0.12799443535630986</c:v>
                </c:pt>
                <c:pt idx="461" formatCode="0.0%">
                  <c:v>0.10843186018904077</c:v>
                </c:pt>
                <c:pt idx="462" formatCode="0.0%">
                  <c:v>0.10525551190265105</c:v>
                </c:pt>
                <c:pt idx="463" formatCode="0.0%">
                  <c:v>0.10581735342973446</c:v>
                </c:pt>
                <c:pt idx="464" formatCode="0.0%">
                  <c:v>0.10581722689575955</c:v>
                </c:pt>
                <c:pt idx="465" formatCode="0.0%">
                  <c:v>0.10581697382780832</c:v>
                </c:pt>
                <c:pt idx="466" formatCode="0.0%">
                  <c:v>8.914500071293574E-2</c:v>
                </c:pt>
                <c:pt idx="467" formatCode="0.0%">
                  <c:v>8.408496832947393E-2</c:v>
                </c:pt>
                <c:pt idx="468" formatCode="0.0%">
                  <c:v>8.9163858365600535E-2</c:v>
                </c:pt>
                <c:pt idx="469" formatCode="0.0%">
                  <c:v>9.1521428841084149E-2</c:v>
                </c:pt>
                <c:pt idx="470" formatCode="0.0%">
                  <c:v>9.1476092564594047E-2</c:v>
                </c:pt>
                <c:pt idx="471" formatCode="0.0%">
                  <c:v>9.1475964856771133E-2</c:v>
                </c:pt>
                <c:pt idx="472" formatCode="0.0%">
                  <c:v>9.1475709441128719E-2</c:v>
                </c:pt>
                <c:pt idx="473" formatCode="0.0%">
                  <c:v>8.9322067667947633E-2</c:v>
                </c:pt>
                <c:pt idx="474" formatCode="0.0%">
                  <c:v>8.8528544204467041E-2</c:v>
                </c:pt>
                <c:pt idx="475" formatCode="0.0%">
                  <c:v>9.0100228636286486E-2</c:v>
                </c:pt>
                <c:pt idx="476" formatCode="0.0%">
                  <c:v>8.2049905042368185E-2</c:v>
                </c:pt>
                <c:pt idx="477" formatCode="0.0%">
                  <c:v>6.0273710616768311E-2</c:v>
                </c:pt>
                <c:pt idx="478" formatCode="0.0%">
                  <c:v>6.0273582881196858E-2</c:v>
                </c:pt>
                <c:pt idx="479" formatCode="0.0%">
                  <c:v>6.0273455145625265E-2</c:v>
                </c:pt>
                <c:pt idx="480" formatCode="0.0%">
                  <c:v>5.2795636214717237E-2</c:v>
                </c:pt>
                <c:pt idx="481" formatCode="0.0%">
                  <c:v>4.3816849393826941E-2</c:v>
                </c:pt>
                <c:pt idx="482" formatCode="0.0%">
                  <c:v>4.87533873235877E-2</c:v>
                </c:pt>
                <c:pt idx="483" formatCode="0.0%">
                  <c:v>6.396463134407071E-2</c:v>
                </c:pt>
                <c:pt idx="484" formatCode="0.0%">
                  <c:v>5.6606938311766442E-2</c:v>
                </c:pt>
                <c:pt idx="485" formatCode="0.0%">
                  <c:v>5.5832709128313528E-2</c:v>
                </c:pt>
                <c:pt idx="486" formatCode="0.0%">
                  <c:v>5.5832578676892265E-2</c:v>
                </c:pt>
                <c:pt idx="487" formatCode="0.0%">
                  <c:v>5.2049142480061053E-2</c:v>
                </c:pt>
                <c:pt idx="488" formatCode="0.0%">
                  <c:v>4.8421526745384254E-2</c:v>
                </c:pt>
                <c:pt idx="489" formatCode="0.0%">
                  <c:v>5.4259205940464739E-2</c:v>
                </c:pt>
                <c:pt idx="490" formatCode="0.0%">
                  <c:v>4.0774543376145542E-2</c:v>
                </c:pt>
                <c:pt idx="491" formatCode="0.0%">
                  <c:v>1.3420138630791313E-2</c:v>
                </c:pt>
                <c:pt idx="492" formatCode="0.0%">
                  <c:v>1.3420008581752683E-2</c:v>
                </c:pt>
                <c:pt idx="493" formatCode="0.0%">
                  <c:v>1.3419878532714051E-2</c:v>
                </c:pt>
                <c:pt idx="494" formatCode="0.0%">
                  <c:v>-5.3559550511647555E-3</c:v>
                </c:pt>
                <c:pt idx="495" formatCode="0.0%">
                  <c:v>-2.1656394933978761E-2</c:v>
                </c:pt>
                <c:pt idx="496" formatCode="0.0%">
                  <c:v>-2.5800621963174279E-2</c:v>
                </c:pt>
                <c:pt idx="497" formatCode="0.0%">
                  <c:v>-2.5629192540700105E-2</c:v>
                </c:pt>
                <c:pt idx="498" formatCode="0.0%">
                  <c:v>-1.2281348092875533E-3</c:v>
                </c:pt>
                <c:pt idx="499" formatCode="0.0%">
                  <c:v>-1.2283996952518806E-3</c:v>
                </c:pt>
                <c:pt idx="500" formatCode="0.0%">
                  <c:v>-1.2286645812160657E-3</c:v>
                </c:pt>
                <c:pt idx="501" formatCode="0.0%">
                  <c:v>1.7444323640074799E-3</c:v>
                </c:pt>
                <c:pt idx="502" formatCode="0.0%">
                  <c:v>6.3680329870724958E-3</c:v>
                </c:pt>
                <c:pt idx="503" formatCode="0.0%">
                  <c:v>-7.4573350098815182E-3</c:v>
                </c:pt>
                <c:pt idx="504" formatCode="0.0%">
                  <c:v>-2.4069555361342906E-2</c:v>
                </c:pt>
                <c:pt idx="505" formatCode="0.0%">
                  <c:v>-1.6349634522832161E-2</c:v>
                </c:pt>
                <c:pt idx="506" formatCode="0.0%">
                  <c:v>-1.634976489932697E-2</c:v>
                </c:pt>
                <c:pt idx="507" formatCode="0.0%">
                  <c:v>-1.6349895275823343E-2</c:v>
                </c:pt>
                <c:pt idx="508" formatCode="0.0%">
                  <c:v>-1.5948682243854082E-2</c:v>
                </c:pt>
                <c:pt idx="509" formatCode="0.0%">
                  <c:v>-2.9741203349837379E-2</c:v>
                </c:pt>
                <c:pt idx="510" formatCode="0.0%">
                  <c:v>-2.5547133319689549E-2</c:v>
                </c:pt>
                <c:pt idx="511" formatCode="0.0%">
                  <c:v>-2.1449511542049608E-2</c:v>
                </c:pt>
                <c:pt idx="512" formatCode="0.0%">
                  <c:v>7.4784634474720233E-3</c:v>
                </c:pt>
                <c:pt idx="513" formatCode="0.0%">
                  <c:v>7.4783349570866162E-3</c:v>
                </c:pt>
                <c:pt idx="514" formatCode="0.0%">
                  <c:v>7.4782064667012092E-3</c:v>
                </c:pt>
                <c:pt idx="515" formatCode="0.0%">
                  <c:v>1.5951184224706479E-2</c:v>
                </c:pt>
                <c:pt idx="516" formatCode="0.0%">
                  <c:v>1.7727219998082973E-2</c:v>
                </c:pt>
                <c:pt idx="517" formatCode="0.0%">
                  <c:v>1.7139429384146893E-2</c:v>
                </c:pt>
                <c:pt idx="518" formatCode="0.0%">
                  <c:v>2.2875615714233105E-2</c:v>
                </c:pt>
                <c:pt idx="519" formatCode="0.0%">
                  <c:v>1.9628483334809203E-2</c:v>
                </c:pt>
                <c:pt idx="520" formatCode="0.0%">
                  <c:v>1.9628354978551386E-2</c:v>
                </c:pt>
                <c:pt idx="521" formatCode="0.0%">
                  <c:v>1.9628098266035465E-2</c:v>
                </c:pt>
                <c:pt idx="522" formatCode="0.0%">
                  <c:v>2.1411495543358257E-2</c:v>
                </c:pt>
                <c:pt idx="523" formatCode="0.0%">
                  <c:v>2.5808493822949856E-2</c:v>
                </c:pt>
                <c:pt idx="524" formatCode="0.0%">
                  <c:v>2.3682887115207336E-2</c:v>
                </c:pt>
                <c:pt idx="525" formatCode="0.0%">
                  <c:v>1.3578441584615462E-2</c:v>
                </c:pt>
                <c:pt idx="526" formatCode="0.0%">
                  <c:v>-7.9320807973650171E-3</c:v>
                </c:pt>
                <c:pt idx="527" formatCode="0.0%">
                  <c:v>-7.9322114818901925E-3</c:v>
                </c:pt>
                <c:pt idx="528" formatCode="0.0%">
                  <c:v>-7.9323421664153678E-3</c:v>
                </c:pt>
                <c:pt idx="529" formatCode="0.0%">
                  <c:v>-3.7934358453034209E-2</c:v>
                </c:pt>
                <c:pt idx="530" formatCode="0.0%">
                  <c:v>-5.0137881648575446E-2</c:v>
                </c:pt>
                <c:pt idx="531" formatCode="0.0%">
                  <c:v>-4.1807804655857692E-2</c:v>
                </c:pt>
                <c:pt idx="532" formatCode="0.0%">
                  <c:v>-6.3142524249652471E-2</c:v>
                </c:pt>
                <c:pt idx="533" formatCode="0.0%">
                  <c:v>-6.5125862378197466E-2</c:v>
                </c:pt>
                <c:pt idx="534" formatCode="0.0%">
                  <c:v>-6.5125993977566313E-2</c:v>
                </c:pt>
                <c:pt idx="535" formatCode="0.0%">
                  <c:v>-6.5126125576933022E-2</c:v>
                </c:pt>
                <c:pt idx="536" formatCode="0.0%">
                  <c:v>-6.6388073927160465E-2</c:v>
                </c:pt>
                <c:pt idx="537" formatCode="0.0%">
                  <c:v>-5.5172658349812165E-2</c:v>
                </c:pt>
                <c:pt idx="538" formatCode="0.0%">
                  <c:v>-5.7831582011400824E-2</c:v>
                </c:pt>
                <c:pt idx="539" formatCode="0.0%">
                  <c:v>-4.805940778590255E-2</c:v>
                </c:pt>
                <c:pt idx="540" formatCode="0.0%">
                  <c:v>-2.3008618597047104E-2</c:v>
                </c:pt>
                <c:pt idx="541" formatCode="0.0%">
                  <c:v>-2.3008749143744751E-2</c:v>
                </c:pt>
                <c:pt idx="542" formatCode="0.0%">
                  <c:v>-2.3009010237140047E-2</c:v>
                </c:pt>
                <c:pt idx="543" formatCode="0.0%">
                  <c:v>-1.8001998982993542E-2</c:v>
                </c:pt>
                <c:pt idx="544" formatCode="0.0%">
                  <c:v>-2.3995835394450892E-2</c:v>
                </c:pt>
                <c:pt idx="545" formatCode="0.0%">
                  <c:v>-3.1833758914571603E-2</c:v>
                </c:pt>
                <c:pt idx="546" formatCode="0.0%">
                  <c:v>-3.9748766875514575E-2</c:v>
                </c:pt>
                <c:pt idx="547" formatCode="0.0%">
                  <c:v>-3.3825469358259426E-2</c:v>
                </c:pt>
                <c:pt idx="548" formatCode="0.0%">
                  <c:v>-3.3825601810491858E-2</c:v>
                </c:pt>
                <c:pt idx="549" formatCode="0.0%">
                  <c:v>-3.3825734262724151E-2</c:v>
                </c:pt>
                <c:pt idx="550" formatCode="0.0%">
                  <c:v>-3.2119464252648555E-2</c:v>
                </c:pt>
                <c:pt idx="551" formatCode="0.0%">
                  <c:v>-2.1159866226213353E-2</c:v>
                </c:pt>
                <c:pt idx="552" formatCode="0.0%">
                  <c:v>-6.1264540173688433E-3</c:v>
                </c:pt>
                <c:pt idx="553" formatCode="0.0%">
                  <c:v>9.4813947770755642E-3</c:v>
                </c:pt>
                <c:pt idx="554" formatCode="0.0%">
                  <c:v>1.3575250167461092E-2</c:v>
                </c:pt>
                <c:pt idx="555" formatCode="0.0%">
                  <c:v>1.3575114837501446E-2</c:v>
                </c:pt>
                <c:pt idx="556" formatCode="0.0%">
                  <c:v>1.3574844177582009E-2</c:v>
                </c:pt>
                <c:pt idx="557" formatCode="0.0%">
                  <c:v>1.0127833667700656E-2</c:v>
                </c:pt>
                <c:pt idx="558" formatCode="0.0%">
                  <c:v>3.9705500184479096E-3</c:v>
                </c:pt>
                <c:pt idx="559" formatCode="0.0%">
                  <c:v>-5.7117125312721841E-3</c:v>
                </c:pt>
                <c:pt idx="560" formatCode="0.0%">
                  <c:v>-6.4104343174929568E-3</c:v>
                </c:pt>
                <c:pt idx="561" formatCode="0.0%">
                  <c:v>1.4722497893583863E-3</c:v>
                </c:pt>
                <c:pt idx="562" formatCode="0.0%">
                  <c:v>1.4721131754753002E-3</c:v>
                </c:pt>
                <c:pt idx="563" formatCode="0.0%">
                  <c:v>1.4718399477095545E-3</c:v>
                </c:pt>
                <c:pt idx="564" formatCode="0.0%">
                  <c:v>1.1508876626402298E-3</c:v>
                </c:pt>
                <c:pt idx="565" formatCode="0.0%">
                  <c:v>8.3308446151461619E-3</c:v>
                </c:pt>
                <c:pt idx="566" formatCode="0.0%">
                  <c:v>2.4050029396059925E-2</c:v>
                </c:pt>
                <c:pt idx="567" formatCode="0.0%">
                  <c:v>3.6914744849170233E-2</c:v>
                </c:pt>
                <c:pt idx="568" formatCode="0.0%">
                  <c:v>3.5848223969282313E-2</c:v>
                </c:pt>
                <c:pt idx="569" formatCode="0.0%">
                  <c:v>3.5848089346960564E-2</c:v>
                </c:pt>
                <c:pt idx="570" formatCode="0.0%">
                  <c:v>3.5847954724636824E-2</c:v>
                </c:pt>
                <c:pt idx="571" formatCode="0.0%">
                  <c:v>2.9626044184710026E-2</c:v>
                </c:pt>
                <c:pt idx="572" formatCode="0.0%">
                  <c:v>2.7808095420410267E-2</c:v>
                </c:pt>
                <c:pt idx="573" formatCode="0.0%">
                  <c:v>3.9553289881624917E-2</c:v>
                </c:pt>
                <c:pt idx="574" formatCode="0.0%">
                  <c:v>5.4847799910226772E-2</c:v>
                </c:pt>
                <c:pt idx="575" formatCode="0.0%">
                  <c:v>6.6761952395045801E-2</c:v>
                </c:pt>
                <c:pt idx="576" formatCode="0.0%">
                  <c:v>6.6761817308367319E-2</c:v>
                </c:pt>
                <c:pt idx="577" formatCode="0.0%">
                  <c:v>6.6964042068650115E-2</c:v>
                </c:pt>
                <c:pt idx="578" formatCode="0.0%">
                  <c:v>6.4619252465358559E-2</c:v>
                </c:pt>
                <c:pt idx="579" formatCode="0.0%">
                  <c:v>6.3711625013601891E-2</c:v>
                </c:pt>
                <c:pt idx="580" formatCode="0.0%">
                  <c:v>7.6238407811747913E-2</c:v>
                </c:pt>
                <c:pt idx="581" formatCode="0.0%">
                  <c:v>8.064759119720534E-2</c:v>
                </c:pt>
                <c:pt idx="582" formatCode="0.0%">
                  <c:v>8.1560483738280565E-2</c:v>
                </c:pt>
                <c:pt idx="583" formatCode="0.0%">
                  <c:v>8.1560348325069476E-2</c:v>
                </c:pt>
                <c:pt idx="584" formatCode="0.0%">
                  <c:v>8.1560212911858235E-2</c:v>
                </c:pt>
                <c:pt idx="585" formatCode="0.0%">
                  <c:v>8.1057357478528894E-2</c:v>
                </c:pt>
                <c:pt idx="586" formatCode="0.0%">
                  <c:v>7.0855569767506801E-2</c:v>
                </c:pt>
                <c:pt idx="587" formatCode="0.0%">
                  <c:v>7.4760241670361008E-2</c:v>
                </c:pt>
                <c:pt idx="588" formatCode="0.0%">
                  <c:v>8.1070945730372018E-2</c:v>
                </c:pt>
                <c:pt idx="589" formatCode="0.0%">
                  <c:v>9.3891090425003654E-2</c:v>
                </c:pt>
                <c:pt idx="590" formatCode="0.0%">
                  <c:v>9.3890015792270132E-2</c:v>
                </c:pt>
                <c:pt idx="591" formatCode="0.0%">
                  <c:v>9.3889881463180558E-2</c:v>
                </c:pt>
                <c:pt idx="592" formatCode="0.0%">
                  <c:v>0.10208150269794913</c:v>
                </c:pt>
                <c:pt idx="593" formatCode="0.0%">
                  <c:v>0.1083836127458882</c:v>
                </c:pt>
                <c:pt idx="594" formatCode="0.0%">
                  <c:v>0.10128405636397191</c:v>
                </c:pt>
                <c:pt idx="595" formatCode="0.0%">
                  <c:v>0.10134686979618791</c:v>
                </c:pt>
                <c:pt idx="596" formatCode="0.0%">
                  <c:v>9.6252749712528493E-2</c:v>
                </c:pt>
                <c:pt idx="597" formatCode="0.0%">
                  <c:v>9.6252612697188336E-2</c:v>
                </c:pt>
                <c:pt idx="598" formatCode="0.0%">
                  <c:v>9.6252475681847902E-2</c:v>
                </c:pt>
                <c:pt idx="599" formatCode="0.0%">
                  <c:v>8.3696980716130021E-2</c:v>
                </c:pt>
                <c:pt idx="600" formatCode="0.0%">
                  <c:v>7.5643685267048399E-2</c:v>
                </c:pt>
                <c:pt idx="601" formatCode="0.0%">
                  <c:v>7.625646954849713E-2</c:v>
                </c:pt>
                <c:pt idx="602" formatCode="0.0%">
                  <c:v>8.7672054169465385E-2</c:v>
                </c:pt>
                <c:pt idx="603" formatCode="0.0%">
                  <c:v>6.9783443511440599E-2</c:v>
                </c:pt>
                <c:pt idx="604" formatCode="0.0%">
                  <c:v>6.9783306134417133E-2</c:v>
                </c:pt>
                <c:pt idx="605" formatCode="0.0%">
                  <c:v>6.9783168757397082E-2</c:v>
                </c:pt>
                <c:pt idx="606" formatCode="0.0%">
                  <c:v>5.6122723599857378E-2</c:v>
                </c:pt>
                <c:pt idx="607" formatCode="0.0%">
                  <c:v>4.3925483394162086E-2</c:v>
                </c:pt>
                <c:pt idx="608" formatCode="0.0%">
                  <c:v>3.2772271984856473E-2</c:v>
                </c:pt>
                <c:pt idx="609" formatCode="0.0%">
                  <c:v>2.9521773833709516E-2</c:v>
                </c:pt>
                <c:pt idx="610" formatCode="0.0%">
                  <c:v>2.3610192132617697E-2</c:v>
                </c:pt>
                <c:pt idx="611" formatCode="0.0%">
                  <c:v>2.3610054932274239E-2</c:v>
                </c:pt>
                <c:pt idx="612" formatCode="0.0%">
                  <c:v>2.3609917731930493E-2</c:v>
                </c:pt>
                <c:pt idx="613" formatCode="0.0%">
                  <c:v>2.6220735215233902E-2</c:v>
                </c:pt>
                <c:pt idx="614" formatCode="0.0%">
                  <c:v>2.5759449481511609E-2</c:v>
                </c:pt>
                <c:pt idx="615" formatCode="0.0%">
                  <c:v>2.8437386822977969E-2</c:v>
                </c:pt>
                <c:pt idx="616" formatCode="0.0%">
                  <c:v>3.7843528409466531E-2</c:v>
                </c:pt>
                <c:pt idx="617" formatCode="0.0%">
                  <c:v>4.8728683913400489E-2</c:v>
                </c:pt>
                <c:pt idx="618" formatCode="0.0%">
                  <c:v>4.8728409934520871E-2</c:v>
                </c:pt>
                <c:pt idx="619" formatCode="0.0%">
                  <c:v>4.8728272945081127E-2</c:v>
                </c:pt>
                <c:pt idx="620" formatCode="0.0%">
                  <c:v>5.5377511052336958E-2</c:v>
                </c:pt>
                <c:pt idx="621" formatCode="0.0%">
                  <c:v>3.9316921924760495E-2</c:v>
                </c:pt>
                <c:pt idx="622" formatCode="0.0%">
                  <c:v>3.0764994576612425E-2</c:v>
                </c:pt>
                <c:pt idx="623" formatCode="0.0%">
                  <c:v>2.2217137805647554E-2</c:v>
                </c:pt>
                <c:pt idx="624" formatCode="0.0%">
                  <c:v>5.1740468560143426E-3</c:v>
                </c:pt>
                <c:pt idx="625" formatCode="0.0%">
                  <c:v>5.1739096806460334E-3</c:v>
                </c:pt>
                <c:pt idx="626" formatCode="0.0%">
                  <c:v>5.1737725052780096E-3</c:v>
                </c:pt>
                <c:pt idx="627" formatCode="0.0%">
                  <c:v>4.8468346371450368E-3</c:v>
                </c:pt>
                <c:pt idx="628" formatCode="0.0%">
                  <c:v>-1.7806419482423053E-3</c:v>
                </c:pt>
                <c:pt idx="629" formatCode="0.0%">
                  <c:v>-1.7162980831119511E-3</c:v>
                </c:pt>
                <c:pt idx="630" formatCode="0.0%">
                  <c:v>-1.3222361993301774E-2</c:v>
                </c:pt>
                <c:pt idx="631" formatCode="0.0%">
                  <c:v>-2.3604813900789168E-2</c:v>
                </c:pt>
                <c:pt idx="632" formatCode="0.0%">
                  <c:v>-2.3604955649440457E-2</c:v>
                </c:pt>
                <c:pt idx="633" formatCode="0.0%">
                  <c:v>-2.3605097398091742E-2</c:v>
                </c:pt>
                <c:pt idx="634" formatCode="0.0%">
                  <c:v>-2.354799591509078E-2</c:v>
                </c:pt>
                <c:pt idx="635" formatCode="0.0%">
                  <c:v>-2.3360727491716061E-2</c:v>
                </c:pt>
                <c:pt idx="636" formatCode="0.0%">
                  <c:v>-1.7921858709360094E-2</c:v>
                </c:pt>
                <c:pt idx="637" formatCode="0.0%">
                  <c:v>-3.2988758670998097E-2</c:v>
                </c:pt>
                <c:pt idx="638" formatCode="0.0%">
                  <c:v>-4.300492664386027E-2</c:v>
                </c:pt>
                <c:pt idx="639" formatCode="0.0%">
                  <c:v>-4.3005067059562523E-2</c:v>
                </c:pt>
                <c:pt idx="640" formatCode="0.0%">
                  <c:v>-4.3005207475264484E-2</c:v>
                </c:pt>
                <c:pt idx="641" formatCode="0.0%">
                  <c:v>-3.6157761695811953E-2</c:v>
                </c:pt>
                <c:pt idx="642" formatCode="0.0%">
                  <c:v>-1.5746956464467131E-2</c:v>
                </c:pt>
                <c:pt idx="643" formatCode="0.0%">
                  <c:v>-5.5553380182708171E-3</c:v>
                </c:pt>
                <c:pt idx="644" formatCode="0.0%">
                  <c:v>-5.1785023151160207E-3</c:v>
                </c:pt>
                <c:pt idx="645" formatCode="0.0%">
                  <c:v>-2.1422828909464755E-2</c:v>
                </c:pt>
                <c:pt idx="646" formatCode="0.0%">
                  <c:v>-2.1422969549946061E-2</c:v>
                </c:pt>
                <c:pt idx="647" formatCode="0.0%">
                  <c:v>-2.1423110190428928E-2</c:v>
                </c:pt>
                <c:pt idx="648" formatCode="0.0%">
                  <c:v>-2.9755531245123451E-2</c:v>
                </c:pt>
                <c:pt idx="649" formatCode="0.0%">
                  <c:v>-4.2745398211326772E-2</c:v>
                </c:pt>
                <c:pt idx="650" formatCode="0.0%">
                  <c:v>-4.5048378157323016E-2</c:v>
                </c:pt>
                <c:pt idx="651" formatCode="0.0%">
                  <c:v>-4.2888967218934794E-2</c:v>
                </c:pt>
                <c:pt idx="652" formatCode="0.0%">
                  <c:v>-4.5794783118117695E-2</c:v>
                </c:pt>
                <c:pt idx="653" formatCode="0.0%">
                  <c:v>-4.5794924192433653E-2</c:v>
                </c:pt>
                <c:pt idx="654" formatCode="0.0%">
                  <c:v>-4.5795065266745781E-2</c:v>
                </c:pt>
                <c:pt idx="655" formatCode="0.0%">
                  <c:v>-3.9151791323789382E-2</c:v>
                </c:pt>
                <c:pt idx="656" formatCode="0.0%">
                  <c:v>-2.880851848118425E-2</c:v>
                </c:pt>
                <c:pt idx="657" formatCode="0.0%">
                  <c:v>-3.1882442878708159E-2</c:v>
                </c:pt>
                <c:pt idx="658" formatCode="0.0%">
                  <c:v>-3.8815462184544458E-2</c:v>
                </c:pt>
                <c:pt idx="659" formatCode="0.0%">
                  <c:v>-3.4563151960901164E-2</c:v>
                </c:pt>
                <c:pt idx="660" formatCode="0.0%">
                  <c:v>-3.4563292440427634E-2</c:v>
                </c:pt>
                <c:pt idx="661" formatCode="0.0%">
                  <c:v>-3.4563432919955804E-2</c:v>
                </c:pt>
                <c:pt idx="662" formatCode="0.0%">
                  <c:v>-3.0444628606971093E-2</c:v>
                </c:pt>
                <c:pt idx="663" formatCode="0.0%">
                  <c:v>-1.8824089560307868E-2</c:v>
                </c:pt>
                <c:pt idx="664" formatCode="0.0%">
                  <c:v>-2.2025201740034247E-2</c:v>
                </c:pt>
                <c:pt idx="665" formatCode="0.0%">
                  <c:v>-2.2709610066783056E-2</c:v>
                </c:pt>
                <c:pt idx="666" formatCode="0.0%">
                  <c:v>-1.4154391716020598E-2</c:v>
                </c:pt>
                <c:pt idx="667" formatCode="0.0%">
                  <c:v>-1.4154530131836367E-2</c:v>
                </c:pt>
                <c:pt idx="668" formatCode="0.0%">
                  <c:v>-1.4154668547651994E-2</c:v>
                </c:pt>
                <c:pt idx="669" formatCode="0.0%">
                  <c:v>-7.470202147293179E-3</c:v>
                </c:pt>
                <c:pt idx="670" formatCode="0.0%">
                  <c:v>-6.8766996433430446E-3</c:v>
                </c:pt>
                <c:pt idx="671" formatCode="0.0%">
                  <c:v>-1.9176407756680901E-2</c:v>
                </c:pt>
                <c:pt idx="672" formatCode="0.0%">
                  <c:v>-2.8317262911310478E-2</c:v>
                </c:pt>
                <c:pt idx="673" formatCode="0.0%">
                  <c:v>-2.8388548960090673E-2</c:v>
                </c:pt>
                <c:pt idx="674" formatCode="0.0%">
                  <c:v>-2.8388688087246122E-2</c:v>
                </c:pt>
                <c:pt idx="675" formatCode="0.0%">
                  <c:v>-2.8388688087246122E-2</c:v>
                </c:pt>
                <c:pt idx="676" formatCode="0.0%">
                  <c:v>-2.8499390463099416E-2</c:v>
                </c:pt>
                <c:pt idx="677" formatCode="0.0%">
                  <c:v>-2.3753459559765985E-2</c:v>
                </c:pt>
                <c:pt idx="678" formatCode="0.0%">
                  <c:v>-3.1481840580767938E-2</c:v>
                </c:pt>
                <c:pt idx="679" formatCode="0.0%">
                  <c:v>-6.3946890374457152E-3</c:v>
                </c:pt>
                <c:pt idx="680" formatCode="0.0%">
                  <c:v>5.8338902503678016E-3</c:v>
                </c:pt>
                <c:pt idx="681" formatCode="0.0%">
                  <c:v>5.8337569776453794E-3</c:v>
                </c:pt>
                <c:pt idx="682" formatCode="0.0%">
                  <c:v>5.8336237049232409E-3</c:v>
                </c:pt>
                <c:pt idx="683" formatCode="0.0%">
                  <c:v>4.6440898731113121E-3</c:v>
                </c:pt>
                <c:pt idx="684" formatCode="0.0%">
                  <c:v>1.0494193411155522E-2</c:v>
                </c:pt>
                <c:pt idx="685" formatCode="0.0%">
                  <c:v>2.1720036741876923E-3</c:v>
                </c:pt>
                <c:pt idx="686" formatCode="0.0%">
                  <c:v>-3.4458791079413232E-3</c:v>
                </c:pt>
                <c:pt idx="687" formatCode="0.0%">
                  <c:v>-1.2720693569279718E-3</c:v>
                </c:pt>
                <c:pt idx="688" formatCode="0.0%">
                  <c:v>-1.2722021532664484E-3</c:v>
                </c:pt>
                <c:pt idx="689" formatCode="0.0%">
                  <c:v>-1.2723349496049253E-3</c:v>
                </c:pt>
                <c:pt idx="690" formatCode="0.0%">
                  <c:v>1.749654675923722E-3</c:v>
                </c:pt>
                <c:pt idx="691" formatCode="0.0%">
                  <c:v>3.963246754485397E-3</c:v>
                </c:pt>
                <c:pt idx="692" formatCode="0.0%">
                  <c:v>8.005687232324022E-3</c:v>
                </c:pt>
                <c:pt idx="693" formatCode="0.0%">
                  <c:v>8.808956972642364E-3</c:v>
                </c:pt>
                <c:pt idx="694" formatCode="0.0%">
                  <c:v>8.2073799368116342E-3</c:v>
                </c:pt>
                <c:pt idx="695" formatCode="0.0%">
                  <c:v>8.2072477352588182E-3</c:v>
                </c:pt>
                <c:pt idx="696" formatCode="0.0%">
                  <c:v>8.2071155337060022E-3</c:v>
                </c:pt>
                <c:pt idx="697" formatCode="0.0%">
                  <c:v>-1.4166449326651786E-4</c:v>
                </c:pt>
                <c:pt idx="698" formatCode="0.0%">
                  <c:v>-1.8078117881071875E-3</c:v>
                </c:pt>
                <c:pt idx="699" formatCode="0.0%">
                  <c:v>1.7164116751767579E-2</c:v>
                </c:pt>
                <c:pt idx="700" formatCode="0.0%">
                  <c:v>2.214619405656194E-2</c:v>
                </c:pt>
                <c:pt idx="701" formatCode="0.0%">
                  <c:v>1.9252149968507836E-2</c:v>
                </c:pt>
                <c:pt idx="702" formatCode="0.0%">
                  <c:v>1.9251887224882296E-2</c:v>
                </c:pt>
                <c:pt idx="703" formatCode="0.0%">
                  <c:v>1.925175585306789E-2</c:v>
                </c:pt>
                <c:pt idx="704" formatCode="0.0%">
                  <c:v>6.9071902658170356E-3</c:v>
                </c:pt>
                <c:pt idx="705" formatCode="0.0%">
                  <c:v>-4.0072584300240525E-3</c:v>
                </c:pt>
                <c:pt idx="706" formatCode="0.0%">
                  <c:v>-1.1319767759034108E-2</c:v>
                </c:pt>
                <c:pt idx="707" formatCode="0.0%">
                  <c:v>-9.3278577540692707E-3</c:v>
                </c:pt>
                <c:pt idx="708" formatCode="0.0%">
                  <c:v>-7.3659123450391913E-3</c:v>
                </c:pt>
                <c:pt idx="709" formatCode="0.0%">
                  <c:v>-7.3660428871119166E-3</c:v>
                </c:pt>
                <c:pt idx="710" formatCode="0.0%">
                  <c:v>-7.3661734291844997E-3</c:v>
                </c:pt>
                <c:pt idx="711" formatCode="0.0%">
                  <c:v>-4.6355595900686806E-3</c:v>
                </c:pt>
                <c:pt idx="712" formatCode="0.0%">
                  <c:v>3.4188974868007448E-3</c:v>
                </c:pt>
                <c:pt idx="713" formatCode="0.0%">
                  <c:v>8.10232253064811E-4</c:v>
                </c:pt>
                <c:pt idx="714" formatCode="0.0%">
                  <c:v>-2.2634089681391457E-2</c:v>
                </c:pt>
                <c:pt idx="715" formatCode="0.0%">
                  <c:v>-3.456945762845564E-2</c:v>
                </c:pt>
                <c:pt idx="716" formatCode="0.0%">
                  <c:v>-3.4569587254761697E-2</c:v>
                </c:pt>
                <c:pt idx="717" formatCode="0.0%">
                  <c:v>-3.456984650737354E-2</c:v>
                </c:pt>
                <c:pt idx="718" formatCode="0.0%">
                  <c:v>-4.0146499780553457E-2</c:v>
                </c:pt>
                <c:pt idx="719" formatCode="0.0%">
                  <c:v>-4.6603289991896731E-2</c:v>
                </c:pt>
                <c:pt idx="720" formatCode="0.0%">
                  <c:v>-3.6010577699376115E-2</c:v>
                </c:pt>
                <c:pt idx="721" formatCode="0.0%">
                  <c:v>-4.0400199650702288E-2</c:v>
                </c:pt>
                <c:pt idx="722" formatCode="0.0%">
                  <c:v>-4.3833958542709016E-2</c:v>
                </c:pt>
                <c:pt idx="723" formatCode="0.0%">
                  <c:v>-4.3834088163464881E-2</c:v>
                </c:pt>
                <c:pt idx="724" formatCode="0.0%">
                  <c:v>-4.3834217784222605E-2</c:v>
                </c:pt>
                <c:pt idx="725" formatCode="0.0%">
                  <c:v>-4.3836032474802805E-2</c:v>
                </c:pt>
                <c:pt idx="726" formatCode="0.0%">
                  <c:v>-4.7812181514563859E-2</c:v>
                </c:pt>
                <c:pt idx="727" formatCode="0.0%">
                  <c:v>-4.9219971109597367E-2</c:v>
                </c:pt>
                <c:pt idx="728" formatCode="0.0%">
                  <c:v>-4.534683813966893E-2</c:v>
                </c:pt>
                <c:pt idx="729" formatCode="0.0%">
                  <c:v>-4.65090057200193E-2</c:v>
                </c:pt>
                <c:pt idx="730" formatCode="0.0%">
                  <c:v>-4.6367336302886739E-2</c:v>
                </c:pt>
                <c:pt idx="731" formatCode="0.0%">
                  <c:v>-4.6367465210454671E-2</c:v>
                </c:pt>
                <c:pt idx="732" formatCode="0.0%">
                  <c:v>-4.5757345691538234E-2</c:v>
                </c:pt>
                <c:pt idx="733" formatCode="0.0%">
                  <c:v>-3.400112325388889E-2</c:v>
                </c:pt>
                <c:pt idx="734" formatCode="0.0%">
                  <c:v>-3.021617145863658E-2</c:v>
                </c:pt>
                <c:pt idx="735" formatCode="0.0%">
                  <c:v>-3.1452470994495628E-2</c:v>
                </c:pt>
                <c:pt idx="736" formatCode="0.0%">
                  <c:v>-2.6190221032581461E-2</c:v>
                </c:pt>
                <c:pt idx="737" formatCode="0.0%">
                  <c:v>-2.6190350816140438E-2</c:v>
                </c:pt>
                <c:pt idx="738" formatCode="0.0%">
                  <c:v>-2.6190480599699272E-2</c:v>
                </c:pt>
                <c:pt idx="739" formatCode="0.0%">
                  <c:v>-2.3476703679798164E-2</c:v>
                </c:pt>
                <c:pt idx="740" formatCode="0.0%">
                  <c:v>-2.0725364899127498E-2</c:v>
                </c:pt>
                <c:pt idx="741" formatCode="0.0%">
                  <c:v>-1.2249845346624681E-2</c:v>
                </c:pt>
                <c:pt idx="742" formatCode="0.0%">
                  <c:v>-8.9612174631903945E-3</c:v>
                </c:pt>
                <c:pt idx="743" formatCode="0.0%">
                  <c:v>-3.3637326393449029E-3</c:v>
                </c:pt>
                <c:pt idx="744" formatCode="0.0%">
                  <c:v>-3.3563614782232774E-3</c:v>
                </c:pt>
                <c:pt idx="745" formatCode="0.0%">
                  <c:v>-3.356488567208089E-3</c:v>
                </c:pt>
                <c:pt idx="746" formatCode="0.0%">
                  <c:v>-1.3615839192901546E-3</c:v>
                </c:pt>
                <c:pt idx="747" formatCode="0.0%">
                  <c:v>2.8101300954827481E-3</c:v>
                </c:pt>
                <c:pt idx="748" formatCode="0.0%">
                  <c:v>-1.7529640253016509E-4</c:v>
                </c:pt>
                <c:pt idx="749" formatCode="0.0%">
                  <c:v>-9.9204886415027709E-3</c:v>
                </c:pt>
                <c:pt idx="750" formatCode="0.0%">
                  <c:v>-5.5460554773345905E-3</c:v>
                </c:pt>
                <c:pt idx="751" formatCode="0.0%">
                  <c:v>-5.5461825579942569E-3</c:v>
                </c:pt>
                <c:pt idx="752" formatCode="0.0%">
                  <c:v>-5.5463096386539233E-3</c:v>
                </c:pt>
                <c:pt idx="753" formatCode="0.0%">
                  <c:v>4.533083410006071E-3</c:v>
                </c:pt>
                <c:pt idx="754" formatCode="0.0%">
                  <c:v>5.3311382089407285E-3</c:v>
                </c:pt>
                <c:pt idx="755" formatCode="0.0%">
                  <c:v>-3.3369143992786123E-4</c:v>
                </c:pt>
                <c:pt idx="756" formatCode="0.0%">
                  <c:v>9.1682108303719183E-3</c:v>
                </c:pt>
                <c:pt idx="757" formatCode="0.0%">
                  <c:v>1.492521166583714E-2</c:v>
                </c:pt>
                <c:pt idx="758" formatCode="0.0%">
                  <c:v>1.4924957772774548E-2</c:v>
                </c:pt>
                <c:pt idx="759" formatCode="0.0%">
                  <c:v>1.492470387970826E-2</c:v>
                </c:pt>
                <c:pt idx="760" formatCode="0.0%">
                  <c:v>8.0452750306865533E-3</c:v>
                </c:pt>
                <c:pt idx="761" formatCode="0.0%">
                  <c:v>9.8986645552012927E-3</c:v>
                </c:pt>
                <c:pt idx="762" formatCode="0.0%">
                  <c:v>1.8795361436197738E-2</c:v>
                </c:pt>
                <c:pt idx="763" formatCode="0.0%">
                  <c:v>3.427492445718542E-2</c:v>
                </c:pt>
                <c:pt idx="764" formatCode="0.0%">
                  <c:v>3.7687847457420674E-2</c:v>
                </c:pt>
                <c:pt idx="765" formatCode="0.0%">
                  <c:v>3.7687720612642292E-2</c:v>
                </c:pt>
                <c:pt idx="766" formatCode="0.0%">
                  <c:v>3.7687466923081274E-2</c:v>
                </c:pt>
                <c:pt idx="767" formatCode="0.0%">
                  <c:v>3.7360640230869109E-2</c:v>
                </c:pt>
                <c:pt idx="768" formatCode="0.0%">
                  <c:v>4.2006630618545558E-2</c:v>
                </c:pt>
                <c:pt idx="769" formatCode="0.0%">
                  <c:v>3.8859348014327819E-2</c:v>
                </c:pt>
                <c:pt idx="770" formatCode="0.0%">
                  <c:v>3.3836555966888539E-2</c:v>
                </c:pt>
                <c:pt idx="771" formatCode="0.0%">
                  <c:v>2.9259451817102333E-2</c:v>
                </c:pt>
                <c:pt idx="772" formatCode="0.0%">
                  <c:v>2.925932276800694E-2</c:v>
                </c:pt>
                <c:pt idx="773" formatCode="0.0%">
                  <c:v>2.9259193718911263E-2</c:v>
                </c:pt>
                <c:pt idx="774" formatCode="0.0%">
                  <c:v>3.4895367126726314E-2</c:v>
                </c:pt>
                <c:pt idx="775" formatCode="0.0%">
                  <c:v>3.8272305598388671E-2</c:v>
                </c:pt>
                <c:pt idx="776" formatCode="0.0%">
                  <c:v>4.2932622608529841E-2</c:v>
                </c:pt>
                <c:pt idx="777" formatCode="0.0%">
                  <c:v>3.9395908519275623E-2</c:v>
                </c:pt>
                <c:pt idx="778" formatCode="0.0%">
                  <c:v>3.1444553719176725E-2</c:v>
                </c:pt>
                <c:pt idx="779" formatCode="0.0%">
                  <c:v>3.1444424542429059E-2</c:v>
                </c:pt>
                <c:pt idx="780" formatCode="0.0%">
                  <c:v>3.1444166188933309E-2</c:v>
                </c:pt>
                <c:pt idx="781" formatCode="0.0%">
                  <c:v>2.7220137922341365E-2</c:v>
                </c:pt>
                <c:pt idx="782" formatCode="0.0%">
                  <c:v>1.8346133828511739E-2</c:v>
                </c:pt>
                <c:pt idx="783" formatCode="0.0%">
                  <c:v>1.4720340948615842E-2</c:v>
                </c:pt>
                <c:pt idx="784" formatCode="0.0%">
                  <c:v>2.0064328645645446E-2</c:v>
                </c:pt>
                <c:pt idx="785" formatCode="0.0%">
                  <c:v>1.3027705376470635E-2</c:v>
                </c:pt>
                <c:pt idx="786" formatCode="0.0%">
                  <c:v>1.3027574738198098E-2</c:v>
                </c:pt>
                <c:pt idx="787" formatCode="0.0%">
                  <c:v>1.302744409992357E-2</c:v>
                </c:pt>
                <c:pt idx="788" formatCode="0.0%">
                  <c:v>1.1852755268146211E-2</c:v>
                </c:pt>
                <c:pt idx="789" formatCode="0.0%">
                  <c:v>1.0015230741204703E-2</c:v>
                </c:pt>
                <c:pt idx="790" formatCode="0.0%">
                  <c:v>3.9365933579817635E-3</c:v>
                </c:pt>
                <c:pt idx="791" formatCode="0.0%">
                  <c:v>1.0014151537040021E-2</c:v>
                </c:pt>
                <c:pt idx="792" formatCode="0.0%">
                  <c:v>2.398699921205406E-2</c:v>
                </c:pt>
                <c:pt idx="793" formatCode="0.0%">
                  <c:v>2.398686928881787E-2</c:v>
                </c:pt>
                <c:pt idx="794" formatCode="0.0%">
                  <c:v>2.3986739365581256E-2</c:v>
                </c:pt>
                <c:pt idx="795" formatCode="0.0%">
                  <c:v>2.4376390114752837E-2</c:v>
                </c:pt>
                <c:pt idx="796" formatCode="0.0%">
                  <c:v>2.0932240232313576E-2</c:v>
                </c:pt>
                <c:pt idx="797" formatCode="0.0%">
                  <c:v>2.050518702034836E-2</c:v>
                </c:pt>
                <c:pt idx="798" formatCode="0.0%">
                  <c:v>1.3414276785376416E-2</c:v>
                </c:pt>
                <c:pt idx="799" formatCode="0.0%">
                  <c:v>-1.0506888356683959E-2</c:v>
                </c:pt>
                <c:pt idx="800" formatCode="0.0%">
                  <c:v>-1.050701720597587E-2</c:v>
                </c:pt>
                <c:pt idx="801" formatCode="0.0%">
                  <c:v>-1.0507146055269629E-2</c:v>
                </c:pt>
                <c:pt idx="802" formatCode="0.0%">
                  <c:v>-2.2206087490978348E-2</c:v>
                </c:pt>
                <c:pt idx="803" formatCode="0.0%">
                  <c:v>-1.3561160556502187E-2</c:v>
                </c:pt>
                <c:pt idx="804" formatCode="0.0%">
                  <c:v>-8.2785060705334954E-3</c:v>
                </c:pt>
                <c:pt idx="805" formatCode="0.0%">
                  <c:v>-3.4677324876810191E-4</c:v>
                </c:pt>
                <c:pt idx="806" formatCode="0.0%">
                  <c:v>-2.7672825628471285E-3</c:v>
                </c:pt>
                <c:pt idx="807" formatCode="0.0%">
                  <c:v>-2.7674119440237632E-3</c:v>
                </c:pt>
                <c:pt idx="808" formatCode="0.0%">
                  <c:v>-2.76767070637689E-3</c:v>
                </c:pt>
                <c:pt idx="809" formatCode="0.0%">
                  <c:v>-6.2897645108556336E-3</c:v>
                </c:pt>
                <c:pt idx="810" formatCode="0.0%">
                  <c:v>-8.2963233836181867E-4</c:v>
                </c:pt>
                <c:pt idx="811" formatCode="0.0%">
                  <c:v>-1.9773055083747693E-3</c:v>
                </c:pt>
                <c:pt idx="812" formatCode="0.0%">
                  <c:v>-4.6702408541295882E-3</c:v>
                </c:pt>
                <c:pt idx="813" formatCode="0.0%">
                  <c:v>2.4359760336594148E-4</c:v>
                </c:pt>
                <c:pt idx="814" formatCode="0.0%">
                  <c:v>2.4346950056241211E-4</c:v>
                </c:pt>
                <c:pt idx="815" formatCode="0.0%">
                  <c:v>2.4334139775916697E-4</c:v>
                </c:pt>
                <c:pt idx="816" formatCode="0.0%">
                  <c:v>2.47978392520551E-3</c:v>
                </c:pt>
                <c:pt idx="817" formatCode="0.0%">
                  <c:v>-2.837245930089125E-3</c:v>
                </c:pt>
                <c:pt idx="818" formatCode="0.0%">
                  <c:v>5.7114966758256003E-3</c:v>
                </c:pt>
                <c:pt idx="819" formatCode="0.0%">
                  <c:v>1.0774999340334972E-2</c:v>
                </c:pt>
                <c:pt idx="820" formatCode="0.0%">
                  <c:v>2.3167581353341689E-2</c:v>
                </c:pt>
                <c:pt idx="821" formatCode="0.0%">
                  <c:v>2.3167073959419894E-2</c:v>
                </c:pt>
                <c:pt idx="822" formatCode="0.0%">
                  <c:v>2.3166693413978267E-2</c:v>
                </c:pt>
                <c:pt idx="823" formatCode="0.0%">
                  <c:v>2.5457181747013349E-2</c:v>
                </c:pt>
                <c:pt idx="824" formatCode="0.0%">
                  <c:v>1.939645712010659E-2</c:v>
                </c:pt>
                <c:pt idx="825" formatCode="0.0%">
                  <c:v>1.5789360067659006E-2</c:v>
                </c:pt>
                <c:pt idx="826" formatCode="0.0%">
                  <c:v>1.2923059354869083E-2</c:v>
                </c:pt>
                <c:pt idx="827" formatCode="0.0%">
                  <c:v>1.2928360222912829E-2</c:v>
                </c:pt>
                <c:pt idx="828" formatCode="0.0%">
                  <c:v>1.292785537833737E-2</c:v>
                </c:pt>
                <c:pt idx="829" formatCode="0.0%">
                  <c:v>1.2927476744905703E-2</c:v>
                </c:pt>
                <c:pt idx="830" formatCode="0.0%">
                  <c:v>1.5387634895508597E-2</c:v>
                </c:pt>
                <c:pt idx="831" formatCode="0.0%">
                  <c:v>1.7763886579477202E-2</c:v>
                </c:pt>
                <c:pt idx="832" formatCode="0.0%">
                  <c:v>1.41666370219842E-2</c:v>
                </c:pt>
                <c:pt idx="833" formatCode="0.0%">
                  <c:v>1.6537745933457016E-2</c:v>
                </c:pt>
                <c:pt idx="834" formatCode="0.0%">
                  <c:v>2.2246819626716104E-2</c:v>
                </c:pt>
                <c:pt idx="835" formatCode="0.0%">
                  <c:v>2.2246443954263385E-2</c:v>
                </c:pt>
                <c:pt idx="836" formatCode="0.0%">
                  <c:v>2.2245943057661321E-2</c:v>
                </c:pt>
                <c:pt idx="837" formatCode="0.0%">
                  <c:v>2.8312636941084719E-2</c:v>
                </c:pt>
                <c:pt idx="838" formatCode="0.0%">
                  <c:v>2.8472479431840014E-2</c:v>
                </c:pt>
                <c:pt idx="839" formatCode="0.0%">
                  <c:v>2.6396069828360281E-2</c:v>
                </c:pt>
                <c:pt idx="840" formatCode="0.0%">
                  <c:v>2.3168127924500653E-2</c:v>
                </c:pt>
                <c:pt idx="841" formatCode="0.0%">
                  <c:v>2.3521330893902785E-2</c:v>
                </c:pt>
                <c:pt idx="842" formatCode="0.0%">
                  <c:v>2.352095403095518E-2</c:v>
                </c:pt>
                <c:pt idx="843" formatCode="0.0%">
                  <c:v>2.352045154702239E-2</c:v>
                </c:pt>
                <c:pt idx="844" formatCode="0.0%">
                  <c:v>2.0918504066582244E-2</c:v>
                </c:pt>
                <c:pt idx="845" formatCode="0.0%">
                  <c:v>1.2706814506044566E-2</c:v>
                </c:pt>
                <c:pt idx="846" formatCode="0.0%">
                  <c:v>1.6994173088538389E-3</c:v>
                </c:pt>
                <c:pt idx="847" formatCode="0.0%">
                  <c:v>1.1198303395334222E-2</c:v>
                </c:pt>
                <c:pt idx="848" formatCode="0.0%">
                  <c:v>1.7744667654096276E-2</c:v>
                </c:pt>
                <c:pt idx="849" formatCode="0.0%">
                  <c:v>1.7744292950133911E-2</c:v>
                </c:pt>
                <c:pt idx="850" formatCode="0.0%">
                  <c:v>1.7892800619729598E-2</c:v>
                </c:pt>
                <c:pt idx="851" formatCode="0.0%">
                  <c:v>2.0277849656665979E-2</c:v>
                </c:pt>
                <c:pt idx="852" formatCode="0.0%">
                  <c:v>1.7063236528183125E-2</c:v>
                </c:pt>
                <c:pt idx="853" formatCode="0.0%">
                  <c:v>9.6007169091420503E-3</c:v>
                </c:pt>
                <c:pt idx="854" formatCode="0.0%">
                  <c:v>7.9755695877324236E-3</c:v>
                </c:pt>
                <c:pt idx="855" formatCode="0.0%">
                  <c:v>1.5159528811404784E-2</c:v>
                </c:pt>
                <c:pt idx="856" formatCode="0.0%">
                  <c:v>1.5159153119524831E-2</c:v>
                </c:pt>
                <c:pt idx="857" formatCode="0.0%">
                  <c:v>1.5158902658274371E-2</c:v>
                </c:pt>
                <c:pt idx="858" formatCode="0.0%">
                  <c:v>1.9005437132373969E-2</c:v>
                </c:pt>
                <c:pt idx="859" formatCode="0.0%">
                  <c:v>2.1593863007505688E-2</c:v>
                </c:pt>
                <c:pt idx="860" formatCode="0.0%">
                  <c:v>2.2605031279105247E-2</c:v>
                </c:pt>
                <c:pt idx="861" formatCode="0.0%">
                  <c:v>2.7351399983644172E-2</c:v>
                </c:pt>
                <c:pt idx="862" formatCode="0.0%">
                  <c:v>3.0904533300767555E-2</c:v>
                </c:pt>
                <c:pt idx="863" formatCode="0.0%">
                  <c:v>3.0904152799728878E-2</c:v>
                </c:pt>
                <c:pt idx="864" formatCode="0.0%">
                  <c:v>3.0903899132368479E-2</c:v>
                </c:pt>
                <c:pt idx="865" formatCode="0.0%">
                  <c:v>3.4689871619847136E-2</c:v>
                </c:pt>
                <c:pt idx="866" formatCode="0.0%">
                  <c:v>3.2692394920131845E-2</c:v>
                </c:pt>
                <c:pt idx="867" formatCode="0.0%">
                  <c:v>3.7631789521036581E-2</c:v>
                </c:pt>
                <c:pt idx="868" formatCode="0.0%">
                  <c:v>4.3692949072349448E-2</c:v>
                </c:pt>
                <c:pt idx="869" formatCode="0.0%">
                  <c:v>5.2455992644958795E-2</c:v>
                </c:pt>
                <c:pt idx="870" formatCode="0.0%">
                  <c:v>5.24557371608654E-2</c:v>
                </c:pt>
                <c:pt idx="871" formatCode="0.0%">
                  <c:v>5.2455481676771998E-2</c:v>
                </c:pt>
                <c:pt idx="872" formatCode="0.0%">
                  <c:v>5.4312403865467901E-2</c:v>
                </c:pt>
                <c:pt idx="873" formatCode="0.0%">
                  <c:v>4.7671120565166945E-2</c:v>
                </c:pt>
                <c:pt idx="874" formatCode="0.0%">
                  <c:v>3.4873489582774225E-2</c:v>
                </c:pt>
                <c:pt idx="875" formatCode="0.0%">
                  <c:v>4.0668694367400775E-2</c:v>
                </c:pt>
                <c:pt idx="876" formatCode="0.0%">
                  <c:v>5.2931070009343696E-2</c:v>
                </c:pt>
                <c:pt idx="877" formatCode="0.0%">
                  <c:v>5.2930555093185061E-2</c:v>
                </c:pt>
                <c:pt idx="878" formatCode="0.0%">
                  <c:v>5.2930168906066229E-2</c:v>
                </c:pt>
                <c:pt idx="879" formatCode="0.0%">
                  <c:v>5.3557680671563475E-2</c:v>
                </c:pt>
                <c:pt idx="880" formatCode="0.0%">
                  <c:v>5.4921585713342012E-2</c:v>
                </c:pt>
                <c:pt idx="881" formatCode="0.0%">
                  <c:v>5.3024644721174637E-2</c:v>
                </c:pt>
                <c:pt idx="882" formatCode="0.0%">
                  <c:v>5.4646069935886603E-2</c:v>
                </c:pt>
                <c:pt idx="883" formatCode="0.0%">
                  <c:v>6.6811125234267618E-2</c:v>
                </c:pt>
                <c:pt idx="884" formatCode="0.0%">
                  <c:v>6.6800590160441403E-2</c:v>
                </c:pt>
                <c:pt idx="885" formatCode="0.0%">
                  <c:v>6.6793652428899009E-2</c:v>
                </c:pt>
                <c:pt idx="886" formatCode="0.0%">
                  <c:v>7.080661578541253E-2</c:v>
                </c:pt>
                <c:pt idx="887" formatCode="0.0%">
                  <c:v>7.5311610828657796E-2</c:v>
                </c:pt>
                <c:pt idx="888" formatCode="0.0%">
                  <c:v>7.0089189869715365E-2</c:v>
                </c:pt>
                <c:pt idx="889" formatCode="0.0%">
                  <c:v>6.5060276646547954E-2</c:v>
                </c:pt>
                <c:pt idx="890" formatCode="0.0%">
                  <c:v>6.8464714637769084E-2</c:v>
                </c:pt>
                <c:pt idx="891" formatCode="0.0%">
                  <c:v>6.8464458313760301E-2</c:v>
                </c:pt>
                <c:pt idx="892" formatCode="0.0%">
                  <c:v>6.8464201989751672E-2</c:v>
                </c:pt>
                <c:pt idx="893" formatCode="0.0%">
                  <c:v>7.5295967182982648E-2</c:v>
                </c:pt>
                <c:pt idx="894" formatCode="0.0%">
                  <c:v>8.1781224755271886E-2</c:v>
                </c:pt>
                <c:pt idx="895" formatCode="0.0%">
                  <c:v>8.2586464058964137E-2</c:v>
                </c:pt>
                <c:pt idx="896" formatCode="0.0%">
                  <c:v>8.3894456887807112E-2</c:v>
                </c:pt>
                <c:pt idx="897" formatCode="0.0%">
                  <c:v>8.4993971665112439E-2</c:v>
                </c:pt>
                <c:pt idx="898" formatCode="0.0%">
                  <c:v>8.49935932203843E-2</c:v>
                </c:pt>
                <c:pt idx="899" formatCode="0.0%">
                  <c:v>8.4993340923898722E-2</c:v>
                </c:pt>
                <c:pt idx="900" formatCode="0.0%">
                  <c:v>8.0169238495365822E-2</c:v>
                </c:pt>
                <c:pt idx="901" formatCode="0.0%">
                  <c:v>7.495173783312524E-2</c:v>
                </c:pt>
                <c:pt idx="902" formatCode="0.0%">
                  <c:v>6.5589695448194762E-2</c:v>
                </c:pt>
                <c:pt idx="903" formatCode="0.0%">
                  <c:v>6.2859753089883272E-2</c:v>
                </c:pt>
                <c:pt idx="904" formatCode="0.0%">
                  <c:v>6.425056309851257E-2</c:v>
                </c:pt>
                <c:pt idx="905" formatCode="0.0%">
                  <c:v>6.425018332731014E-2</c:v>
                </c:pt>
                <c:pt idx="906" formatCode="0.0%">
                  <c:v>6.4249930146508663E-2</c:v>
                </c:pt>
                <c:pt idx="907" formatCode="0.0%">
                  <c:v>5.757642106425024E-2</c:v>
                </c:pt>
                <c:pt idx="908" formatCode="0.0%">
                  <c:v>5.7686071557235437E-2</c:v>
                </c:pt>
                <c:pt idx="909" formatCode="0.0%">
                  <c:v>6.5853080870604541E-2</c:v>
                </c:pt>
                <c:pt idx="910" formatCode="0.0%">
                  <c:v>6.9765794843724221E-2</c:v>
                </c:pt>
                <c:pt idx="911" formatCode="0.0%">
                  <c:v>7.8603784115605035E-2</c:v>
                </c:pt>
                <c:pt idx="912" formatCode="0.0%">
                  <c:v>7.8603405329543671E-2</c:v>
                </c:pt>
                <c:pt idx="913" formatCode="0.0%">
                  <c:v>7.860302654348629E-2</c:v>
                </c:pt>
                <c:pt idx="914" formatCode="0.0%">
                  <c:v>8.0592889785025934E-2</c:v>
                </c:pt>
                <c:pt idx="915" formatCode="0.0%">
                  <c:v>8.1266530919779714E-2</c:v>
                </c:pt>
                <c:pt idx="916" formatCode="0.0%">
                  <c:v>7.9659632770347169E-2</c:v>
                </c:pt>
                <c:pt idx="917" formatCode="0.0%">
                  <c:v>6.6957646504260004E-2</c:v>
                </c:pt>
                <c:pt idx="918" formatCode="0.0%">
                  <c:v>5.9994766720531632E-2</c:v>
                </c:pt>
                <c:pt idx="919" formatCode="0.0%">
                  <c:v>5.9994389066692549E-2</c:v>
                </c:pt>
                <c:pt idx="920" formatCode="0.0%">
                  <c:v>5.9994137297466638E-2</c:v>
                </c:pt>
                <c:pt idx="921" formatCode="0.0%">
                  <c:v>5.9708957937824464E-2</c:v>
                </c:pt>
                <c:pt idx="922" formatCode="0.0%">
                  <c:v>6.5661698172252439E-2</c:v>
                </c:pt>
                <c:pt idx="923" formatCode="0.0%">
                  <c:v>6.8688182126090999E-2</c:v>
                </c:pt>
                <c:pt idx="924" formatCode="0.0%">
                  <c:v>7.50963614653513E-2</c:v>
                </c:pt>
                <c:pt idx="925" formatCode="0.0%">
                  <c:v>7.4856438469998773E-2</c:v>
                </c:pt>
                <c:pt idx="926" formatCode="0.0%">
                  <c:v>7.4856193325743017E-2</c:v>
                </c:pt>
                <c:pt idx="927" formatCode="0.0%">
                  <c:v>7.4855825609359952E-2</c:v>
                </c:pt>
                <c:pt idx="928" formatCode="0.0%">
                  <c:v>7.5065746799051147E-2</c:v>
                </c:pt>
                <c:pt idx="929" formatCode="0.0%">
                  <c:v>7.8964166922128529E-2</c:v>
                </c:pt>
                <c:pt idx="930" formatCode="0.0%">
                  <c:v>8.4307205440908597E-2</c:v>
                </c:pt>
                <c:pt idx="931" formatCode="0.0%">
                  <c:v>8.0077267724759912E-2</c:v>
                </c:pt>
                <c:pt idx="932" formatCode="0.0%">
                  <c:v>8.0678071966396633E-2</c:v>
                </c:pt>
                <c:pt idx="933" formatCode="0.0%">
                  <c:v>8.0677823902788076E-2</c:v>
                </c:pt>
                <c:pt idx="934" formatCode="0.0%">
                  <c:v>8.0677451807375178E-2</c:v>
                </c:pt>
                <c:pt idx="935" formatCode="0.0%">
                  <c:v>8.3668365592072011E-2</c:v>
                </c:pt>
                <c:pt idx="936" formatCode="0.0%">
                  <c:v>9.1340490968219681E-2</c:v>
                </c:pt>
                <c:pt idx="937" formatCode="0.0%">
                  <c:v>8.8375224848097109E-2</c:v>
                </c:pt>
                <c:pt idx="938" formatCode="0.0%">
                  <c:v>9.4033059858389126E-2</c:v>
                </c:pt>
                <c:pt idx="939" formatCode="0.0%">
                  <c:v>9.5895410038339582E-2</c:v>
                </c:pt>
                <c:pt idx="940" formatCode="0.0%">
                  <c:v>9.5895035245577562E-2</c:v>
                </c:pt>
                <c:pt idx="941" formatCode="0.0%">
                  <c:v>9.58947853837364E-2</c:v>
                </c:pt>
                <c:pt idx="942" formatCode="0.0%">
                  <c:v>0.1004036535278756</c:v>
                </c:pt>
                <c:pt idx="943" formatCode="0.0%">
                  <c:v>9.904051159536649E-2</c:v>
                </c:pt>
                <c:pt idx="944" formatCode="0.0%">
                  <c:v>8.7112209207919733E-2</c:v>
                </c:pt>
                <c:pt idx="945" formatCode="0.0%">
                  <c:v>8.0056604714009008E-2</c:v>
                </c:pt>
                <c:pt idx="946" formatCode="0.0%">
                  <c:v>7.3721332402642184E-2</c:v>
                </c:pt>
                <c:pt idx="947" formatCode="0.0%">
                  <c:v>7.3721082272545993E-2</c:v>
                </c:pt>
                <c:pt idx="948" formatCode="0.0%">
                  <c:v>7.3720707077401929E-2</c:v>
                </c:pt>
                <c:pt idx="949" formatCode="0.0%">
                  <c:v>7.6199709217246572E-2</c:v>
                </c:pt>
                <c:pt idx="950" formatCode="0.0%">
                  <c:v>7.7959077624216486E-2</c:v>
                </c:pt>
                <c:pt idx="951" formatCode="0.0%">
                  <c:v>7.324476536990758E-2</c:v>
                </c:pt>
                <c:pt idx="952" formatCode="0.0%">
                  <c:v>7.2683472688599413E-2</c:v>
                </c:pt>
                <c:pt idx="953" formatCode="0.0%">
                  <c:v>6.934423837951087E-2</c:v>
                </c:pt>
                <c:pt idx="954" formatCode="0.0%">
                  <c:v>6.934373584007901E-2</c:v>
                </c:pt>
                <c:pt idx="955" formatCode="0.0%">
                  <c:v>6.9343233300645443E-2</c:v>
                </c:pt>
                <c:pt idx="956" formatCode="0.0%">
                  <c:v>7.4726514797021359E-2</c:v>
                </c:pt>
                <c:pt idx="957" formatCode="0.0%">
                  <c:v>7.0167524850937746E-2</c:v>
                </c:pt>
                <c:pt idx="958" formatCode="0.0%">
                  <c:v>6.252688187716117E-2</c:v>
                </c:pt>
                <c:pt idx="959" formatCode="0.0%">
                  <c:v>5.3531985322372577E-2</c:v>
                </c:pt>
                <c:pt idx="960" formatCode="0.0%">
                  <c:v>4.6977116655142197E-2</c:v>
                </c:pt>
                <c:pt idx="961" formatCode="0.0%">
                  <c:v>4.6976863102483862E-2</c:v>
                </c:pt>
                <c:pt idx="962" formatCode="0.0%">
                  <c:v>4.6976609549825382E-2</c:v>
                </c:pt>
                <c:pt idx="963" formatCode="0.0%">
                  <c:v>4.9707725365962997E-2</c:v>
                </c:pt>
                <c:pt idx="964" formatCode="0.0%">
                  <c:v>5.5375580914106305E-2</c:v>
                </c:pt>
                <c:pt idx="965" formatCode="0.0%">
                  <c:v>6.4448564146004236E-2</c:v>
                </c:pt>
                <c:pt idx="966" formatCode="0.0%">
                  <c:v>6.091723193314124E-2</c:v>
                </c:pt>
                <c:pt idx="967" formatCode="0.0%">
                  <c:v>6.2037294908112557E-2</c:v>
                </c:pt>
                <c:pt idx="968" formatCode="0.0%">
                  <c:v>6.203703884495667E-2</c:v>
                </c:pt>
                <c:pt idx="969" formatCode="0.0%">
                  <c:v>6.203678278180462E-2</c:v>
                </c:pt>
                <c:pt idx="970" formatCode="0.0%">
                  <c:v>6.6305913943145209E-2</c:v>
                </c:pt>
                <c:pt idx="971" formatCode="0.0%">
                  <c:v>7.7865879683758549E-2</c:v>
                </c:pt>
                <c:pt idx="972" formatCode="0.0%">
                  <c:v>7.8590068936655225E-2</c:v>
                </c:pt>
                <c:pt idx="973" formatCode="0.0%">
                  <c:v>8.3511372944912801E-2</c:v>
                </c:pt>
                <c:pt idx="974" formatCode="0.0%">
                  <c:v>8.8677762867884702E-2</c:v>
                </c:pt>
                <c:pt idx="975" formatCode="0.0%">
                  <c:v>8.867738011905317E-2</c:v>
                </c:pt>
                <c:pt idx="976" formatCode="0.0%">
                  <c:v>8.8677124953165667E-2</c:v>
                </c:pt>
                <c:pt idx="977" formatCode="0.0%">
                  <c:v>9.1837790002235811E-2</c:v>
                </c:pt>
                <c:pt idx="978" formatCode="0.0%">
                  <c:v>9.3949446274277759E-2</c:v>
                </c:pt>
                <c:pt idx="979" formatCode="0.0%">
                  <c:v>8.954167922091244E-2</c:v>
                </c:pt>
                <c:pt idx="980" formatCode="0.0%">
                  <c:v>8.5718935318034109E-2</c:v>
                </c:pt>
                <c:pt idx="981" formatCode="0.0%">
                  <c:v>8.3684417070259517E-2</c:v>
                </c:pt>
                <c:pt idx="982" formatCode="0.0%">
                  <c:v>8.3684159554827178E-2</c:v>
                </c:pt>
                <c:pt idx="983" formatCode="0.0%">
                  <c:v>8.3683902039396962E-2</c:v>
                </c:pt>
                <c:pt idx="984" formatCode="0.0%">
                  <c:v>8.5038176334310697E-2</c:v>
                </c:pt>
                <c:pt idx="985" formatCode="0.0%">
                  <c:v>8.3778999506504165E-2</c:v>
                </c:pt>
                <c:pt idx="986" formatCode="0.0%">
                  <c:v>7.975847991613022E-2</c:v>
                </c:pt>
                <c:pt idx="987" formatCode="0.0%">
                  <c:v>8.9758938203593888E-2</c:v>
                </c:pt>
                <c:pt idx="988" formatCode="0.0%">
                  <c:v>8.70417481400068E-2</c:v>
                </c:pt>
                <c:pt idx="989" formatCode="0.0%">
                  <c:v>8.7041489403552538E-2</c:v>
                </c:pt>
                <c:pt idx="990" formatCode="0.0%">
                  <c:v>8.7041101298875392E-2</c:v>
                </c:pt>
                <c:pt idx="991" formatCode="0.0%">
                  <c:v>7.8627223001909663E-2</c:v>
                </c:pt>
                <c:pt idx="992" formatCode="0.0%">
                  <c:v>7.3580553919152289E-2</c:v>
                </c:pt>
                <c:pt idx="993" formatCode="0.0%">
                  <c:v>6.8670011578689405E-2</c:v>
                </c:pt>
                <c:pt idx="994" formatCode="0.0%">
                  <c:v>5.489863589545152E-2</c:v>
                </c:pt>
                <c:pt idx="995" formatCode="0.0%">
                  <c:v>5.0874916758875628E-2</c:v>
                </c:pt>
                <c:pt idx="996" formatCode="0.0%">
                  <c:v>5.0874657870720201E-2</c:v>
                </c:pt>
                <c:pt idx="997" formatCode="0.0%">
                  <c:v>5.0874398982565051E-2</c:v>
                </c:pt>
                <c:pt idx="998" formatCode="0.0%">
                  <c:v>5.3770420072974473E-2</c:v>
                </c:pt>
                <c:pt idx="999" formatCode="0.0%">
                  <c:v>4.5350069721054924E-2</c:v>
                </c:pt>
                <c:pt idx="1000" formatCode="0.0%">
                  <c:v>4.8394908439393591E-2</c:v>
                </c:pt>
                <c:pt idx="1001" formatCode="0.0%">
                  <c:v>4.8762511350868037E-2</c:v>
                </c:pt>
                <c:pt idx="1002" formatCode="0.0%">
                  <c:v>5.1899933451619945E-2</c:v>
                </c:pt>
                <c:pt idx="1003" formatCode="0.0%">
                  <c:v>5.158551576744301E-2</c:v>
                </c:pt>
                <c:pt idx="1004" formatCode="0.0%">
                  <c:v>5.1585124862738356E-2</c:v>
                </c:pt>
                <c:pt idx="1005" formatCode="0.0%">
                  <c:v>5.4467395749363164E-2</c:v>
                </c:pt>
                <c:pt idx="1006" formatCode="0.0%">
                  <c:v>4.7185240413215153E-2</c:v>
                </c:pt>
                <c:pt idx="1007" formatCode="0.0%">
                  <c:v>4.4992184473799879E-2</c:v>
                </c:pt>
                <c:pt idx="1008" formatCode="0.0%">
                  <c:v>4.5401676542212922E-2</c:v>
                </c:pt>
                <c:pt idx="1009" formatCode="0.0%">
                  <c:v>5.1381479939868628E-2</c:v>
                </c:pt>
                <c:pt idx="1010" formatCode="0.0%">
                  <c:v>5.1381087236929517E-2</c:v>
                </c:pt>
                <c:pt idx="1011" formatCode="0.0%">
                  <c:v>5.1380694533993819E-2</c:v>
                </c:pt>
                <c:pt idx="1012" formatCode="0.0%">
                  <c:v>5.5362057332038861E-2</c:v>
                </c:pt>
                <c:pt idx="1013" formatCode="0.0%">
                  <c:v>6.1660209987851433E-2</c:v>
                </c:pt>
                <c:pt idx="1014" formatCode="0.0%">
                  <c:v>6.54797940305238E-2</c:v>
                </c:pt>
                <c:pt idx="1015" formatCode="0.0%">
                  <c:v>6.8102851565691652E-2</c:v>
                </c:pt>
                <c:pt idx="1016" formatCode="0.0%">
                  <c:v>6.3076481030587953E-2</c:v>
                </c:pt>
                <c:pt idx="1017" formatCode="0.0%">
                  <c:v>6.3076086923475008E-2</c:v>
                </c:pt>
                <c:pt idx="1018" formatCode="0.0%">
                  <c:v>6.3075692816362328E-2</c:v>
                </c:pt>
                <c:pt idx="1019" formatCode="0.0%">
                  <c:v>6.2734816815252406E-2</c:v>
                </c:pt>
                <c:pt idx="1020" formatCode="0.0%">
                  <c:v>6.2268496063319675E-2</c:v>
                </c:pt>
                <c:pt idx="1021" formatCode="0.0%">
                  <c:v>5.4331594490884927E-2</c:v>
                </c:pt>
                <c:pt idx="1022" formatCode="0.0%">
                  <c:v>4.3234150394331435E-2</c:v>
                </c:pt>
                <c:pt idx="1023" formatCode="0.0%">
                  <c:v>2.9622074003301576E-2</c:v>
                </c:pt>
                <c:pt idx="1024" formatCode="0.0%">
                  <c:v>2.9621813226261794E-2</c:v>
                </c:pt>
                <c:pt idx="1025" formatCode="0.0%">
                  <c:v>2.9621422060702542E-2</c:v>
                </c:pt>
                <c:pt idx="1026" formatCode="0.0%">
                  <c:v>2.1922234255792147E-2</c:v>
                </c:pt>
                <c:pt idx="1027" formatCode="0.0%">
                  <c:v>2.8374468859236685E-2</c:v>
                </c:pt>
                <c:pt idx="1028" formatCode="0.0%">
                  <c:v>2.2398950765693825E-2</c:v>
                </c:pt>
                <c:pt idx="1029" formatCode="0.0%">
                  <c:v>1.300252512011852E-2</c:v>
                </c:pt>
                <c:pt idx="1030" formatCode="0.0%">
                  <c:v>6.5815078545523424E-3</c:v>
                </c:pt>
                <c:pt idx="1031" formatCode="0.0%">
                  <c:v>6.5812467981578495E-3</c:v>
                </c:pt>
                <c:pt idx="1032" formatCode="0.0%">
                  <c:v>6.580855213565542E-3</c:v>
                </c:pt>
                <c:pt idx="1033" formatCode="0.0%">
                  <c:v>7.7402431128467701E-3</c:v>
                </c:pt>
                <c:pt idx="1034" formatCode="0.0%">
                  <c:v>1.767723133658336E-2</c:v>
                </c:pt>
                <c:pt idx="1035" formatCode="0.0%">
                  <c:v>2.3638017013887947E-2</c:v>
                </c:pt>
                <c:pt idx="1036" formatCode="0.0%">
                  <c:v>3.9962351354713661E-2</c:v>
                </c:pt>
                <c:pt idx="1037" formatCode="0.0%">
                  <c:v>4.5852516804787344E-2</c:v>
                </c:pt>
                <c:pt idx="1038" formatCode="0.0%">
                  <c:v>4.5852259596462941E-2</c:v>
                </c:pt>
                <c:pt idx="1039" formatCode="0.0%">
                  <c:v>4.5852002388138115E-2</c:v>
                </c:pt>
                <c:pt idx="1040" formatCode="0.0%">
                  <c:v>4.7420531625534466E-2</c:v>
                </c:pt>
                <c:pt idx="1041" formatCode="0.0%">
                  <c:v>5.4052628216641099E-2</c:v>
                </c:pt>
                <c:pt idx="1042" formatCode="0.0%">
                  <c:v>5.670761193192092E-2</c:v>
                </c:pt>
                <c:pt idx="1043" formatCode="0.0%">
                  <c:v>5.6527463771807618E-2</c:v>
                </c:pt>
                <c:pt idx="1044" formatCode="0.0%">
                  <c:v>5.9786444394649578E-2</c:v>
                </c:pt>
                <c:pt idx="1045" formatCode="0.0%">
                  <c:v>5.9786185804349544E-2</c:v>
                </c:pt>
                <c:pt idx="1046" formatCode="0.0%">
                  <c:v>5.9945218838793154E-2</c:v>
                </c:pt>
                <c:pt idx="1047" formatCode="0.0%">
                  <c:v>6.3571400607782352E-2</c:v>
                </c:pt>
                <c:pt idx="1048" formatCode="0.0%">
                  <c:v>7.035645152512629E-2</c:v>
                </c:pt>
                <c:pt idx="1049" formatCode="0.0%">
                  <c:v>7.5495482546821938E-2</c:v>
                </c:pt>
                <c:pt idx="1050" formatCode="0.0%">
                  <c:v>7.4689542336617343E-2</c:v>
                </c:pt>
                <c:pt idx="1051" formatCode="0.0%">
                  <c:v>7.5807668123805308E-2</c:v>
                </c:pt>
                <c:pt idx="1052" formatCode="0.0%">
                  <c:v>7.5807414713599433E-2</c:v>
                </c:pt>
                <c:pt idx="1053" formatCode="0.0%">
                  <c:v>7.5807161303393683E-2</c:v>
                </c:pt>
                <c:pt idx="1054" formatCode="0.0%">
                  <c:v>7.7950204977655202E-2</c:v>
                </c:pt>
                <c:pt idx="1055" formatCode="0.0%">
                  <c:v>7.9279937355515098E-2</c:v>
                </c:pt>
                <c:pt idx="1056" formatCode="0.0%">
                  <c:v>8.6190638482867427E-2</c:v>
                </c:pt>
                <c:pt idx="1057" formatCode="0.0%">
                  <c:v>8.6296300705740236E-2</c:v>
                </c:pt>
                <c:pt idx="1058" formatCode="0.0%">
                  <c:v>8.5538991477484394E-2</c:v>
                </c:pt>
                <c:pt idx="1059" formatCode="0.0%">
                  <c:v>8.5538739334549946E-2</c:v>
                </c:pt>
                <c:pt idx="1060" formatCode="0.0%">
                  <c:v>8.5538487191617205E-2</c:v>
                </c:pt>
                <c:pt idx="1061" formatCode="0.0%">
                  <c:v>8.4068436530756685E-2</c:v>
                </c:pt>
                <c:pt idx="1062" formatCode="0.0%">
                  <c:v>8.0067818702999463E-2</c:v>
                </c:pt>
                <c:pt idx="1063" formatCode="0.0%">
                  <c:v>8.3223901377884602E-2</c:v>
                </c:pt>
                <c:pt idx="1064" formatCode="0.0%">
                  <c:v>8.9751032372579684E-2</c:v>
                </c:pt>
                <c:pt idx="1065" formatCode="0.0%">
                  <c:v>9.9877148675340241E-2</c:v>
                </c:pt>
                <c:pt idx="1066" formatCode="0.0%">
                  <c:v>9.9876894075562744E-2</c:v>
                </c:pt>
                <c:pt idx="1067" formatCode="0.0%">
                  <c:v>9.9876639475785248E-2</c:v>
                </c:pt>
                <c:pt idx="1068" formatCode="0.0%">
                  <c:v>9.9739776523710896E-2</c:v>
                </c:pt>
                <c:pt idx="1069" formatCode="0.0%">
                  <c:v>9.9629965653158903E-2</c:v>
                </c:pt>
                <c:pt idx="1070" formatCode="0.0%">
                  <c:v>0.10249510332381064</c:v>
                </c:pt>
                <c:pt idx="1071" formatCode="0.0%">
                  <c:v>0.10451091005400315</c:v>
                </c:pt>
                <c:pt idx="1072" formatCode="0.0%">
                  <c:v>0.11030080464086779</c:v>
                </c:pt>
                <c:pt idx="1073" formatCode="0.0%">
                  <c:v>0.11030029229255418</c:v>
                </c:pt>
                <c:pt idx="1074" formatCode="0.0%">
                  <c:v>0.11029990803132179</c:v>
                </c:pt>
                <c:pt idx="1075" formatCode="0.0%">
                  <c:v>0.11706439642711458</c:v>
                </c:pt>
                <c:pt idx="1076" formatCode="0.0%">
                  <c:v>0.11963158631203143</c:v>
                </c:pt>
                <c:pt idx="1077" formatCode="0.0%">
                  <c:v>0.12641724636219634</c:v>
                </c:pt>
                <c:pt idx="1078" formatCode="0.0%">
                  <c:v>0.12339004919449507</c:v>
                </c:pt>
                <c:pt idx="1079" formatCode="0.0%">
                  <c:v>0.12839202985293313</c:v>
                </c:pt>
                <c:pt idx="1080" formatCode="0.0%">
                  <c:v>0.12839165085874654</c:v>
                </c:pt>
                <c:pt idx="1081" formatCode="0.0%">
                  <c:v>0.12839114553316236</c:v>
                </c:pt>
                <c:pt idx="1082" formatCode="0.0%">
                  <c:v>0.129956518149762</c:v>
                </c:pt>
                <c:pt idx="1083" formatCode="0.0%">
                  <c:v>0.13186156588659514</c:v>
                </c:pt>
                <c:pt idx="1084" formatCode="0.0%">
                  <c:v>0.12832692628167039</c:v>
                </c:pt>
                <c:pt idx="1085" formatCode="0.0%">
                  <c:v>0.12814649287319754</c:v>
                </c:pt>
                <c:pt idx="1086" formatCode="0.0%">
                  <c:v>0.12921937233900338</c:v>
                </c:pt>
                <c:pt idx="1087" formatCode="0.0%">
                  <c:v>0.12921887134619767</c:v>
                </c:pt>
                <c:pt idx="1088" formatCode="0.0%">
                  <c:v>0.12921837035339195</c:v>
                </c:pt>
                <c:pt idx="1089" formatCode="0.0%">
                  <c:v>0.12921561489296124</c:v>
                </c:pt>
                <c:pt idx="1090" formatCode="0.0%">
                  <c:v>0.1281024817045629</c:v>
                </c:pt>
                <c:pt idx="1091" formatCode="0.0%">
                  <c:v>0.12890317143239116</c:v>
                </c:pt>
                <c:pt idx="1092" formatCode="0.0%">
                  <c:v>0.13072802891785743</c:v>
                </c:pt>
                <c:pt idx="1093" formatCode="0.0%">
                  <c:v>0.13413316732718372</c:v>
                </c:pt>
                <c:pt idx="1094" formatCode="0.0%">
                  <c:v>0.13413291763369556</c:v>
                </c:pt>
                <c:pt idx="1095" formatCode="0.0%">
                  <c:v>0.13406999487466734</c:v>
                </c:pt>
                <c:pt idx="1096" formatCode="0.0%">
                  <c:v>0.13407374027699048</c:v>
                </c:pt>
                <c:pt idx="1097" formatCode="0.0%">
                  <c:v>0.13053877722791157</c:v>
                </c:pt>
                <c:pt idx="1098" formatCode="0.0%">
                  <c:v>0.12147813863952919</c:v>
                </c:pt>
                <c:pt idx="1099" formatCode="0.0%">
                  <c:v>0.11424091770354394</c:v>
                </c:pt>
                <c:pt idx="1100" formatCode="0.0%">
                  <c:v>0.11191501282815935</c:v>
                </c:pt>
                <c:pt idx="1101" formatCode="0.0%">
                  <c:v>0.1119147614918414</c:v>
                </c:pt>
                <c:pt idx="1102" formatCode="0.0%">
                  <c:v>0.11191451015552346</c:v>
                </c:pt>
                <c:pt idx="1103" formatCode="0.0%">
                  <c:v>0.12073577497358529</c:v>
                </c:pt>
                <c:pt idx="1104" formatCode="0.0%">
                  <c:v>0.1287580481597341</c:v>
                </c:pt>
                <c:pt idx="1105" formatCode="0.0%">
                  <c:v>0.13107583951747784</c:v>
                </c:pt>
                <c:pt idx="1106" formatCode="0.0%">
                  <c:v>0.1343416470863022</c:v>
                </c:pt>
                <c:pt idx="1107" formatCode="0.0%">
                  <c:v>0.13722594399932503</c:v>
                </c:pt>
                <c:pt idx="1108" formatCode="0.0%">
                  <c:v>0.13722569237255172</c:v>
                </c:pt>
                <c:pt idx="1109" formatCode="0.0%">
                  <c:v>0.13722544074577855</c:v>
                </c:pt>
                <c:pt idx="1110" formatCode="0.0%">
                  <c:v>0.13655187522467371</c:v>
                </c:pt>
                <c:pt idx="1111" formatCode="0.0%">
                  <c:v>0.13792339536098269</c:v>
                </c:pt>
                <c:pt idx="1112" formatCode="0.0%">
                  <c:v>0.1305812739414442</c:v>
                </c:pt>
                <c:pt idx="1113" formatCode="0.0%">
                  <c:v>0.1370931616016651</c:v>
                </c:pt>
                <c:pt idx="1114" formatCode="0.0%">
                  <c:v>0.14479583060097126</c:v>
                </c:pt>
                <c:pt idx="1115" formatCode="0.0%">
                  <c:v>0.14479532349565474</c:v>
                </c:pt>
                <c:pt idx="1116" formatCode="0.0%">
                  <c:v>0.1447949431666673</c:v>
                </c:pt>
                <c:pt idx="1117" formatCode="0.0%">
                  <c:v>0.15235745432158893</c:v>
                </c:pt>
                <c:pt idx="1118" formatCode="0.0%">
                  <c:v>0.15663649096071453</c:v>
                </c:pt>
                <c:pt idx="1119" formatCode="0.0%">
                  <c:v>0.1582387693569558</c:v>
                </c:pt>
                <c:pt idx="1120" formatCode="0.0%">
                  <c:v>0.16547641690421955</c:v>
                </c:pt>
                <c:pt idx="1121" formatCode="0.0%">
                  <c:v>0.16819627891586975</c:v>
                </c:pt>
                <c:pt idx="1122" formatCode="0.0%">
                  <c:v>0.16819577112234058</c:v>
                </c:pt>
                <c:pt idx="1123" formatCode="0.0%">
                  <c:v>0.16819539027719174</c:v>
                </c:pt>
                <c:pt idx="1124" formatCode="0.0%">
                  <c:v>0.17940197746170966</c:v>
                </c:pt>
                <c:pt idx="1125" formatCode="0.0%">
                  <c:v>0.17977470527527997</c:v>
                </c:pt>
                <c:pt idx="1126" formatCode="0.0%">
                  <c:v>0.1692303575080652</c:v>
                </c:pt>
                <c:pt idx="1127" formatCode="0.0%">
                  <c:v>0.1742022410859623</c:v>
                </c:pt>
                <c:pt idx="1128" formatCode="0.0%">
                  <c:v>0.18549809199233167</c:v>
                </c:pt>
                <c:pt idx="1129" formatCode="0.0%">
                  <c:v>0.18549770895211992</c:v>
                </c:pt>
                <c:pt idx="1130" formatCode="0.0%">
                  <c:v>0.18549745359197872</c:v>
                </c:pt>
                <c:pt idx="1131" formatCode="0.0%">
                  <c:v>0.19305307836581292</c:v>
                </c:pt>
                <c:pt idx="1132" formatCode="0.0%">
                  <c:v>0.19638401772076478</c:v>
                </c:pt>
                <c:pt idx="1133" formatCode="0.0%">
                  <c:v>0.20215776503562594</c:v>
                </c:pt>
                <c:pt idx="1134" formatCode="0.0%">
                  <c:v>0.20702274418094802</c:v>
                </c:pt>
                <c:pt idx="1135" formatCode="0.0%">
                  <c:v>0.2127360671359648</c:v>
                </c:pt>
                <c:pt idx="1136" formatCode="0.0%">
                  <c:v>0.21273581140211675</c:v>
                </c:pt>
                <c:pt idx="1137" formatCode="0.0%">
                  <c:v>0.21273542780134463</c:v>
                </c:pt>
                <c:pt idx="1138" formatCode="0.0%">
                  <c:v>0.21570080132979427</c:v>
                </c:pt>
                <c:pt idx="1139" formatCode="0.0%">
                  <c:v>0.20647049408751486</c:v>
                </c:pt>
                <c:pt idx="1140" formatCode="0.0%">
                  <c:v>0.21194948341779152</c:v>
                </c:pt>
                <c:pt idx="1141" formatCode="0.0%">
                  <c:v>0.21829724689163668</c:v>
                </c:pt>
                <c:pt idx="1142" formatCode="0.0%">
                  <c:v>0.21763502067340013</c:v>
                </c:pt>
                <c:pt idx="1143" formatCode="0.0%">
                  <c:v>0.21763463657311902</c:v>
                </c:pt>
                <c:pt idx="1144" formatCode="0.0%">
                  <c:v>0.21763438050626477</c:v>
                </c:pt>
                <c:pt idx="1145" formatCode="0.0%">
                  <c:v>0.21628450695016027</c:v>
                </c:pt>
                <c:pt idx="1146" formatCode="0.0%">
                  <c:v>0.20675207388390973</c:v>
                </c:pt>
                <c:pt idx="1147" formatCode="0.0%">
                  <c:v>0.2020763426655654</c:v>
                </c:pt>
                <c:pt idx="1148" formatCode="0.0%">
                  <c:v>0.22038252985671561</c:v>
                </c:pt>
                <c:pt idx="1149" formatCode="0.0%">
                  <c:v>0.22642396970259399</c:v>
                </c:pt>
                <c:pt idx="1150" formatCode="0.0%">
                  <c:v>0.22642371483641185</c:v>
                </c:pt>
                <c:pt idx="1151" formatCode="0.0%">
                  <c:v>0.22642333253713859</c:v>
                </c:pt>
                <c:pt idx="1152" formatCode="0.0%">
                  <c:v>0.2229323896876319</c:v>
                </c:pt>
                <c:pt idx="1153" formatCode="0.0%">
                  <c:v>0.2240181384951643</c:v>
                </c:pt>
                <c:pt idx="1154" formatCode="0.0%">
                  <c:v>0.2222442078583991</c:v>
                </c:pt>
                <c:pt idx="1155" formatCode="0.0%">
                  <c:v>0.22638007749019806</c:v>
                </c:pt>
                <c:pt idx="1156" formatCode="0.0%">
                  <c:v>0.2340551552129051</c:v>
                </c:pt>
                <c:pt idx="1157" formatCode="0.0%">
                  <c:v>0.23405490067047865</c:v>
                </c:pt>
                <c:pt idx="1158" formatCode="0.0%">
                  <c:v>0.23405451885683931</c:v>
                </c:pt>
                <c:pt idx="1159" formatCode="0.0%">
                  <c:v>0.23607870488419919</c:v>
                </c:pt>
                <c:pt idx="1160" formatCode="0.0%">
                  <c:v>0.22626798024356817</c:v>
                </c:pt>
                <c:pt idx="1161" formatCode="0.0%">
                  <c:v>0.22496953852041757</c:v>
                </c:pt>
                <c:pt idx="1162" formatCode="0.0%">
                  <c:v>0.23554398630787873</c:v>
                </c:pt>
                <c:pt idx="1163" formatCode="0.0%">
                  <c:v>0.23461558407836308</c:v>
                </c:pt>
                <c:pt idx="1164" formatCode="0.0%">
                  <c:v>0.23461520659657722</c:v>
                </c:pt>
                <c:pt idx="1165" formatCode="0.0%">
                  <c:v>0.23461470328752967</c:v>
                </c:pt>
                <c:pt idx="1166" formatCode="0.0%">
                  <c:v>0.22787028110661781</c:v>
                </c:pt>
                <c:pt idx="1167" formatCode="0.0%">
                  <c:v>0.23780856244280643</c:v>
                </c:pt>
                <c:pt idx="1168" formatCode="0.0%">
                  <c:v>0.23914038781088337</c:v>
                </c:pt>
                <c:pt idx="1169" formatCode="0.0%">
                  <c:v>0.24032477090210505</c:v>
                </c:pt>
                <c:pt idx="1170" formatCode="0.0%">
                  <c:v>0.23136676179035007</c:v>
                </c:pt>
                <c:pt idx="1171" formatCode="0.0%">
                  <c:v>0.23136625494033794</c:v>
                </c:pt>
                <c:pt idx="1172" formatCode="0.0%">
                  <c:v>0.23136587480282883</c:v>
                </c:pt>
                <c:pt idx="1173" formatCode="0.0%">
                  <c:v>0.23258953307373148</c:v>
                </c:pt>
                <c:pt idx="1174" formatCode="0.0%">
                  <c:v>0.2369164304092557</c:v>
                </c:pt>
                <c:pt idx="1175" formatCode="0.0%">
                  <c:v>0.24411698541505841</c:v>
                </c:pt>
                <c:pt idx="1176" formatCode="0.0%">
                  <c:v>0.2531391108304078</c:v>
                </c:pt>
                <c:pt idx="1177" formatCode="0.0%">
                  <c:v>0.25619361658679751</c:v>
                </c:pt>
                <c:pt idx="1178" formatCode="0.0%">
                  <c:v>0.25619323386849174</c:v>
                </c:pt>
                <c:pt idx="1179" formatCode="0.0%">
                  <c:v>0.25619272357741707</c:v>
                </c:pt>
                <c:pt idx="1180" formatCode="0.0%">
                  <c:v>0.25061702760136129</c:v>
                </c:pt>
                <c:pt idx="1181" formatCode="0.0%">
                  <c:v>0.25022631934799433</c:v>
                </c:pt>
                <c:pt idx="1182" formatCode="0.0%">
                  <c:v>0.25260358834787611</c:v>
                </c:pt>
                <c:pt idx="1183" formatCode="0.0%">
                  <c:v>0.25635639895858575</c:v>
                </c:pt>
                <c:pt idx="1184" formatCode="0.0%">
                  <c:v>0.25639332523197494</c:v>
                </c:pt>
                <c:pt idx="1185" formatCode="0.0%">
                  <c:v>0.2563928141416858</c:v>
                </c:pt>
                <c:pt idx="1186" formatCode="0.0%">
                  <c:v>0.25657540114747546</c:v>
                </c:pt>
                <c:pt idx="1187" formatCode="0.0%">
                  <c:v>0.25820055488850358</c:v>
                </c:pt>
                <c:pt idx="1188" formatCode="0.0%">
                  <c:v>0.24999601836919821</c:v>
                </c:pt>
                <c:pt idx="1189" formatCode="0.0%">
                  <c:v>0.244158050607723</c:v>
                </c:pt>
                <c:pt idx="1190" formatCode="0.0%">
                  <c:v>0.23598175162431304</c:v>
                </c:pt>
                <c:pt idx="1191" formatCode="0.0%">
                  <c:v>0.23799506247414073</c:v>
                </c:pt>
                <c:pt idx="1192" formatCode="0.0%">
                  <c:v>0.23799480736005393</c:v>
                </c:pt>
                <c:pt idx="1193" formatCode="0.0%">
                  <c:v>0.23799455224596727</c:v>
                </c:pt>
                <c:pt idx="1194" formatCode="0.0%">
                  <c:v>0.24040189056941386</c:v>
                </c:pt>
                <c:pt idx="1195" formatCode="0.0%">
                  <c:v>0.24026690843552131</c:v>
                </c:pt>
                <c:pt idx="1196" formatCode="0.0%">
                  <c:v>0.24189833120881701</c:v>
                </c:pt>
                <c:pt idx="1197" formatCode="0.0%">
                  <c:v>0.24779867868340064</c:v>
                </c:pt>
                <c:pt idx="1198" formatCode="0.0%">
                  <c:v>0.24675645258752327</c:v>
                </c:pt>
                <c:pt idx="1199" formatCode="0.0%">
                  <c:v>0.24675619291865189</c:v>
                </c:pt>
                <c:pt idx="1200" formatCode="0.0%">
                  <c:v>0.24675593324978423</c:v>
                </c:pt>
                <c:pt idx="1201" formatCode="0.0%">
                  <c:v>0.23611491485601974</c:v>
                </c:pt>
                <c:pt idx="1202" formatCode="0.0%">
                  <c:v>0.22572050668257376</c:v>
                </c:pt>
                <c:pt idx="1203" formatCode="0.0%">
                  <c:v>0.22093827605026561</c:v>
                </c:pt>
                <c:pt idx="1204" formatCode="0.0%">
                  <c:v>0.21421255262910591</c:v>
                </c:pt>
                <c:pt idx="1205" formatCode="0.0%">
                  <c:v>0.20287796944652287</c:v>
                </c:pt>
                <c:pt idx="1206" formatCode="0.0%">
                  <c:v>0.20287771069342014</c:v>
                </c:pt>
                <c:pt idx="1207" formatCode="0.0%">
                  <c:v>0.20287745194031687</c:v>
                </c:pt>
                <c:pt idx="1208" formatCode="0.0%">
                  <c:v>0.20703216741231614</c:v>
                </c:pt>
                <c:pt idx="1209" formatCode="0.0%">
                  <c:v>0.21828240517818487</c:v>
                </c:pt>
                <c:pt idx="1210" formatCode="0.0%">
                  <c:v>0.22318119510234852</c:v>
                </c:pt>
                <c:pt idx="1211" formatCode="0.0%">
                  <c:v>0.21191503367618864</c:v>
                </c:pt>
                <c:pt idx="1212" formatCode="0.0%">
                  <c:v>0.22656964303372162</c:v>
                </c:pt>
                <c:pt idx="1213" formatCode="0.0%">
                  <c:v>0.22656938467097576</c:v>
                </c:pt>
                <c:pt idx="1214" formatCode="0.0%">
                  <c:v>0.22656925548960458</c:v>
                </c:pt>
                <c:pt idx="1215" formatCode="0.0%">
                  <c:v>0.22892534019753596</c:v>
                </c:pt>
                <c:pt idx="1216" formatCode="0.0%">
                  <c:v>0.22092659455037805</c:v>
                </c:pt>
                <c:pt idx="1217" formatCode="0.0%">
                  <c:v>0.21854272828433893</c:v>
                </c:pt>
                <c:pt idx="1218" formatCode="0.0%">
                  <c:v>0.21858821144610047</c:v>
                </c:pt>
                <c:pt idx="1219" formatCode="0.0%">
                  <c:v>0.22550698432103103</c:v>
                </c:pt>
                <c:pt idx="1220" formatCode="0.0%">
                  <c:v>0.22550672800997248</c:v>
                </c:pt>
                <c:pt idx="1221" formatCode="0.0%">
                  <c:v>0.22550647169891391</c:v>
                </c:pt>
                <c:pt idx="1222" formatCode="0.0%">
                  <c:v>0.2319707801277768</c:v>
                </c:pt>
                <c:pt idx="1223" formatCode="0.0%">
                  <c:v>0.24271437685953928</c:v>
                </c:pt>
                <c:pt idx="1224" formatCode="0.0%">
                  <c:v>0.24428635649474501</c:v>
                </c:pt>
                <c:pt idx="1225" formatCode="0.0%">
                  <c:v>0.24375359133192973</c:v>
                </c:pt>
                <c:pt idx="1226" formatCode="0.0%">
                  <c:v>0.25006152420252392</c:v>
                </c:pt>
                <c:pt idx="1227" formatCode="0.0%">
                  <c:v>0.2500610112918018</c:v>
                </c:pt>
                <c:pt idx="1228" formatCode="0.0%">
                  <c:v>0.25006049838107969</c:v>
                </c:pt>
                <c:pt idx="1229" formatCode="0.0%">
                  <c:v>0.24786860538297617</c:v>
                </c:pt>
                <c:pt idx="1230" formatCode="0.0%">
                  <c:v>0.24898139473799857</c:v>
                </c:pt>
                <c:pt idx="1231" formatCode="0.0%">
                  <c:v>0.25855903342396674</c:v>
                </c:pt>
                <c:pt idx="1232" formatCode="0.0%">
                  <c:v>0.26101255040711563</c:v>
                </c:pt>
                <c:pt idx="1233" formatCode="0.0%">
                  <c:v>0.25973372454701077</c:v>
                </c:pt>
                <c:pt idx="1234" formatCode="0.0%">
                  <c:v>0.25973194761931467</c:v>
                </c:pt>
                <c:pt idx="1235" formatCode="0.0%">
                  <c:v>0.25973143992568765</c:v>
                </c:pt>
                <c:pt idx="1236" formatCode="0.0%">
                  <c:v>0.26166316030122405</c:v>
                </c:pt>
                <c:pt idx="1237" formatCode="0.0%">
                  <c:v>0.26325536446331327</c:v>
                </c:pt>
                <c:pt idx="1238" formatCode="0.0%">
                  <c:v>0.26412821961548133</c:v>
                </c:pt>
                <c:pt idx="1239" formatCode="0.0%">
                  <c:v>0.26275454359058914</c:v>
                </c:pt>
                <c:pt idx="1240" formatCode="0.0%">
                  <c:v>0.26083352666968879</c:v>
                </c:pt>
                <c:pt idx="1241" formatCode="0.0%">
                  <c:v>0.26083327213096252</c:v>
                </c:pt>
                <c:pt idx="1242" formatCode="0.0%">
                  <c:v>0.26083301759223643</c:v>
                </c:pt>
                <c:pt idx="1243" formatCode="0.0%">
                  <c:v>0.26201126379909456</c:v>
                </c:pt>
                <c:pt idx="1244" formatCode="0.0%">
                  <c:v>0.2585378858699805</c:v>
                </c:pt>
                <c:pt idx="1245" formatCode="0.0%">
                  <c:v>0.25283262493136888</c:v>
                </c:pt>
                <c:pt idx="1246" formatCode="0.0%">
                  <c:v>0.24391108043191026</c:v>
                </c:pt>
                <c:pt idx="1247" formatCode="0.0%">
                  <c:v>0.24123842812035362</c:v>
                </c:pt>
                <c:pt idx="1248" formatCode="0.0%">
                  <c:v>0.24123817389983301</c:v>
                </c:pt>
                <c:pt idx="1249" formatCode="0.0%">
                  <c:v>0.24123791967931268</c:v>
                </c:pt>
                <c:pt idx="1250" formatCode="0.0%">
                  <c:v>0.24448610840481039</c:v>
                </c:pt>
                <c:pt idx="1251" formatCode="0.0%">
                  <c:v>0.24336845180465033</c:v>
                </c:pt>
                <c:pt idx="1252" formatCode="0.0%">
                  <c:v>0.25572077059421816</c:v>
                </c:pt>
                <c:pt idx="1253" formatCode="0.0%">
                  <c:v>0.26329780934168068</c:v>
                </c:pt>
                <c:pt idx="1254" formatCode="0.0%">
                  <c:v>0.26678179710262767</c:v>
                </c:pt>
                <c:pt idx="1255" formatCode="0.0%">
                  <c:v>0.26678154179798752</c:v>
                </c:pt>
                <c:pt idx="1256" formatCode="0.0%">
                  <c:v>0.26678128649334726</c:v>
                </c:pt>
                <c:pt idx="1257" formatCode="0.0%">
                  <c:v>0.27427095772109339</c:v>
                </c:pt>
                <c:pt idx="1258" formatCode="0.0%">
                  <c:v>0.27510595620316197</c:v>
                </c:pt>
                <c:pt idx="1259" formatCode="0.0%">
                  <c:v>0.27719358698208779</c:v>
                </c:pt>
                <c:pt idx="1260" formatCode="0.0%">
                  <c:v>0.2809821616029089</c:v>
                </c:pt>
                <c:pt idx="1261" formatCode="0.0%">
                  <c:v>0.28404518658838668</c:v>
                </c:pt>
                <c:pt idx="1262" formatCode="0.0%">
                  <c:v>0.28404492830704242</c:v>
                </c:pt>
                <c:pt idx="1263" formatCode="0.0%">
                  <c:v>0.28404467002569789</c:v>
                </c:pt>
                <c:pt idx="1264" formatCode="0.0%">
                  <c:v>0.28522846368788207</c:v>
                </c:pt>
                <c:pt idx="1265" formatCode="0.0%">
                  <c:v>0.28843730572434934</c:v>
                </c:pt>
                <c:pt idx="1266" formatCode="0.0%">
                  <c:v>0.28836976255259456</c:v>
                </c:pt>
                <c:pt idx="1267" formatCode="0.0%">
                  <c:v>0.29163439747020192</c:v>
                </c:pt>
                <c:pt idx="1268" formatCode="0.0%">
                  <c:v>0.29179313791812972</c:v>
                </c:pt>
                <c:pt idx="1269" formatCode="0.0%">
                  <c:v>0.29179287955353372</c:v>
                </c:pt>
                <c:pt idx="1270" formatCode="0.0%">
                  <c:v>0.29179262118893801</c:v>
                </c:pt>
                <c:pt idx="1271" formatCode="0.0%">
                  <c:v>0.28714195806495896</c:v>
                </c:pt>
                <c:pt idx="1272" formatCode="0.0%">
                  <c:v>0.29097623184081894</c:v>
                </c:pt>
                <c:pt idx="1273" formatCode="0.0%">
                  <c:v>0.29382074654747098</c:v>
                </c:pt>
                <c:pt idx="1274" formatCode="0.0%">
                  <c:v>0.29188407975738273</c:v>
                </c:pt>
                <c:pt idx="1275" formatCode="0.0%">
                  <c:v>0.28861746431865043</c:v>
                </c:pt>
                <c:pt idx="1276" formatCode="0.0%">
                  <c:v>0.28861720686057279</c:v>
                </c:pt>
                <c:pt idx="1277" formatCode="0.0%">
                  <c:v>0.28818789551329049</c:v>
                </c:pt>
                <c:pt idx="1278" formatCode="0.0%">
                  <c:v>0.28305532141327316</c:v>
                </c:pt>
                <c:pt idx="1279" formatCode="0.0%">
                  <c:v>0.28438545310146907</c:v>
                </c:pt>
                <c:pt idx="1280" formatCode="0.0%">
                  <c:v>0.28869831416250719</c:v>
                </c:pt>
                <c:pt idx="1281" formatCode="0.0%">
                  <c:v>0.28990017484976138</c:v>
                </c:pt>
                <c:pt idx="1282" formatCode="0.0%">
                  <c:v>0.29358943834654327</c:v>
                </c:pt>
                <c:pt idx="1283" formatCode="0.0%">
                  <c:v>0.29363699573177909</c:v>
                </c:pt>
                <c:pt idx="1284" formatCode="0.0%">
                  <c:v>0.29363674073239454</c:v>
                </c:pt>
                <c:pt idx="1285" formatCode="0.0%">
                  <c:v>0.2943143192909366</c:v>
                </c:pt>
                <c:pt idx="1286" formatCode="0.0%">
                  <c:v>0.29326151535400558</c:v>
                </c:pt>
                <c:pt idx="1287" formatCode="0.0%">
                  <c:v>0.29856614758174715</c:v>
                </c:pt>
                <c:pt idx="1288" formatCode="0.0%">
                  <c:v>0.29660705437140622</c:v>
                </c:pt>
                <c:pt idx="1289" formatCode="0.0%">
                  <c:v>0.29879986582425289</c:v>
                </c:pt>
                <c:pt idx="1290" formatCode="0.0%">
                  <c:v>0.29879961276370154</c:v>
                </c:pt>
                <c:pt idx="1291" formatCode="0.0%">
                  <c:v>0.29879923317287932</c:v>
                </c:pt>
                <c:pt idx="1292" formatCode="0.0%">
                  <c:v>0.29845146220837593</c:v>
                </c:pt>
                <c:pt idx="1293" formatCode="0.0%">
                  <c:v>0.30233955193147383</c:v>
                </c:pt>
                <c:pt idx="1294" formatCode="0.0%">
                  <c:v>0.28355787581838315</c:v>
                </c:pt>
                <c:pt idx="1295" formatCode="0.0%">
                  <c:v>0.27303536058010208</c:v>
                </c:pt>
                <c:pt idx="1296" formatCode="0.0%">
                  <c:v>0.26504585801173802</c:v>
                </c:pt>
                <c:pt idx="1297" formatCode="0.0%">
                  <c:v>0.26504560450162873</c:v>
                </c:pt>
                <c:pt idx="1298" formatCode="0.0%">
                  <c:v>0.26504535099152121</c:v>
                </c:pt>
                <c:pt idx="1299" formatCode="0.0%">
                  <c:v>0.27264861080298103</c:v>
                </c:pt>
                <c:pt idx="1300" formatCode="0.0%">
                  <c:v>0.28077587225677858</c:v>
                </c:pt>
                <c:pt idx="1301" formatCode="0.0%">
                  <c:v>0.26257845322485168</c:v>
                </c:pt>
                <c:pt idx="1302" formatCode="0.0%">
                  <c:v>0.24619550970687284</c:v>
                </c:pt>
                <c:pt idx="1303" formatCode="0.0%">
                  <c:v>0.25209775968758463</c:v>
                </c:pt>
                <c:pt idx="1304" formatCode="0.0%">
                  <c:v>0.25209750533756181</c:v>
                </c:pt>
                <c:pt idx="1305" formatCode="0.0%">
                  <c:v>0.25209725098753893</c:v>
                </c:pt>
                <c:pt idx="1306" formatCode="0.0%">
                  <c:v>0.259348546048773</c:v>
                </c:pt>
                <c:pt idx="1307" formatCode="0.0%">
                  <c:v>0.25756315303750282</c:v>
                </c:pt>
                <c:pt idx="1308" formatCode="0.0%">
                  <c:v>0.270876594768789</c:v>
                </c:pt>
                <c:pt idx="1309" formatCode="0.0%">
                  <c:v>0.26794847414271489</c:v>
                </c:pt>
                <c:pt idx="1310" formatCode="0.0%">
                  <c:v>0.22766083076713214</c:v>
                </c:pt>
                <c:pt idx="1311" formatCode="0.0%">
                  <c:v>0.22765956673165988</c:v>
                </c:pt>
                <c:pt idx="1312" formatCode="0.0%">
                  <c:v>0.22765931392456323</c:v>
                </c:pt>
                <c:pt idx="1313" formatCode="0.0%">
                  <c:v>0.19296290088182871</c:v>
                </c:pt>
                <c:pt idx="1314" formatCode="0.0%">
                  <c:v>0.19968580925944976</c:v>
                </c:pt>
                <c:pt idx="1315" formatCode="0.0%">
                  <c:v>0.20522036031194205</c:v>
                </c:pt>
                <c:pt idx="1316" formatCode="0.0%">
                  <c:v>0.2162660685715406</c:v>
                </c:pt>
                <c:pt idx="1317" formatCode="0.0%">
                  <c:v>0.22646095355735496</c:v>
                </c:pt>
                <c:pt idx="1318" formatCode="0.0%">
                  <c:v>0.22646070079651096</c:v>
                </c:pt>
                <c:pt idx="1319" formatCode="0.0%">
                  <c:v>0.22646044803566695</c:v>
                </c:pt>
                <c:pt idx="1320" formatCode="0.0%">
                  <c:v>0.22764826490862305</c:v>
                </c:pt>
                <c:pt idx="1321" formatCode="0.0%">
                  <c:v>0.2376641292484149</c:v>
                </c:pt>
                <c:pt idx="1322" formatCode="0.0%">
                  <c:v>0.23981626137473527</c:v>
                </c:pt>
                <c:pt idx="1323" formatCode="0.0%">
                  <c:v>0.25031643872427423</c:v>
                </c:pt>
                <c:pt idx="1324" formatCode="0.0%">
                  <c:v>0.2650369683726177</c:v>
                </c:pt>
                <c:pt idx="1325" formatCode="0.0%">
                  <c:v>0.26503671721390304</c:v>
                </c:pt>
                <c:pt idx="1326" formatCode="0.0%">
                  <c:v>0.26503646605518827</c:v>
                </c:pt>
                <c:pt idx="1327" formatCode="0.0%">
                  <c:v>0.2678868550246804</c:v>
                </c:pt>
                <c:pt idx="1328" formatCode="0.0%">
                  <c:v>0.26700386576110047</c:v>
                </c:pt>
                <c:pt idx="1329" formatCode="0.0%">
                  <c:v>0.26858599735037147</c:v>
                </c:pt>
                <c:pt idx="1330" formatCode="0.0%">
                  <c:v>0.26685404616236252</c:v>
                </c:pt>
                <c:pt idx="1331" formatCode="0.0%">
                  <c:v>0.26606815664895661</c:v>
                </c:pt>
                <c:pt idx="1332" formatCode="0.0%">
                  <c:v>0.26606790968241795</c:v>
                </c:pt>
                <c:pt idx="1333" formatCode="0.0%">
                  <c:v>0.26606766271587917</c:v>
                </c:pt>
                <c:pt idx="1334" formatCode="0.0%">
                  <c:v>0.26450826704546132</c:v>
                </c:pt>
                <c:pt idx="1335" formatCode="0.0%">
                  <c:v>0.26399609417216124</c:v>
                </c:pt>
                <c:pt idx="1336" formatCode="0.0%">
                  <c:v>0.26435545672861482</c:v>
                </c:pt>
                <c:pt idx="1337" formatCode="0.0%">
                  <c:v>0.27095247336138928</c:v>
                </c:pt>
                <c:pt idx="1338" formatCode="0.0%">
                  <c:v>0.27874654749831934</c:v>
                </c:pt>
                <c:pt idx="1339" formatCode="0.0%">
                  <c:v>0.27880950401306293</c:v>
                </c:pt>
                <c:pt idx="1340" formatCode="0.0%">
                  <c:v>0.27880900534759961</c:v>
                </c:pt>
                <c:pt idx="1341" formatCode="0.0%">
                  <c:v>0.27990040242526493</c:v>
                </c:pt>
                <c:pt idx="1342" formatCode="0.0%">
                  <c:v>0.26619708608518694</c:v>
                </c:pt>
                <c:pt idx="1343" formatCode="0.0%">
                  <c:v>0.25010939985736952</c:v>
                </c:pt>
                <c:pt idx="1344" formatCode="0.0%">
                  <c:v>0.24459731783695446</c:v>
                </c:pt>
                <c:pt idx="1345" formatCode="0.0%">
                  <c:v>0.22905032562385855</c:v>
                </c:pt>
                <c:pt idx="1346" formatCode="0.0%">
                  <c:v>0.22904995321209171</c:v>
                </c:pt>
                <c:pt idx="1347" formatCode="0.0%">
                  <c:v>0.22904958080032314</c:v>
                </c:pt>
                <c:pt idx="1348" formatCode="0.0%">
                  <c:v>0.23740772203628666</c:v>
                </c:pt>
                <c:pt idx="1349" formatCode="0.0%">
                  <c:v>0.24360906171193747</c:v>
                </c:pt>
                <c:pt idx="1350" formatCode="0.0%">
                  <c:v>0.25174103393040353</c:v>
                </c:pt>
                <c:pt idx="1351" formatCode="0.0%">
                  <c:v>0.26430001279711662</c:v>
                </c:pt>
                <c:pt idx="1352" formatCode="0.0%">
                  <c:v>0.26899863649248457</c:v>
                </c:pt>
                <c:pt idx="1353" formatCode="0.0%">
                  <c:v>0.26899838748165877</c:v>
                </c:pt>
                <c:pt idx="1354" formatCode="0.0%">
                  <c:v>0.26899813847083309</c:v>
                </c:pt>
                <c:pt idx="1355" formatCode="0.0%">
                  <c:v>0.26776473913001042</c:v>
                </c:pt>
                <c:pt idx="1356" formatCode="0.0%">
                  <c:v>0.26880437380146333</c:v>
                </c:pt>
                <c:pt idx="1357" formatCode="0.0%">
                  <c:v>0.26474187658554144</c:v>
                </c:pt>
                <c:pt idx="1358" formatCode="0.0%">
                  <c:v>0.27999017876553339</c:v>
                </c:pt>
                <c:pt idx="1359" formatCode="0.0%">
                  <c:v>0.27676537999757556</c:v>
                </c:pt>
                <c:pt idx="1360" formatCode="0.0%">
                  <c:v>0.27676513233727618</c:v>
                </c:pt>
                <c:pt idx="1361" formatCode="0.0%">
                  <c:v>0.2767648846769748</c:v>
                </c:pt>
                <c:pt idx="1362" formatCode="0.0%">
                  <c:v>0.27982563779340935</c:v>
                </c:pt>
                <c:pt idx="1363" formatCode="0.0%">
                  <c:v>0.28180658817050669</c:v>
                </c:pt>
                <c:pt idx="1364" formatCode="0.0%">
                  <c:v>0.28164618408909264</c:v>
                </c:pt>
                <c:pt idx="1365" formatCode="0.0%">
                  <c:v>0.29283374166772036</c:v>
                </c:pt>
                <c:pt idx="1366" formatCode="0.0%">
                  <c:v>0.29380947483835629</c:v>
                </c:pt>
                <c:pt idx="1367" formatCode="0.0%">
                  <c:v>0.29380922803462084</c:v>
                </c:pt>
                <c:pt idx="1368" formatCode="0.0%">
                  <c:v>0.29380898123088511</c:v>
                </c:pt>
                <c:pt idx="1369" formatCode="0.0%">
                  <c:v>0.29095534928842626</c:v>
                </c:pt>
                <c:pt idx="1370" formatCode="0.0%">
                  <c:v>0.29154994390330102</c:v>
                </c:pt>
                <c:pt idx="1371" formatCode="0.0%">
                  <c:v>0.29335332270281467</c:v>
                </c:pt>
                <c:pt idx="1372" formatCode="0.0%">
                  <c:v>0.29173316576940406</c:v>
                </c:pt>
                <c:pt idx="1373" formatCode="0.0%">
                  <c:v>0.29988135964509866</c:v>
                </c:pt>
                <c:pt idx="1374" formatCode="0.0%">
                  <c:v>0.29988110815337932</c:v>
                </c:pt>
                <c:pt idx="1375" formatCode="0.0%">
                  <c:v>0.29988060516993786</c:v>
                </c:pt>
                <c:pt idx="1376" formatCode="0.0%">
                  <c:v>0.29815366604399857</c:v>
                </c:pt>
                <c:pt idx="1377" formatCode="0.0%">
                  <c:v>0.29999828788360761</c:v>
                </c:pt>
                <c:pt idx="1378" formatCode="0.0%">
                  <c:v>0.30961515736880157</c:v>
                </c:pt>
                <c:pt idx="1379" formatCode="0.0%">
                  <c:v>0.3131973067159714</c:v>
                </c:pt>
                <c:pt idx="1380" formatCode="0.0%">
                  <c:v>0.31834132777600987</c:v>
                </c:pt>
                <c:pt idx="1381" formatCode="0.0%">
                  <c:v>0.31834107554797586</c:v>
                </c:pt>
                <c:pt idx="1382" formatCode="0.0%">
                  <c:v>0.31834069720592451</c:v>
                </c:pt>
                <c:pt idx="1383" formatCode="0.0%">
                  <c:v>0.32837906754794377</c:v>
                </c:pt>
                <c:pt idx="1384" formatCode="0.0%">
                  <c:v>0.32383695359470666</c:v>
                </c:pt>
                <c:pt idx="1385" formatCode="0.0%">
                  <c:v>0.31955261923259626</c:v>
                </c:pt>
                <c:pt idx="1386" formatCode="0.0%">
                  <c:v>0.32748693562909525</c:v>
                </c:pt>
                <c:pt idx="1387" formatCode="0.0%">
                  <c:v>0.33017603850439459</c:v>
                </c:pt>
                <c:pt idx="1388" formatCode="0.0%">
                  <c:v>0.33017578432087474</c:v>
                </c:pt>
                <c:pt idx="1389" formatCode="0.0%">
                  <c:v>0.33017540304559501</c:v>
                </c:pt>
                <c:pt idx="1390" formatCode="0.0%">
                  <c:v>0.3300798722118114</c:v>
                </c:pt>
                <c:pt idx="1391" formatCode="0.0%">
                  <c:v>0.32851466364231841</c:v>
                </c:pt>
                <c:pt idx="1392" formatCode="0.0%">
                  <c:v>0.32338016100250144</c:v>
                </c:pt>
                <c:pt idx="1393" formatCode="0.0%">
                  <c:v>0.31945092554367704</c:v>
                </c:pt>
                <c:pt idx="1394" formatCode="0.0%">
                  <c:v>0.31810497318471531</c:v>
                </c:pt>
                <c:pt idx="1395" formatCode="0.0%">
                  <c:v>0.31810471831298315</c:v>
                </c:pt>
                <c:pt idx="1396" formatCode="0.0%">
                  <c:v>0.31810446344125098</c:v>
                </c:pt>
                <c:pt idx="1397" formatCode="0.0%">
                  <c:v>0.3197568675402323</c:v>
                </c:pt>
                <c:pt idx="1398" formatCode="0.0%">
                  <c:v>0.32542945058937162</c:v>
                </c:pt>
                <c:pt idx="1399" formatCode="0.0%">
                  <c:v>0.31597787508439157</c:v>
                </c:pt>
                <c:pt idx="1400" formatCode="0.0%">
                  <c:v>0.29556068620287135</c:v>
                </c:pt>
                <c:pt idx="1401" formatCode="0.0%">
                  <c:v>0.29790058706640965</c:v>
                </c:pt>
                <c:pt idx="1402" formatCode="0.0%">
                  <c:v>0.29790020556635055</c:v>
                </c:pt>
                <c:pt idx="1403" formatCode="0.0%">
                  <c:v>0.29789995123297841</c:v>
                </c:pt>
                <c:pt idx="1404" formatCode="0.0%">
                  <c:v>0.29558520703786539</c:v>
                </c:pt>
                <c:pt idx="1405" formatCode="0.0%">
                  <c:v>0.30279538787036842</c:v>
                </c:pt>
                <c:pt idx="1406" formatCode="0.0%">
                  <c:v>0.33571512040948565</c:v>
                </c:pt>
                <c:pt idx="1407" formatCode="0.0%">
                  <c:v>0.34361443250385265</c:v>
                </c:pt>
                <c:pt idx="1408" formatCode="0.0%">
                  <c:v>0.35067397184445442</c:v>
                </c:pt>
                <c:pt idx="1409" formatCode="0.0%">
                  <c:v>0.35067371517448948</c:v>
                </c:pt>
                <c:pt idx="1410" formatCode="0.0%">
                  <c:v>0.35067333016954022</c:v>
                </c:pt>
                <c:pt idx="1411" formatCode="0.0%">
                  <c:v>0.36415656249414158</c:v>
                </c:pt>
                <c:pt idx="1412" formatCode="0.0%">
                  <c:v>0.36511236027964972</c:v>
                </c:pt>
                <c:pt idx="1413" formatCode="0.0%">
                  <c:v>0.36422345105647197</c:v>
                </c:pt>
                <c:pt idx="1414" formatCode="0.0%">
                  <c:v>0.36350314441826725</c:v>
                </c:pt>
                <c:pt idx="1415" formatCode="0.0%">
                  <c:v>0.34797910465288823</c:v>
                </c:pt>
                <c:pt idx="1416" formatCode="0.0%">
                  <c:v>0.3479787117057464</c:v>
                </c:pt>
                <c:pt idx="1417" formatCode="0.0%">
                  <c:v>0.3479781877762238</c:v>
                </c:pt>
                <c:pt idx="1418" formatCode="0.0%">
                  <c:v>0.34082782608819029</c:v>
                </c:pt>
                <c:pt idx="1419" formatCode="0.0%">
                  <c:v>0.34361348142376641</c:v>
                </c:pt>
                <c:pt idx="1420" formatCode="0.0%">
                  <c:v>0.35138308923509326</c:v>
                </c:pt>
                <c:pt idx="1421" formatCode="0.0%">
                  <c:v>0.35838643853580832</c:v>
                </c:pt>
                <c:pt idx="1422" formatCode="0.0%">
                  <c:v>0.37775416726262334</c:v>
                </c:pt>
                <c:pt idx="1423" formatCode="0.0%">
                  <c:v>0.37775376964229623</c:v>
                </c:pt>
                <c:pt idx="1424" formatCode="0.0%">
                  <c:v>0.37775350456207835</c:v>
                </c:pt>
                <c:pt idx="1425" formatCode="0.0%">
                  <c:v>0.3777209668746272</c:v>
                </c:pt>
                <c:pt idx="1426" formatCode="0.0%">
                  <c:v>0.38160487812657723</c:v>
                </c:pt>
                <c:pt idx="1427" formatCode="0.0%">
                  <c:v>0.37180800007463433</c:v>
                </c:pt>
                <c:pt idx="1428" formatCode="0.0%">
                  <c:v>0.37215219416932771</c:v>
                </c:pt>
                <c:pt idx="1429" formatCode="0.0%">
                  <c:v>0.37584355666245928</c:v>
                </c:pt>
                <c:pt idx="1430" formatCode="0.0%">
                  <c:v>0.37585217830015838</c:v>
                </c:pt>
                <c:pt idx="1431" formatCode="0.0%">
                  <c:v>0.37585191703840992</c:v>
                </c:pt>
                <c:pt idx="1432" formatCode="0.0%">
                  <c:v>0.3907478931723381</c:v>
                </c:pt>
                <c:pt idx="1433" formatCode="0.0%">
                  <c:v>0.39296703620463913</c:v>
                </c:pt>
                <c:pt idx="1434" formatCode="0.0%">
                  <c:v>0.40279535604701522</c:v>
                </c:pt>
                <c:pt idx="1435" formatCode="0.0%">
                  <c:v>0.39817589091326339</c:v>
                </c:pt>
                <c:pt idx="1436" formatCode="0.0%">
                  <c:v>0.40114278529792957</c:v>
                </c:pt>
                <c:pt idx="1437" formatCode="0.0%">
                  <c:v>0.40114239344693259</c:v>
                </c:pt>
                <c:pt idx="1438" formatCode="0.0%">
                  <c:v>0.40114213221293482</c:v>
                </c:pt>
                <c:pt idx="1439" formatCode="0.0%">
                  <c:v>0.39690905611362071</c:v>
                </c:pt>
                <c:pt idx="1440" formatCode="0.0%">
                  <c:v>0.39658954120385259</c:v>
                </c:pt>
                <c:pt idx="1441" formatCode="0.0%">
                  <c:v>0.40508814725473002</c:v>
                </c:pt>
                <c:pt idx="1442" formatCode="0.0%">
                  <c:v>0.40448805576722435</c:v>
                </c:pt>
                <c:pt idx="1443" formatCode="0.0%">
                  <c:v>0.39750759913963463</c:v>
                </c:pt>
                <c:pt idx="1444" formatCode="0.0%">
                  <c:v>0.39750720451081234</c:v>
                </c:pt>
                <c:pt idx="1445" formatCode="0.0%">
                  <c:v>0.39750707296786969</c:v>
                </c:pt>
                <c:pt idx="1446" formatCode="0.0%">
                  <c:v>0.39930795257731233</c:v>
                </c:pt>
                <c:pt idx="1447" formatCode="0.0%">
                  <c:v>0.39635131720907962</c:v>
                </c:pt>
                <c:pt idx="1448" formatCode="0.0%">
                  <c:v>0.37957305034292915</c:v>
                </c:pt>
                <c:pt idx="1449" formatCode="0.0%">
                  <c:v>0.36867646707954238</c:v>
                </c:pt>
                <c:pt idx="1450" formatCode="0.0%">
                  <c:v>0.36648599742701038</c:v>
                </c:pt>
                <c:pt idx="1451" formatCode="0.0%">
                  <c:v>0.36648559929884927</c:v>
                </c:pt>
                <c:pt idx="1452" formatCode="0.0%">
                  <c:v>0.36648533388007537</c:v>
                </c:pt>
                <c:pt idx="1453" formatCode="0.0%">
                  <c:v>0.37502208245529717</c:v>
                </c:pt>
                <c:pt idx="1454" formatCode="0.0%">
                  <c:v>0.38068576624791689</c:v>
                </c:pt>
                <c:pt idx="1455" formatCode="0.0%">
                  <c:v>0.38067846097389235</c:v>
                </c:pt>
                <c:pt idx="1456" formatCode="0.0%">
                  <c:v>0.37844427945764036</c:v>
                </c:pt>
                <c:pt idx="1457" formatCode="0.0%">
                  <c:v>0.37958268176598126</c:v>
                </c:pt>
                <c:pt idx="1458" formatCode="0.0%">
                  <c:v>0.37958215202735318</c:v>
                </c:pt>
                <c:pt idx="1459" formatCode="0.0%">
                  <c:v>0.37958162228872511</c:v>
                </c:pt>
                <c:pt idx="1460" formatCode="0.0%">
                  <c:v>0.36773881749672993</c:v>
                </c:pt>
                <c:pt idx="1461" formatCode="0.0%">
                  <c:v>0.36740646823862166</c:v>
                </c:pt>
                <c:pt idx="1462" formatCode="0.0%">
                  <c:v>0.36740553561447087</c:v>
                </c:pt>
                <c:pt idx="1463" formatCode="0.0%">
                  <c:v>0.37497605803382328</c:v>
                </c:pt>
                <c:pt idx="1464" formatCode="0.0%">
                  <c:v>0.38177054277305106</c:v>
                </c:pt>
                <c:pt idx="1465" formatCode="0.0%">
                  <c:v>0.38177000637800373</c:v>
                </c:pt>
                <c:pt idx="1466" formatCode="0.0%">
                  <c:v>0.3817694699829548</c:v>
                </c:pt>
                <c:pt idx="1467" formatCode="0.0%">
                  <c:v>0.38487573014231002</c:v>
                </c:pt>
                <c:pt idx="1468" formatCode="0.0%">
                  <c:v>0.38145818935084408</c:v>
                </c:pt>
                <c:pt idx="1469" formatCode="0.0%">
                  <c:v>0.38411012483972173</c:v>
                </c:pt>
                <c:pt idx="1470" formatCode="0.0%">
                  <c:v>0.38579125856596763</c:v>
                </c:pt>
                <c:pt idx="1471" formatCode="0.0%">
                  <c:v>0.37811338688640544</c:v>
                </c:pt>
                <c:pt idx="1472" formatCode="0.0%">
                  <c:v>0.37811284821951519</c:v>
                </c:pt>
                <c:pt idx="1473" formatCode="0.0%">
                  <c:v>0.37811217488590215</c:v>
                </c:pt>
                <c:pt idx="1474" formatCode="0.0%">
                  <c:v>0.37393690205949581</c:v>
                </c:pt>
                <c:pt idx="1475" formatCode="0.0%">
                  <c:v>0.36729668108365243</c:v>
                </c:pt>
                <c:pt idx="1476" formatCode="0.0%">
                  <c:v>0.38175613688034926</c:v>
                </c:pt>
                <c:pt idx="1477" formatCode="0.0%">
                  <c:v>0.39323903745379257</c:v>
                </c:pt>
                <c:pt idx="1478" formatCode="0.0%">
                  <c:v>0.40162075597707597</c:v>
                </c:pt>
                <c:pt idx="1479" formatCode="0.0%">
                  <c:v>0.40162022004453518</c:v>
                </c:pt>
                <c:pt idx="1480" formatCode="0.0%">
                  <c:v>0.40161968411199467</c:v>
                </c:pt>
                <c:pt idx="1481" formatCode="0.0%">
                  <c:v>0.39726394877331161</c:v>
                </c:pt>
                <c:pt idx="1482" formatCode="0.0%">
                  <c:v>0.40524459967634557</c:v>
                </c:pt>
                <c:pt idx="1483" formatCode="0.0%">
                  <c:v>0.41649496747645459</c:v>
                </c:pt>
                <c:pt idx="1484" formatCode="0.0%">
                  <c:v>0.42330354264527725</c:v>
                </c:pt>
                <c:pt idx="1485" formatCode="0.0%">
                  <c:v>0.41613790213080137</c:v>
                </c:pt>
                <c:pt idx="1486" formatCode="0.0%">
                  <c:v>0.41613737713935961</c:v>
                </c:pt>
                <c:pt idx="1487" formatCode="0.0%">
                  <c:v>0.41613698339577809</c:v>
                </c:pt>
                <c:pt idx="1488" formatCode="0.0%">
                  <c:v>0.39433051925559792</c:v>
                </c:pt>
                <c:pt idx="1489" formatCode="0.0%">
                  <c:v>0.4086090393559928</c:v>
                </c:pt>
                <c:pt idx="1490" formatCode="0.0%">
                  <c:v>0.41211898866191887</c:v>
                </c:pt>
                <c:pt idx="1491" formatCode="0.0%">
                  <c:v>0.41788404620234249</c:v>
                </c:pt>
                <c:pt idx="1492" formatCode="0.0%">
                  <c:v>0.42288261024088514</c:v>
                </c:pt>
                <c:pt idx="1493" formatCode="0.0%">
                  <c:v>0.42288221184354396</c:v>
                </c:pt>
                <c:pt idx="1494" formatCode="0.0%">
                  <c:v>0.42288194624531711</c:v>
                </c:pt>
                <c:pt idx="1495" formatCode="0.0%">
                  <c:v>0.41955385503563208</c:v>
                </c:pt>
                <c:pt idx="1496" formatCode="0.0%">
                  <c:v>0.41805657862781403</c:v>
                </c:pt>
                <c:pt idx="1497" formatCode="0.0%">
                  <c:v>0.41823473334709604</c:v>
                </c:pt>
                <c:pt idx="1498" formatCode="0.0%">
                  <c:v>0.43065814537031655</c:v>
                </c:pt>
                <c:pt idx="1499" formatCode="0.0%">
                  <c:v>0.42763757199732649</c:v>
                </c:pt>
                <c:pt idx="1500" formatCode="0.0%">
                  <c:v>0.42763703832552724</c:v>
                </c:pt>
                <c:pt idx="1501" formatCode="0.0%">
                  <c:v>0.42763650465372932</c:v>
                </c:pt>
                <c:pt idx="1502" formatCode="0.0%">
                  <c:v>0.43445318780026754</c:v>
                </c:pt>
                <c:pt idx="1503" formatCode="0.0%">
                  <c:v>0.43278127236884018</c:v>
                </c:pt>
                <c:pt idx="1504" formatCode="0.0%">
                  <c:v>0.42446049622314147</c:v>
                </c:pt>
                <c:pt idx="1505" formatCode="0.0%">
                  <c:v>0.42872202882555427</c:v>
                </c:pt>
                <c:pt idx="1506" formatCode="0.0%">
                  <c:v>0.42532158127453501</c:v>
                </c:pt>
                <c:pt idx="1507" formatCode="0.0%">
                  <c:v>0.42532092471147676</c:v>
                </c:pt>
                <c:pt idx="1508" formatCode="0.0%">
                  <c:v>0.42532039946103029</c:v>
                </c:pt>
                <c:pt idx="1509" formatCode="0.0%">
                  <c:v>0.42803555484653688</c:v>
                </c:pt>
                <c:pt idx="1510" formatCode="0.0%">
                  <c:v>0.43223235693788836</c:v>
                </c:pt>
                <c:pt idx="1511" formatCode="0.0%">
                  <c:v>0.43370288116943473</c:v>
                </c:pt>
                <c:pt idx="1512" formatCode="0.0%">
                  <c:v>0.42319038788612884</c:v>
                </c:pt>
                <c:pt idx="1513" formatCode="0.0%">
                  <c:v>0.4128506251520952</c:v>
                </c:pt>
                <c:pt idx="1514" formatCode="0.0%">
                  <c:v>0.4128502291218723</c:v>
                </c:pt>
                <c:pt idx="1515" formatCode="0.0%">
                  <c:v>0.41284996510172334</c:v>
                </c:pt>
                <c:pt idx="1516" formatCode="0.0%">
                  <c:v>0.39744660486305661</c:v>
                </c:pt>
                <c:pt idx="1517" formatCode="0.0%">
                  <c:v>0.38518696921989032</c:v>
                </c:pt>
                <c:pt idx="1518" formatCode="0.0%">
                  <c:v>0.39030788256722049</c:v>
                </c:pt>
                <c:pt idx="1519" formatCode="0.0%">
                  <c:v>0.38433231867887002</c:v>
                </c:pt>
                <c:pt idx="1520" formatCode="0.0%">
                  <c:v>0.38441793311412226</c:v>
                </c:pt>
                <c:pt idx="1521" formatCode="0.0%">
                  <c:v>0.38441753512193882</c:v>
                </c:pt>
                <c:pt idx="1522" formatCode="0.0%">
                  <c:v>0.38441713712975312</c:v>
                </c:pt>
                <c:pt idx="1523" formatCode="0.0%">
                  <c:v>0.37320866246045853</c:v>
                </c:pt>
                <c:pt idx="1524" formatCode="0.0%">
                  <c:v>0.34843205918938625</c:v>
                </c:pt>
                <c:pt idx="1525" formatCode="0.0%">
                  <c:v>0.33770944026917477</c:v>
                </c:pt>
                <c:pt idx="1526" formatCode="0.0%">
                  <c:v>0.32101589446536422</c:v>
                </c:pt>
                <c:pt idx="1527" formatCode="0.0%">
                  <c:v>0.30736770149128634</c:v>
                </c:pt>
                <c:pt idx="1528" formatCode="0.0%">
                  <c:v>0.3073674476130222</c:v>
                </c:pt>
                <c:pt idx="1529" formatCode="0.0%">
                  <c:v>0.30736706679562559</c:v>
                </c:pt>
                <c:pt idx="1530" formatCode="0.0%">
                  <c:v>0.28484328005487553</c:v>
                </c:pt>
                <c:pt idx="1531" formatCode="0.0%">
                  <c:v>0.26425977976067672</c:v>
                </c:pt>
                <c:pt idx="1532" formatCode="0.0%">
                  <c:v>0.26908404848503209</c:v>
                </c:pt>
                <c:pt idx="1533" formatCode="0.0%">
                  <c:v>0.26513720801743473</c:v>
                </c:pt>
                <c:pt idx="1534" formatCode="0.0%">
                  <c:v>0.27662183000184015</c:v>
                </c:pt>
                <c:pt idx="1535" formatCode="0.0%">
                  <c:v>0.27662157609397525</c:v>
                </c:pt>
                <c:pt idx="1536" formatCode="0.0%">
                  <c:v>0.27662119523217799</c:v>
                </c:pt>
                <c:pt idx="1537" formatCode="0.0%">
                  <c:v>0.28369401412338535</c:v>
                </c:pt>
                <c:pt idx="1538" formatCode="0.0%">
                  <c:v>0.28168414655336649</c:v>
                </c:pt>
                <c:pt idx="1539" formatCode="0.0%">
                  <c:v>0.29093154350345346</c:v>
                </c:pt>
                <c:pt idx="1540" formatCode="0.0%">
                  <c:v>0.29624661675578667</c:v>
                </c:pt>
                <c:pt idx="1541" formatCode="0.0%">
                  <c:v>0.29369563390080944</c:v>
                </c:pt>
                <c:pt idx="1542" formatCode="0.0%">
                  <c:v>0.29369537857026901</c:v>
                </c:pt>
                <c:pt idx="1543" formatCode="0.0%">
                  <c:v>0.29369499557445777</c:v>
                </c:pt>
                <c:pt idx="1544" formatCode="0.0%">
                  <c:v>0.30840632159504933</c:v>
                </c:pt>
                <c:pt idx="1545" formatCode="0.0%">
                  <c:v>0.31511133403778302</c:v>
                </c:pt>
                <c:pt idx="1546" formatCode="0.0%">
                  <c:v>0.30547941969250075</c:v>
                </c:pt>
                <c:pt idx="1547" formatCode="0.0%">
                  <c:v>0.29633167720031822</c:v>
                </c:pt>
                <c:pt idx="1548" formatCode="0.0%">
                  <c:v>0.27558328643304292</c:v>
                </c:pt>
                <c:pt idx="1549" formatCode="0.0%">
                  <c:v>0.27558277624187028</c:v>
                </c:pt>
                <c:pt idx="1550" formatCode="0.0%">
                  <c:v>0.27558226605069747</c:v>
                </c:pt>
                <c:pt idx="1551" formatCode="0.0%">
                  <c:v>0.26308467974875116</c:v>
                </c:pt>
                <c:pt idx="1552" formatCode="0.0%">
                  <c:v>0.27011676414543145</c:v>
                </c:pt>
                <c:pt idx="1553" formatCode="0.0%">
                  <c:v>0.27100789754747995</c:v>
                </c:pt>
                <c:pt idx="1554" formatCode="0.0%">
                  <c:v>0.21590811188338718</c:v>
                </c:pt>
                <c:pt idx="1555" formatCode="0.0%">
                  <c:v>0.1693565641656356</c:v>
                </c:pt>
                <c:pt idx="1556" formatCode="0.0%">
                  <c:v>0.16935631295511783</c:v>
                </c:pt>
                <c:pt idx="1557" formatCode="0.0%">
                  <c:v>0.16935606174460374</c:v>
                </c:pt>
                <c:pt idx="1558" formatCode="0.0%">
                  <c:v>0.13687534110787594</c:v>
                </c:pt>
                <c:pt idx="1559" formatCode="0.0%">
                  <c:v>0.14632527417428151</c:v>
                </c:pt>
                <c:pt idx="1560" formatCode="0.0%">
                  <c:v>0.1649689708353779</c:v>
                </c:pt>
                <c:pt idx="1561" formatCode="0.0%">
                  <c:v>0.17234608809036955</c:v>
                </c:pt>
                <c:pt idx="1562" formatCode="0.0%">
                  <c:v>0.16303405686334899</c:v>
                </c:pt>
                <c:pt idx="1563" formatCode="0.0%">
                  <c:v>0.16303369127265441</c:v>
                </c:pt>
                <c:pt idx="1564" formatCode="0.0%">
                  <c:v>0.16305660162285279</c:v>
                </c:pt>
                <c:pt idx="1565" formatCode="0.0%">
                  <c:v>0.17754414015850656</c:v>
                </c:pt>
                <c:pt idx="1566" formatCode="0.0%">
                  <c:v>0.18585523142813146</c:v>
                </c:pt>
                <c:pt idx="1567" formatCode="0.0%">
                  <c:v>0.16833221406590654</c:v>
                </c:pt>
                <c:pt idx="1568" formatCode="0.0%">
                  <c:v>0.16658786147350044</c:v>
                </c:pt>
                <c:pt idx="1569" formatCode="0.0%">
                  <c:v>0.1665973545658386</c:v>
                </c:pt>
                <c:pt idx="1570" formatCode="0.0%">
                  <c:v>0.16659686774059027</c:v>
                </c:pt>
                <c:pt idx="1571" formatCode="0.0%">
                  <c:v>0.16659638091534235</c:v>
                </c:pt>
                <c:pt idx="1572" formatCode="0.0%">
                  <c:v>0.16079027986279626</c:v>
                </c:pt>
                <c:pt idx="1573" formatCode="0.0%">
                  <c:v>0.15332519929123833</c:v>
                </c:pt>
                <c:pt idx="1574" formatCode="0.0%">
                  <c:v>0.18773048017848978</c:v>
                </c:pt>
                <c:pt idx="1575" formatCode="0.0%">
                  <c:v>0.20102412585622859</c:v>
                </c:pt>
                <c:pt idx="1576" formatCode="0.0%">
                  <c:v>0.21279972213090148</c:v>
                </c:pt>
                <c:pt idx="1577" formatCode="0.0%">
                  <c:v>0.21279947915118513</c:v>
                </c:pt>
                <c:pt idx="1578" formatCode="0.0%">
                  <c:v>0.21279911468161103</c:v>
                </c:pt>
                <c:pt idx="1579" formatCode="0.0%">
                  <c:v>0.21603381242355879</c:v>
                </c:pt>
                <c:pt idx="1580" formatCode="0.0%">
                  <c:v>0.21913949530952209</c:v>
                </c:pt>
                <c:pt idx="1581" formatCode="0.0%">
                  <c:v>0.22460802832005386</c:v>
                </c:pt>
                <c:pt idx="1582" formatCode="0.0%">
                  <c:v>0.23164687992327898</c:v>
                </c:pt>
                <c:pt idx="1583" formatCode="0.0%">
                  <c:v>0.25115639991136218</c:v>
                </c:pt>
                <c:pt idx="1584" formatCode="0.0%">
                  <c:v>0.25119100817587325</c:v>
                </c:pt>
                <c:pt idx="1585" formatCode="0.0%">
                  <c:v>0.25119064387835022</c:v>
                </c:pt>
                <c:pt idx="1586" formatCode="0.0%">
                  <c:v>0.25475550472975156</c:v>
                </c:pt>
                <c:pt idx="1587" formatCode="0.0%">
                  <c:v>0.2507960013397792</c:v>
                </c:pt>
                <c:pt idx="1588" formatCode="0.0%">
                  <c:v>0.2499413889853028</c:v>
                </c:pt>
                <c:pt idx="1589" formatCode="0.0%">
                  <c:v>0.26293500815270265</c:v>
                </c:pt>
                <c:pt idx="1590" formatCode="0.0%">
                  <c:v>0.26608873127620286</c:v>
                </c:pt>
                <c:pt idx="1591" formatCode="0.0%">
                  <c:v>0.2660883638178993</c:v>
                </c:pt>
                <c:pt idx="1592" formatCode="0.0%">
                  <c:v>0.26608811884569489</c:v>
                </c:pt>
                <c:pt idx="1593" formatCode="0.0%">
                  <c:v>0.30557411149626007</c:v>
                </c:pt>
                <c:pt idx="1594" formatCode="0.0%">
                  <c:v>0.31441168286497062</c:v>
                </c:pt>
                <c:pt idx="1595" formatCode="0.0%">
                  <c:v>0.31369886368562616</c:v>
                </c:pt>
                <c:pt idx="1596" formatCode="0.0%">
                  <c:v>0.31674036229960789</c:v>
                </c:pt>
                <c:pt idx="1597" formatCode="0.0%">
                  <c:v>0.3257291152914118</c:v>
                </c:pt>
                <c:pt idx="1598" formatCode="0.0%">
                  <c:v>0.32572886785311428</c:v>
                </c:pt>
                <c:pt idx="1599" formatCode="0.0%">
                  <c:v>0.32572862041481726</c:v>
                </c:pt>
                <c:pt idx="1600" formatCode="0.0%">
                  <c:v>0.31981399065475158</c:v>
                </c:pt>
                <c:pt idx="1601" formatCode="0.0%">
                  <c:v>0.32039099863168502</c:v>
                </c:pt>
                <c:pt idx="1602" formatCode="0.0%">
                  <c:v>0.30534711208932008</c:v>
                </c:pt>
                <c:pt idx="1603" formatCode="0.0%">
                  <c:v>0.30318029951513126</c:v>
                </c:pt>
                <c:pt idx="1604" formatCode="0.0%">
                  <c:v>0.29197274914390875</c:v>
                </c:pt>
                <c:pt idx="1605" formatCode="0.0%">
                  <c:v>0.29197238421645122</c:v>
                </c:pt>
                <c:pt idx="1606" formatCode="0.0%">
                  <c:v>0.29197201928899374</c:v>
                </c:pt>
                <c:pt idx="1607" formatCode="0.0%">
                  <c:v>0.2912472463005375</c:v>
                </c:pt>
                <c:pt idx="1608" formatCode="0.0%">
                  <c:v>0.30711781838665586</c:v>
                </c:pt>
                <c:pt idx="1609" formatCode="0.0%">
                  <c:v>0.30924587959228605</c:v>
                </c:pt>
                <c:pt idx="1610" formatCode="0.0%">
                  <c:v>0.3075204707050091</c:v>
                </c:pt>
                <c:pt idx="1611" formatCode="0.0%">
                  <c:v>0.30478064014452855</c:v>
                </c:pt>
                <c:pt idx="1612" formatCode="0.0%">
                  <c:v>0.30467014111882096</c:v>
                </c:pt>
                <c:pt idx="1613" formatCode="0.0%">
                  <c:v>0.3046697764355662</c:v>
                </c:pt>
                <c:pt idx="1614" formatCode="0.0%">
                  <c:v>0.29913876548716756</c:v>
                </c:pt>
                <c:pt idx="1615" formatCode="0.0%">
                  <c:v>0.30723120935902642</c:v>
                </c:pt>
                <c:pt idx="1616" formatCode="0.0%">
                  <c:v>0.31229425578396675</c:v>
                </c:pt>
                <c:pt idx="1617" formatCode="0.0%">
                  <c:v>0.31153949295031852</c:v>
                </c:pt>
                <c:pt idx="1618" formatCode="0.0%">
                  <c:v>0.32138147250116134</c:v>
                </c:pt>
                <c:pt idx="1619" formatCode="0.0%">
                  <c:v>0.32138086666140053</c:v>
                </c:pt>
                <c:pt idx="1620" formatCode="0.0%">
                  <c:v>0.32138026082163917</c:v>
                </c:pt>
                <c:pt idx="1621" formatCode="0.0%">
                  <c:v>0.32209701127340989</c:v>
                </c:pt>
                <c:pt idx="1622" formatCode="0.0%">
                  <c:v>0.32430748674555188</c:v>
                </c:pt>
                <c:pt idx="1623" formatCode="0.0%">
                  <c:v>0.32068118556336711</c:v>
                </c:pt>
                <c:pt idx="1624" formatCode="0.0%">
                  <c:v>0.31041365350343197</c:v>
                </c:pt>
                <c:pt idx="1625" formatCode="0.0%">
                  <c:v>0.30008336782194706</c:v>
                </c:pt>
                <c:pt idx="1626" formatCode="0.0%">
                  <c:v>0.30008300922992931</c:v>
                </c:pt>
                <c:pt idx="1627" formatCode="0.0%">
                  <c:v>0.30008265063791212</c:v>
                </c:pt>
                <c:pt idx="1628" formatCode="0.0%">
                  <c:v>0.30245743143507214</c:v>
                </c:pt>
                <c:pt idx="1629" formatCode="0.0%">
                  <c:v>0.30130580932295969</c:v>
                </c:pt>
                <c:pt idx="1630" formatCode="0.0%">
                  <c:v>0.29867136571237352</c:v>
                </c:pt>
                <c:pt idx="1631" formatCode="0.0%">
                  <c:v>0.29702404295274593</c:v>
                </c:pt>
                <c:pt idx="1632" formatCode="0.0%">
                  <c:v>0.29000006872884398</c:v>
                </c:pt>
                <c:pt idx="1633" formatCode="0.0%">
                  <c:v>0.2899994695584539</c:v>
                </c:pt>
                <c:pt idx="1634" formatCode="0.0%">
                  <c:v>0.28999887038806405</c:v>
                </c:pt>
                <c:pt idx="1635" formatCode="0.0%">
                  <c:v>0.29116371510304673</c:v>
                </c:pt>
                <c:pt idx="1636" formatCode="0.0%">
                  <c:v>0.30251224774081464</c:v>
                </c:pt>
                <c:pt idx="1637" formatCode="0.0%">
                  <c:v>0.30548576839183911</c:v>
                </c:pt>
                <c:pt idx="1638" formatCode="0.0%">
                  <c:v>0.30347565262315723</c:v>
                </c:pt>
                <c:pt idx="1639" formatCode="0.0%">
                  <c:v>0.31228510663878184</c:v>
                </c:pt>
                <c:pt idx="1640" formatCode="0.0%">
                  <c:v>0.31228475330270983</c:v>
                </c:pt>
                <c:pt idx="1641" formatCode="0.0%">
                  <c:v>0.31228428218794735</c:v>
                </c:pt>
                <c:pt idx="1642" formatCode="0.0%">
                  <c:v>0.31534231425272624</c:v>
                </c:pt>
                <c:pt idx="1643" formatCode="0.0%">
                  <c:v>0.30884504932579887</c:v>
                </c:pt>
                <c:pt idx="1644" formatCode="0.0%">
                  <c:v>0.30935482193217523</c:v>
                </c:pt>
                <c:pt idx="1645" formatCode="0.0%">
                  <c:v>0.32070224128075719</c:v>
                </c:pt>
                <c:pt idx="1646" formatCode="0.0%">
                  <c:v>0.31950782460709887</c:v>
                </c:pt>
                <c:pt idx="1647" formatCode="0.0%">
                  <c:v>0.31950747300265847</c:v>
                </c:pt>
                <c:pt idx="1648" formatCode="0.0%">
                  <c:v>0.31950712139821602</c:v>
                </c:pt>
                <c:pt idx="1649" formatCode="0.0%">
                  <c:v>0.32029595044947373</c:v>
                </c:pt>
                <c:pt idx="1650" formatCode="0.0%">
                  <c:v>0.32062887094709308</c:v>
                </c:pt>
                <c:pt idx="1651" formatCode="0.0%">
                  <c:v>0.3254300929173442</c:v>
                </c:pt>
                <c:pt idx="1652" formatCode="0.0%">
                  <c:v>0.32923827583179988</c:v>
                </c:pt>
                <c:pt idx="1653" formatCode="0.0%">
                  <c:v>0.32223537888650666</c:v>
                </c:pt>
                <c:pt idx="1654" formatCode="0.0%">
                  <c:v>0.32223502476231858</c:v>
                </c:pt>
                <c:pt idx="1655" formatCode="0.0%">
                  <c:v>0.32223467063813244</c:v>
                </c:pt>
                <c:pt idx="1656" formatCode="0.0%">
                  <c:v>0.3217746808548182</c:v>
                </c:pt>
                <c:pt idx="1657" formatCode="0.0%">
                  <c:v>0.32824048958787388</c:v>
                </c:pt>
                <c:pt idx="1658" formatCode="0.0%">
                  <c:v>0.32842222779083641</c:v>
                </c:pt>
                <c:pt idx="1659" formatCode="0.0%">
                  <c:v>0.33804299951865202</c:v>
                </c:pt>
                <c:pt idx="1660" formatCode="0.0%">
                  <c:v>0.3355551844106287</c:v>
                </c:pt>
                <c:pt idx="1661" formatCode="0.0%">
                  <c:v>0.33555482875184167</c:v>
                </c:pt>
                <c:pt idx="1662" formatCode="0.0%">
                  <c:v>0.33555447309305236</c:v>
                </c:pt>
                <c:pt idx="1663" formatCode="0.0%">
                  <c:v>0.33188870479944682</c:v>
                </c:pt>
                <c:pt idx="1664" formatCode="0.0%">
                  <c:v>0.32615460421762121</c:v>
                </c:pt>
                <c:pt idx="1665" formatCode="0.0%">
                  <c:v>0.33477352642363312</c:v>
                </c:pt>
                <c:pt idx="1666" formatCode="0.0%">
                  <c:v>0.33835666344825455</c:v>
                </c:pt>
                <c:pt idx="1667" formatCode="0.0%">
                  <c:v>0.34198089174268742</c:v>
                </c:pt>
                <c:pt idx="1668" formatCode="0.0%">
                  <c:v>0.34198030313599104</c:v>
                </c:pt>
                <c:pt idx="1669" formatCode="0.0%">
                  <c:v>0.34197971452929321</c:v>
                </c:pt>
                <c:pt idx="1670" formatCode="0.0%">
                  <c:v>0.35154961597133566</c:v>
                </c:pt>
                <c:pt idx="1671" formatCode="0.0%">
                  <c:v>0.35773427081718778</c:v>
                </c:pt>
                <c:pt idx="1672" formatCode="0.0%">
                  <c:v>0.3581545720752109</c:v>
                </c:pt>
                <c:pt idx="1673" formatCode="0.0%">
                  <c:v>0.35816293839439484</c:v>
                </c:pt>
                <c:pt idx="1674" formatCode="0.0%">
                  <c:v>0.32847652716758347</c:v>
                </c:pt>
                <c:pt idx="1675" formatCode="0.0%">
                  <c:v>0.32847616868101798</c:v>
                </c:pt>
                <c:pt idx="1676" formatCode="0.0%">
                  <c:v>0.32847581019445243</c:v>
                </c:pt>
                <c:pt idx="1677" formatCode="0.0%">
                  <c:v>0.33241921481567827</c:v>
                </c:pt>
                <c:pt idx="1678" formatCode="0.0%">
                  <c:v>0.3342457180929071</c:v>
                </c:pt>
                <c:pt idx="1679" formatCode="0.0%">
                  <c:v>0.32955931596571758</c:v>
                </c:pt>
                <c:pt idx="1680" formatCode="0.0%">
                  <c:v>0.33505971681555108</c:v>
                </c:pt>
                <c:pt idx="1681" formatCode="0.0%">
                  <c:v>0.33132097874276328</c:v>
                </c:pt>
                <c:pt idx="1682" formatCode="0.0%">
                  <c:v>0.33143374866716924</c:v>
                </c:pt>
                <c:pt idx="1683" formatCode="0.0%">
                  <c:v>0.33143339329976046</c:v>
                </c:pt>
                <c:pt idx="1684" formatCode="0.0%">
                  <c:v>0.33344481978581458</c:v>
                </c:pt>
                <c:pt idx="1685" formatCode="0.0%">
                  <c:v>0.33552760731546383</c:v>
                </c:pt>
                <c:pt idx="1686" formatCode="0.0%">
                  <c:v>0.33907712636342441</c:v>
                </c:pt>
                <c:pt idx="1687" formatCode="0.0%">
                  <c:v>0.34339918026559191</c:v>
                </c:pt>
                <c:pt idx="1688" formatCode="0.0%">
                  <c:v>0.3404074623878327</c:v>
                </c:pt>
                <c:pt idx="1689" formatCode="0.0%">
                  <c:v>0.34040710870487911</c:v>
                </c:pt>
                <c:pt idx="1690" formatCode="0.0%">
                  <c:v>0.34040675502192586</c:v>
                </c:pt>
                <c:pt idx="1691" formatCode="0.0%">
                  <c:v>0.34405337649058426</c:v>
                </c:pt>
                <c:pt idx="1692" formatCode="0.0%">
                  <c:v>0.34113020002017097</c:v>
                </c:pt>
                <c:pt idx="1693" formatCode="0.0%">
                  <c:v>0.33634031555547833</c:v>
                </c:pt>
                <c:pt idx="1694" formatCode="0.0%">
                  <c:v>0.33584378010434024</c:v>
                </c:pt>
                <c:pt idx="1695" formatCode="0.0%">
                  <c:v>0.34144758188372182</c:v>
                </c:pt>
                <c:pt idx="1696" formatCode="0.0%">
                  <c:v>0.34144687476201996</c:v>
                </c:pt>
                <c:pt idx="1697" formatCode="0.0%">
                  <c:v>0.34144628549393502</c:v>
                </c:pt>
                <c:pt idx="1698" formatCode="0.0%">
                  <c:v>0.34305337848058204</c:v>
                </c:pt>
                <c:pt idx="1699" formatCode="0.0%">
                  <c:v>0.34471205942914623</c:v>
                </c:pt>
                <c:pt idx="1700" formatCode="0.0%">
                  <c:v>0.35204509682283147</c:v>
                </c:pt>
                <c:pt idx="1701" formatCode="0.0%">
                  <c:v>0.34935592810945848</c:v>
                </c:pt>
                <c:pt idx="1702" formatCode="0.0%">
                  <c:v>0.34192049103552447</c:v>
                </c:pt>
                <c:pt idx="1703" formatCode="0.0%">
                  <c:v>0.34191990112917808</c:v>
                </c:pt>
                <c:pt idx="1704" formatCode="0.0%">
                  <c:v>0.34180534131666518</c:v>
                </c:pt>
                <c:pt idx="1705" formatCode="0.0%">
                  <c:v>0.33987428418835802</c:v>
                </c:pt>
                <c:pt idx="1706" formatCode="0.0%">
                  <c:v>0.33242815505136802</c:v>
                </c:pt>
                <c:pt idx="1707" formatCode="0.0%">
                  <c:v>0.3359638156195493</c:v>
                </c:pt>
                <c:pt idx="1708" formatCode="0.0%">
                  <c:v>0.34488677677207874</c:v>
                </c:pt>
                <c:pt idx="1709" formatCode="0.0%">
                  <c:v>0.34259110227215955</c:v>
                </c:pt>
                <c:pt idx="1710" formatCode="0.0%">
                  <c:v>0.34259074923856814</c:v>
                </c:pt>
                <c:pt idx="1711" formatCode="0.0%">
                  <c:v>0.34259039620497672</c:v>
                </c:pt>
                <c:pt idx="1712" formatCode="0.0%">
                  <c:v>0.34650666229908184</c:v>
                </c:pt>
                <c:pt idx="1713" formatCode="0.0%">
                  <c:v>0.35064528755226432</c:v>
                </c:pt>
                <c:pt idx="1714" formatCode="0.0%">
                  <c:v>0.35395516811136818</c:v>
                </c:pt>
                <c:pt idx="1715" formatCode="0.0%">
                  <c:v>0.35887175719238174</c:v>
                </c:pt>
                <c:pt idx="1716" formatCode="0.0%">
                  <c:v>0.35973622920485837</c:v>
                </c:pt>
                <c:pt idx="1717" formatCode="0.0%">
                  <c:v>0.35973564042703232</c:v>
                </c:pt>
                <c:pt idx="1718" formatCode="0.0%">
                  <c:v>0.35973505164920622</c:v>
                </c:pt>
                <c:pt idx="1719" formatCode="0.0%">
                  <c:v>0.36160052433163342</c:v>
                </c:pt>
                <c:pt idx="1720" formatCode="0.0%">
                  <c:v>0.35398055869156991</c:v>
                </c:pt>
                <c:pt idx="1721" formatCode="0.0%">
                  <c:v>0.35278912669935863</c:v>
                </c:pt>
                <c:pt idx="1722" formatCode="0.0%">
                  <c:v>0.36581940592678419</c:v>
                </c:pt>
                <c:pt idx="1723" formatCode="0.0%">
                  <c:v>0.37122299176696882</c:v>
                </c:pt>
                <c:pt idx="1724" formatCode="0.0%">
                  <c:v>0.37122263942713801</c:v>
                </c:pt>
                <c:pt idx="1725" formatCode="0.0%">
                  <c:v>0.37122228708731114</c:v>
                </c:pt>
                <c:pt idx="1726" formatCode="0.0%">
                  <c:v>0.37248922163243831</c:v>
                </c:pt>
                <c:pt idx="1727" formatCode="0.0%">
                  <c:v>0.36872883390376532</c:v>
                </c:pt>
                <c:pt idx="1728" formatCode="0.0%">
                  <c:v>0.36599874801984728</c:v>
                </c:pt>
                <c:pt idx="1729" formatCode="0.0%">
                  <c:v>0.36125686006159641</c:v>
                </c:pt>
                <c:pt idx="1730" formatCode="0.0%">
                  <c:v>0.36326036805963097</c:v>
                </c:pt>
                <c:pt idx="1731" formatCode="0.0%">
                  <c:v>0.36326001372176592</c:v>
                </c:pt>
                <c:pt idx="1732" formatCode="0.0%">
                  <c:v>0.36325965938390115</c:v>
                </c:pt>
                <c:pt idx="1733" formatCode="0.0%">
                  <c:v>0.36624280534546644</c:v>
                </c:pt>
                <c:pt idx="1734" formatCode="0.0%">
                  <c:v>0.36929449336929193</c:v>
                </c:pt>
                <c:pt idx="1735" formatCode="0.0%">
                  <c:v>0.37586347446579227</c:v>
                </c:pt>
                <c:pt idx="1736" formatCode="0.0%">
                  <c:v>0.38568583564586928</c:v>
                </c:pt>
                <c:pt idx="1737" formatCode="0.0%">
                  <c:v>0.38863362945088054</c:v>
                </c:pt>
                <c:pt idx="1738" formatCode="0.0%">
                  <c:v>0.38863327645336454</c:v>
                </c:pt>
                <c:pt idx="1739" formatCode="0.0%">
                  <c:v>0.3886328057900087</c:v>
                </c:pt>
                <c:pt idx="1740" formatCode="0.0%">
                  <c:v>0.39622049899211703</c:v>
                </c:pt>
                <c:pt idx="1741" formatCode="0.0%">
                  <c:v>0.39768914015121309</c:v>
                </c:pt>
                <c:pt idx="1742" formatCode="0.0%">
                  <c:v>0.40650429740701954</c:v>
                </c:pt>
                <c:pt idx="1743" formatCode="0.0%">
                  <c:v>0.40929633699680523</c:v>
                </c:pt>
                <c:pt idx="1744" formatCode="0.0%">
                  <c:v>0.38877780543139523</c:v>
                </c:pt>
                <c:pt idx="1745" formatCode="0.0%">
                  <c:v>0.38873497527982748</c:v>
                </c:pt>
                <c:pt idx="1746" formatCode="0.0%">
                  <c:v>0.38873461736769743</c:v>
                </c:pt>
                <c:pt idx="1747" formatCode="0.0%">
                  <c:v>0.3905212053915369</c:v>
                </c:pt>
                <c:pt idx="1748" formatCode="0.0%">
                  <c:v>0.38390852099789924</c:v>
                </c:pt>
                <c:pt idx="1749" formatCode="0.0%">
                  <c:v>0.39001760319028478</c:v>
                </c:pt>
                <c:pt idx="1750" formatCode="0.0%">
                  <c:v>0.38498798638360482</c:v>
                </c:pt>
                <c:pt idx="1751" formatCode="0.0%">
                  <c:v>0.37942044772010719</c:v>
                </c:pt>
                <c:pt idx="1752" formatCode="0.0%">
                  <c:v>0.37942009241930152</c:v>
                </c:pt>
                <c:pt idx="1753" formatCode="0.0%">
                  <c:v>0.37941973711849386</c:v>
                </c:pt>
                <c:pt idx="1754" formatCode="0.0%">
                  <c:v>0.39539822950360076</c:v>
                </c:pt>
                <c:pt idx="1755" formatCode="0.0%">
                  <c:v>0.40391237444940148</c:v>
                </c:pt>
                <c:pt idx="1756" formatCode="0.0%">
                  <c:v>0.39939100300471297</c:v>
                </c:pt>
                <c:pt idx="1757" formatCode="0.0%">
                  <c:v>0.40259403811863903</c:v>
                </c:pt>
                <c:pt idx="1758" formatCode="0.0%">
                  <c:v>0.41153619623757576</c:v>
                </c:pt>
                <c:pt idx="1759" formatCode="0.0%">
                  <c:v>0.41153572077523393</c:v>
                </c:pt>
                <c:pt idx="1760" formatCode="0.0%">
                  <c:v>0.41153512644730539</c:v>
                </c:pt>
                <c:pt idx="1761" formatCode="0.0%">
                  <c:v>0.42144237383112537</c:v>
                </c:pt>
                <c:pt idx="1762" formatCode="0.0%">
                  <c:v>0.42316113556793938</c:v>
                </c:pt>
                <c:pt idx="1763" formatCode="0.0%">
                  <c:v>0.42273951512031516</c:v>
                </c:pt>
                <c:pt idx="1764" formatCode="0.0%">
                  <c:v>0.42056603944189874</c:v>
                </c:pt>
                <c:pt idx="1765" formatCode="0.0%">
                  <c:v>0.42273071190274064</c:v>
                </c:pt>
                <c:pt idx="1766" formatCode="0.0%">
                  <c:v>0.42273023314733732</c:v>
                </c:pt>
                <c:pt idx="1767" formatCode="0.0%">
                  <c:v>0.42272987408078821</c:v>
                </c:pt>
                <c:pt idx="1768" formatCode="0.0%">
                  <c:v>0.4260169678876653</c:v>
                </c:pt>
                <c:pt idx="1769" formatCode="0.0%">
                  <c:v>0.41526505470437569</c:v>
                </c:pt>
                <c:pt idx="1770" formatCode="0.0%">
                  <c:v>0.41370747330643243</c:v>
                </c:pt>
                <c:pt idx="1771" formatCode="0.0%">
                  <c:v>0.39838171157372726</c:v>
                </c:pt>
                <c:pt idx="1772" formatCode="0.0%">
                  <c:v>0.38694873866062435</c:v>
                </c:pt>
                <c:pt idx="1773" formatCode="0.0%">
                  <c:v>0.38694838057089131</c:v>
                </c:pt>
                <c:pt idx="1774" formatCode="0.0%">
                  <c:v>0.38694814184440218</c:v>
                </c:pt>
                <c:pt idx="1775" formatCode="0.0%">
                  <c:v>0.40520654186503891</c:v>
                </c:pt>
                <c:pt idx="1776" formatCode="0.0%">
                  <c:v>0.40809064998953232</c:v>
                </c:pt>
                <c:pt idx="1777" formatCode="0.0%">
                  <c:v>0.41146020698798735</c:v>
                </c:pt>
                <c:pt idx="1778" formatCode="0.0%">
                  <c:v>0.39365393113753216</c:v>
                </c:pt>
                <c:pt idx="1779" formatCode="0.0%">
                  <c:v>0.38225662910477498</c:v>
                </c:pt>
                <c:pt idx="1780" formatCode="0.0%">
                  <c:v>0.38225639116455257</c:v>
                </c:pt>
                <c:pt idx="1781" formatCode="0.0%">
                  <c:v>0.38225603425421356</c:v>
                </c:pt>
                <c:pt idx="1782" formatCode="0.0%">
                  <c:v>0.37630545691167355</c:v>
                </c:pt>
                <c:pt idx="1783" formatCode="0.0%">
                  <c:v>0.35973398315395938</c:v>
                </c:pt>
                <c:pt idx="1784" formatCode="0.0%">
                  <c:v>0.36365632695817907</c:v>
                </c:pt>
                <c:pt idx="1785" formatCode="0.0%">
                  <c:v>0.36063779420002734</c:v>
                </c:pt>
                <c:pt idx="1786" formatCode="0.0%">
                  <c:v>0.35456367976513659</c:v>
                </c:pt>
                <c:pt idx="1787" formatCode="0.0%">
                  <c:v>0.35456331934991087</c:v>
                </c:pt>
                <c:pt idx="1788" formatCode="0.0%">
                  <c:v>0.35456307907309392</c:v>
                </c:pt>
                <c:pt idx="1789" formatCode="0.0%">
                  <c:v>0.36794967466745987</c:v>
                </c:pt>
                <c:pt idx="1790" formatCode="0.0%">
                  <c:v>0.37882904354557129</c:v>
                </c:pt>
                <c:pt idx="1791" formatCode="0.0%">
                  <c:v>0.38939027121753045</c:v>
                </c:pt>
                <c:pt idx="1792" formatCode="0.0%">
                  <c:v>0.39118364696571262</c:v>
                </c:pt>
                <c:pt idx="1793" formatCode="0.0%">
                  <c:v>0.39565692676320452</c:v>
                </c:pt>
                <c:pt idx="1794" formatCode="0.0%">
                  <c:v>0.39565656958646289</c:v>
                </c:pt>
                <c:pt idx="1795" formatCode="0.0%">
                  <c:v>0.39569919267764248</c:v>
                </c:pt>
                <c:pt idx="1796" formatCode="0.0%">
                  <c:v>0.38905859367425166</c:v>
                </c:pt>
                <c:pt idx="1797" formatCode="0.0%">
                  <c:v>0.39154693900006182</c:v>
                </c:pt>
                <c:pt idx="1798" formatCode="0.0%">
                  <c:v>0.39000522176070118</c:v>
                </c:pt>
                <c:pt idx="1799" formatCode="0.0%">
                  <c:v>0.39322136084131787</c:v>
                </c:pt>
                <c:pt idx="1800" formatCode="0.0%">
                  <c:v>0.3986186865848998</c:v>
                </c:pt>
                <c:pt idx="1801" formatCode="0.0%">
                  <c:v>0.39861050081604732</c:v>
                </c:pt>
                <c:pt idx="1802" formatCode="0.0%">
                  <c:v>0.39861002627872266</c:v>
                </c:pt>
                <c:pt idx="1803" formatCode="0.0%">
                  <c:v>0.39792606116082935</c:v>
                </c:pt>
                <c:pt idx="1804" formatCode="0.0%">
                  <c:v>0.39430473006622635</c:v>
                </c:pt>
                <c:pt idx="1805" formatCode="0.0%">
                  <c:v>0.39623851139494431</c:v>
                </c:pt>
                <c:pt idx="1806" formatCode="0.0%">
                  <c:v>0.39108428169211268</c:v>
                </c:pt>
                <c:pt idx="1807" formatCode="0.0%">
                  <c:v>0.38442758303381053</c:v>
                </c:pt>
                <c:pt idx="1808" formatCode="0.0%">
                  <c:v>0.38442699441323752</c:v>
                </c:pt>
                <c:pt idx="1809" formatCode="0.0%">
                  <c:v>0.38442640579266396</c:v>
                </c:pt>
                <c:pt idx="1810" formatCode="0.0%">
                  <c:v>0.37574090782060493</c:v>
                </c:pt>
                <c:pt idx="1811" formatCode="0.0%">
                  <c:v>0.36909272206057553</c:v>
                </c:pt>
                <c:pt idx="1812" formatCode="0.0%">
                  <c:v>0.36183478019760856</c:v>
                </c:pt>
                <c:pt idx="1813" formatCode="0.0%">
                  <c:v>0.36871606681802377</c:v>
                </c:pt>
                <c:pt idx="1814" formatCode="0.0%">
                  <c:v>0.38011652388332207</c:v>
                </c:pt>
                <c:pt idx="1815" formatCode="0.0%">
                  <c:v>0.38011616979798674</c:v>
                </c:pt>
                <c:pt idx="1816" formatCode="0.0%">
                  <c:v>0.380115697684206</c:v>
                </c:pt>
                <c:pt idx="1817" formatCode="0.0%">
                  <c:v>0.38558600539406795</c:v>
                </c:pt>
                <c:pt idx="1818" formatCode="0.0%">
                  <c:v>0.38942213359460565</c:v>
                </c:pt>
                <c:pt idx="1819" formatCode="0.0%">
                  <c:v>0.39120408803440654</c:v>
                </c:pt>
                <c:pt idx="1820" formatCode="0.0%">
                  <c:v>0.39120749049877135</c:v>
                </c:pt>
                <c:pt idx="1821" formatCode="0.0%">
                  <c:v>0.39128285710289334</c:v>
                </c:pt>
                <c:pt idx="1822" formatCode="0.0%">
                  <c:v>0.3912823877641628</c:v>
                </c:pt>
                <c:pt idx="1823" formatCode="0.0%">
                  <c:v>0.39128203576011489</c:v>
                </c:pt>
                <c:pt idx="1824" formatCode="0.0%">
                  <c:v>0.39285570199327735</c:v>
                </c:pt>
                <c:pt idx="1825" formatCode="0.0%">
                  <c:v>0.39246649598848904</c:v>
                </c:pt>
                <c:pt idx="1826" formatCode="0.0%">
                  <c:v>0.38856769346808678</c:v>
                </c:pt>
              </c:numCache>
            </c:numRef>
          </c:val>
          <c:smooth val="0"/>
          <c:extLst>
            <c:ext xmlns:c16="http://schemas.microsoft.com/office/drawing/2014/chart" uri="{C3380CC4-5D6E-409C-BE32-E72D297353CC}">
              <c16:uniqueId val="{00000000-6AA3-45F4-9640-0B27923112F6}"/>
            </c:ext>
          </c:extLst>
        </c:ser>
        <c:ser>
          <c:idx val="0"/>
          <c:order val="8"/>
          <c:tx>
            <c:strRef>
              <c:f>Sheet1!$B$1</c:f>
              <c:strCache>
                <c:ptCount val="1"/>
                <c:pt idx="0">
                  <c:v>BankInvest Globale Aktier Select Columbia</c:v>
                </c:pt>
              </c:strCache>
            </c:strRef>
          </c:tx>
          <c:spPr>
            <a:ln w="28575" cap="rnd">
              <a:solidFill>
                <a:schemeClr val="tx2"/>
              </a:solidFill>
              <a:round/>
            </a:ln>
            <a:effectLst/>
          </c:spPr>
          <c:marker>
            <c:symbol val="none"/>
          </c:marker>
          <c:cat>
            <c:numRef>
              <c:f>Sheet1!$A$2:$A$2069</c:f>
              <c:numCache>
                <c:formatCode>d\-mmm\-yy</c:formatCode>
                <c:ptCount val="2068"/>
                <c:pt idx="0">
                  <c:v>44196</c:v>
                </c:pt>
                <c:pt idx="1">
                  <c:v>44197</c:v>
                </c:pt>
                <c:pt idx="2">
                  <c:v>44198</c:v>
                </c:pt>
                <c:pt idx="3">
                  <c:v>44199</c:v>
                </c:pt>
                <c:pt idx="4">
                  <c:v>44200</c:v>
                </c:pt>
                <c:pt idx="5">
                  <c:v>44201</c:v>
                </c:pt>
                <c:pt idx="6">
                  <c:v>44202</c:v>
                </c:pt>
                <c:pt idx="7">
                  <c:v>44203</c:v>
                </c:pt>
                <c:pt idx="8">
                  <c:v>44204</c:v>
                </c:pt>
                <c:pt idx="9">
                  <c:v>44205</c:v>
                </c:pt>
                <c:pt idx="10">
                  <c:v>44206</c:v>
                </c:pt>
                <c:pt idx="11">
                  <c:v>44207</c:v>
                </c:pt>
                <c:pt idx="12">
                  <c:v>44208</c:v>
                </c:pt>
                <c:pt idx="13">
                  <c:v>44209</c:v>
                </c:pt>
                <c:pt idx="14">
                  <c:v>44210</c:v>
                </c:pt>
                <c:pt idx="15">
                  <c:v>44211</c:v>
                </c:pt>
                <c:pt idx="16">
                  <c:v>44212</c:v>
                </c:pt>
                <c:pt idx="17">
                  <c:v>44213</c:v>
                </c:pt>
                <c:pt idx="18">
                  <c:v>44214</c:v>
                </c:pt>
                <c:pt idx="19">
                  <c:v>44215</c:v>
                </c:pt>
                <c:pt idx="20">
                  <c:v>44216</c:v>
                </c:pt>
                <c:pt idx="21">
                  <c:v>44217</c:v>
                </c:pt>
                <c:pt idx="22">
                  <c:v>44218</c:v>
                </c:pt>
                <c:pt idx="23">
                  <c:v>44219</c:v>
                </c:pt>
                <c:pt idx="24">
                  <c:v>44220</c:v>
                </c:pt>
                <c:pt idx="25">
                  <c:v>44221</c:v>
                </c:pt>
                <c:pt idx="26">
                  <c:v>44222</c:v>
                </c:pt>
                <c:pt idx="27">
                  <c:v>44223</c:v>
                </c:pt>
                <c:pt idx="28">
                  <c:v>44224</c:v>
                </c:pt>
                <c:pt idx="29">
                  <c:v>44225</c:v>
                </c:pt>
                <c:pt idx="30">
                  <c:v>44226</c:v>
                </c:pt>
                <c:pt idx="31">
                  <c:v>44227</c:v>
                </c:pt>
                <c:pt idx="32">
                  <c:v>44228</c:v>
                </c:pt>
                <c:pt idx="33">
                  <c:v>44229</c:v>
                </c:pt>
                <c:pt idx="34">
                  <c:v>44230</c:v>
                </c:pt>
                <c:pt idx="35">
                  <c:v>44231</c:v>
                </c:pt>
                <c:pt idx="36">
                  <c:v>44232</c:v>
                </c:pt>
                <c:pt idx="37">
                  <c:v>44233</c:v>
                </c:pt>
                <c:pt idx="38">
                  <c:v>44234</c:v>
                </c:pt>
                <c:pt idx="39">
                  <c:v>44235</c:v>
                </c:pt>
                <c:pt idx="40">
                  <c:v>44236</c:v>
                </c:pt>
                <c:pt idx="41">
                  <c:v>44237</c:v>
                </c:pt>
                <c:pt idx="42">
                  <c:v>44238</c:v>
                </c:pt>
                <c:pt idx="43">
                  <c:v>44239</c:v>
                </c:pt>
                <c:pt idx="44">
                  <c:v>44240</c:v>
                </c:pt>
                <c:pt idx="45">
                  <c:v>44241</c:v>
                </c:pt>
                <c:pt idx="46">
                  <c:v>44242</c:v>
                </c:pt>
                <c:pt idx="47">
                  <c:v>44243</c:v>
                </c:pt>
                <c:pt idx="48">
                  <c:v>44244</c:v>
                </c:pt>
                <c:pt idx="49">
                  <c:v>44245</c:v>
                </c:pt>
                <c:pt idx="50">
                  <c:v>44246</c:v>
                </c:pt>
                <c:pt idx="51">
                  <c:v>44247</c:v>
                </c:pt>
                <c:pt idx="52">
                  <c:v>44248</c:v>
                </c:pt>
                <c:pt idx="53">
                  <c:v>44249</c:v>
                </c:pt>
                <c:pt idx="54">
                  <c:v>44250</c:v>
                </c:pt>
                <c:pt idx="55">
                  <c:v>44251</c:v>
                </c:pt>
                <c:pt idx="56">
                  <c:v>44252</c:v>
                </c:pt>
                <c:pt idx="57">
                  <c:v>44253</c:v>
                </c:pt>
                <c:pt idx="58">
                  <c:v>44254</c:v>
                </c:pt>
                <c:pt idx="59">
                  <c:v>44255</c:v>
                </c:pt>
                <c:pt idx="60">
                  <c:v>44256</c:v>
                </c:pt>
                <c:pt idx="61">
                  <c:v>44257</c:v>
                </c:pt>
                <c:pt idx="62">
                  <c:v>44258</c:v>
                </c:pt>
                <c:pt idx="63">
                  <c:v>44259</c:v>
                </c:pt>
                <c:pt idx="64">
                  <c:v>44260</c:v>
                </c:pt>
                <c:pt idx="65">
                  <c:v>44261</c:v>
                </c:pt>
                <c:pt idx="66">
                  <c:v>44262</c:v>
                </c:pt>
                <c:pt idx="67">
                  <c:v>44263</c:v>
                </c:pt>
                <c:pt idx="68">
                  <c:v>44264</c:v>
                </c:pt>
                <c:pt idx="69">
                  <c:v>44265</c:v>
                </c:pt>
                <c:pt idx="70">
                  <c:v>44266</c:v>
                </c:pt>
                <c:pt idx="71">
                  <c:v>44267</c:v>
                </c:pt>
                <c:pt idx="72">
                  <c:v>44268</c:v>
                </c:pt>
                <c:pt idx="73">
                  <c:v>44269</c:v>
                </c:pt>
                <c:pt idx="74">
                  <c:v>44270</c:v>
                </c:pt>
                <c:pt idx="75">
                  <c:v>44271</c:v>
                </c:pt>
                <c:pt idx="76">
                  <c:v>44272</c:v>
                </c:pt>
                <c:pt idx="77">
                  <c:v>44273</c:v>
                </c:pt>
                <c:pt idx="78">
                  <c:v>44274</c:v>
                </c:pt>
                <c:pt idx="79">
                  <c:v>44275</c:v>
                </c:pt>
                <c:pt idx="80">
                  <c:v>44276</c:v>
                </c:pt>
                <c:pt idx="81">
                  <c:v>44277</c:v>
                </c:pt>
                <c:pt idx="82">
                  <c:v>44278</c:v>
                </c:pt>
                <c:pt idx="83">
                  <c:v>44279</c:v>
                </c:pt>
                <c:pt idx="84">
                  <c:v>44280</c:v>
                </c:pt>
                <c:pt idx="85">
                  <c:v>44281</c:v>
                </c:pt>
                <c:pt idx="86">
                  <c:v>44282</c:v>
                </c:pt>
                <c:pt idx="87">
                  <c:v>44283</c:v>
                </c:pt>
                <c:pt idx="88">
                  <c:v>44284</c:v>
                </c:pt>
                <c:pt idx="89">
                  <c:v>44285</c:v>
                </c:pt>
                <c:pt idx="90">
                  <c:v>44286</c:v>
                </c:pt>
                <c:pt idx="91">
                  <c:v>44287</c:v>
                </c:pt>
                <c:pt idx="92">
                  <c:v>44288</c:v>
                </c:pt>
                <c:pt idx="93">
                  <c:v>44289</c:v>
                </c:pt>
                <c:pt idx="94">
                  <c:v>44290</c:v>
                </c:pt>
                <c:pt idx="95">
                  <c:v>44291</c:v>
                </c:pt>
                <c:pt idx="96">
                  <c:v>44292</c:v>
                </c:pt>
                <c:pt idx="97">
                  <c:v>44293</c:v>
                </c:pt>
                <c:pt idx="98">
                  <c:v>44294</c:v>
                </c:pt>
                <c:pt idx="99">
                  <c:v>44295</c:v>
                </c:pt>
                <c:pt idx="100">
                  <c:v>44296</c:v>
                </c:pt>
                <c:pt idx="101">
                  <c:v>44297</c:v>
                </c:pt>
                <c:pt idx="102">
                  <c:v>44298</c:v>
                </c:pt>
                <c:pt idx="103">
                  <c:v>44299</c:v>
                </c:pt>
                <c:pt idx="104">
                  <c:v>44300</c:v>
                </c:pt>
                <c:pt idx="105">
                  <c:v>44301</c:v>
                </c:pt>
                <c:pt idx="106">
                  <c:v>44302</c:v>
                </c:pt>
                <c:pt idx="107">
                  <c:v>44303</c:v>
                </c:pt>
                <c:pt idx="108">
                  <c:v>44304</c:v>
                </c:pt>
                <c:pt idx="109">
                  <c:v>44305</c:v>
                </c:pt>
                <c:pt idx="110">
                  <c:v>44306</c:v>
                </c:pt>
                <c:pt idx="111">
                  <c:v>44307</c:v>
                </c:pt>
                <c:pt idx="112">
                  <c:v>44308</c:v>
                </c:pt>
                <c:pt idx="113">
                  <c:v>44309</c:v>
                </c:pt>
                <c:pt idx="114">
                  <c:v>44310</c:v>
                </c:pt>
                <c:pt idx="115">
                  <c:v>44311</c:v>
                </c:pt>
                <c:pt idx="116">
                  <c:v>44312</c:v>
                </c:pt>
                <c:pt idx="117">
                  <c:v>44313</c:v>
                </c:pt>
                <c:pt idx="118">
                  <c:v>44314</c:v>
                </c:pt>
                <c:pt idx="119">
                  <c:v>44315</c:v>
                </c:pt>
                <c:pt idx="120">
                  <c:v>44316</c:v>
                </c:pt>
                <c:pt idx="121">
                  <c:v>44317</c:v>
                </c:pt>
                <c:pt idx="122">
                  <c:v>44318</c:v>
                </c:pt>
                <c:pt idx="123">
                  <c:v>44319</c:v>
                </c:pt>
                <c:pt idx="124">
                  <c:v>44320</c:v>
                </c:pt>
                <c:pt idx="125">
                  <c:v>44321</c:v>
                </c:pt>
                <c:pt idx="126">
                  <c:v>44322</c:v>
                </c:pt>
                <c:pt idx="127">
                  <c:v>44323</c:v>
                </c:pt>
                <c:pt idx="128">
                  <c:v>44324</c:v>
                </c:pt>
                <c:pt idx="129">
                  <c:v>44325</c:v>
                </c:pt>
                <c:pt idx="130">
                  <c:v>44326</c:v>
                </c:pt>
                <c:pt idx="131">
                  <c:v>44327</c:v>
                </c:pt>
                <c:pt idx="132">
                  <c:v>44328</c:v>
                </c:pt>
                <c:pt idx="133">
                  <c:v>44329</c:v>
                </c:pt>
                <c:pt idx="134">
                  <c:v>44330</c:v>
                </c:pt>
                <c:pt idx="135">
                  <c:v>44331</c:v>
                </c:pt>
                <c:pt idx="136">
                  <c:v>44332</c:v>
                </c:pt>
                <c:pt idx="137">
                  <c:v>44333</c:v>
                </c:pt>
                <c:pt idx="138">
                  <c:v>44334</c:v>
                </c:pt>
                <c:pt idx="139">
                  <c:v>44335</c:v>
                </c:pt>
                <c:pt idx="140">
                  <c:v>44336</c:v>
                </c:pt>
                <c:pt idx="141">
                  <c:v>44337</c:v>
                </c:pt>
                <c:pt idx="142">
                  <c:v>44338</c:v>
                </c:pt>
                <c:pt idx="143">
                  <c:v>44339</c:v>
                </c:pt>
                <c:pt idx="144">
                  <c:v>44340</c:v>
                </c:pt>
                <c:pt idx="145">
                  <c:v>44341</c:v>
                </c:pt>
                <c:pt idx="146">
                  <c:v>44342</c:v>
                </c:pt>
                <c:pt idx="147">
                  <c:v>44343</c:v>
                </c:pt>
                <c:pt idx="148">
                  <c:v>44344</c:v>
                </c:pt>
                <c:pt idx="149">
                  <c:v>44345</c:v>
                </c:pt>
                <c:pt idx="150">
                  <c:v>44346</c:v>
                </c:pt>
                <c:pt idx="151">
                  <c:v>44347</c:v>
                </c:pt>
                <c:pt idx="152">
                  <c:v>44348</c:v>
                </c:pt>
                <c:pt idx="153">
                  <c:v>44349</c:v>
                </c:pt>
                <c:pt idx="154">
                  <c:v>44350</c:v>
                </c:pt>
                <c:pt idx="155">
                  <c:v>44351</c:v>
                </c:pt>
                <c:pt idx="156">
                  <c:v>44352</c:v>
                </c:pt>
                <c:pt idx="157">
                  <c:v>44353</c:v>
                </c:pt>
                <c:pt idx="158">
                  <c:v>44354</c:v>
                </c:pt>
                <c:pt idx="159">
                  <c:v>44355</c:v>
                </c:pt>
                <c:pt idx="160">
                  <c:v>44356</c:v>
                </c:pt>
                <c:pt idx="161">
                  <c:v>44357</c:v>
                </c:pt>
                <c:pt idx="162">
                  <c:v>44358</c:v>
                </c:pt>
                <c:pt idx="163">
                  <c:v>44359</c:v>
                </c:pt>
                <c:pt idx="164">
                  <c:v>44360</c:v>
                </c:pt>
                <c:pt idx="165">
                  <c:v>44361</c:v>
                </c:pt>
                <c:pt idx="166">
                  <c:v>44362</c:v>
                </c:pt>
                <c:pt idx="167">
                  <c:v>44363</c:v>
                </c:pt>
                <c:pt idx="168">
                  <c:v>44364</c:v>
                </c:pt>
                <c:pt idx="169">
                  <c:v>44365</c:v>
                </c:pt>
                <c:pt idx="170">
                  <c:v>44366</c:v>
                </c:pt>
                <c:pt idx="171">
                  <c:v>44367</c:v>
                </c:pt>
                <c:pt idx="172">
                  <c:v>44368</c:v>
                </c:pt>
                <c:pt idx="173">
                  <c:v>44369</c:v>
                </c:pt>
                <c:pt idx="174">
                  <c:v>44370</c:v>
                </c:pt>
                <c:pt idx="175">
                  <c:v>44371</c:v>
                </c:pt>
                <c:pt idx="176">
                  <c:v>44372</c:v>
                </c:pt>
                <c:pt idx="177">
                  <c:v>44373</c:v>
                </c:pt>
                <c:pt idx="178">
                  <c:v>44374</c:v>
                </c:pt>
                <c:pt idx="179">
                  <c:v>44375</c:v>
                </c:pt>
                <c:pt idx="180">
                  <c:v>44376</c:v>
                </c:pt>
                <c:pt idx="181">
                  <c:v>44377</c:v>
                </c:pt>
                <c:pt idx="182">
                  <c:v>44378</c:v>
                </c:pt>
                <c:pt idx="183">
                  <c:v>44379</c:v>
                </c:pt>
                <c:pt idx="184">
                  <c:v>44380</c:v>
                </c:pt>
                <c:pt idx="185">
                  <c:v>44381</c:v>
                </c:pt>
                <c:pt idx="186">
                  <c:v>44382</c:v>
                </c:pt>
                <c:pt idx="187">
                  <c:v>44383</c:v>
                </c:pt>
                <c:pt idx="188">
                  <c:v>44384</c:v>
                </c:pt>
                <c:pt idx="189">
                  <c:v>44385</c:v>
                </c:pt>
                <c:pt idx="190">
                  <c:v>44386</c:v>
                </c:pt>
                <c:pt idx="191">
                  <c:v>44387</c:v>
                </c:pt>
                <c:pt idx="192">
                  <c:v>44388</c:v>
                </c:pt>
                <c:pt idx="193">
                  <c:v>44389</c:v>
                </c:pt>
                <c:pt idx="194">
                  <c:v>44390</c:v>
                </c:pt>
                <c:pt idx="195">
                  <c:v>44391</c:v>
                </c:pt>
                <c:pt idx="196">
                  <c:v>44392</c:v>
                </c:pt>
                <c:pt idx="197">
                  <c:v>44393</c:v>
                </c:pt>
                <c:pt idx="198">
                  <c:v>44394</c:v>
                </c:pt>
                <c:pt idx="199">
                  <c:v>44395</c:v>
                </c:pt>
                <c:pt idx="200">
                  <c:v>44396</c:v>
                </c:pt>
                <c:pt idx="201">
                  <c:v>44397</c:v>
                </c:pt>
                <c:pt idx="202">
                  <c:v>44398</c:v>
                </c:pt>
                <c:pt idx="203">
                  <c:v>44399</c:v>
                </c:pt>
                <c:pt idx="204">
                  <c:v>44400</c:v>
                </c:pt>
                <c:pt idx="205">
                  <c:v>44401</c:v>
                </c:pt>
                <c:pt idx="206">
                  <c:v>44402</c:v>
                </c:pt>
                <c:pt idx="207">
                  <c:v>44403</c:v>
                </c:pt>
                <c:pt idx="208">
                  <c:v>44404</c:v>
                </c:pt>
                <c:pt idx="209">
                  <c:v>44405</c:v>
                </c:pt>
                <c:pt idx="210">
                  <c:v>44406</c:v>
                </c:pt>
                <c:pt idx="211">
                  <c:v>44407</c:v>
                </c:pt>
                <c:pt idx="212">
                  <c:v>44408</c:v>
                </c:pt>
                <c:pt idx="213">
                  <c:v>44409</c:v>
                </c:pt>
                <c:pt idx="214">
                  <c:v>44410</c:v>
                </c:pt>
                <c:pt idx="215">
                  <c:v>44411</c:v>
                </c:pt>
                <c:pt idx="216">
                  <c:v>44412</c:v>
                </c:pt>
                <c:pt idx="217">
                  <c:v>44413</c:v>
                </c:pt>
                <c:pt idx="218">
                  <c:v>44414</c:v>
                </c:pt>
                <c:pt idx="219">
                  <c:v>44415</c:v>
                </c:pt>
                <c:pt idx="220">
                  <c:v>44416</c:v>
                </c:pt>
                <c:pt idx="221">
                  <c:v>44417</c:v>
                </c:pt>
                <c:pt idx="222">
                  <c:v>44418</c:v>
                </c:pt>
                <c:pt idx="223">
                  <c:v>44419</c:v>
                </c:pt>
                <c:pt idx="224">
                  <c:v>44420</c:v>
                </c:pt>
                <c:pt idx="225">
                  <c:v>44421</c:v>
                </c:pt>
                <c:pt idx="226">
                  <c:v>44422</c:v>
                </c:pt>
                <c:pt idx="227">
                  <c:v>44423</c:v>
                </c:pt>
                <c:pt idx="228">
                  <c:v>44424</c:v>
                </c:pt>
                <c:pt idx="229">
                  <c:v>44425</c:v>
                </c:pt>
                <c:pt idx="230">
                  <c:v>44426</c:v>
                </c:pt>
                <c:pt idx="231">
                  <c:v>44427</c:v>
                </c:pt>
                <c:pt idx="232">
                  <c:v>44428</c:v>
                </c:pt>
                <c:pt idx="233">
                  <c:v>44429</c:v>
                </c:pt>
                <c:pt idx="234">
                  <c:v>44430</c:v>
                </c:pt>
                <c:pt idx="235">
                  <c:v>44431</c:v>
                </c:pt>
                <c:pt idx="236">
                  <c:v>44432</c:v>
                </c:pt>
                <c:pt idx="237">
                  <c:v>44433</c:v>
                </c:pt>
                <c:pt idx="238">
                  <c:v>44434</c:v>
                </c:pt>
                <c:pt idx="239">
                  <c:v>44435</c:v>
                </c:pt>
                <c:pt idx="240">
                  <c:v>44436</c:v>
                </c:pt>
                <c:pt idx="241">
                  <c:v>44437</c:v>
                </c:pt>
                <c:pt idx="242">
                  <c:v>44438</c:v>
                </c:pt>
                <c:pt idx="243">
                  <c:v>44439</c:v>
                </c:pt>
                <c:pt idx="244">
                  <c:v>44440</c:v>
                </c:pt>
                <c:pt idx="245">
                  <c:v>44441</c:v>
                </c:pt>
                <c:pt idx="246">
                  <c:v>44442</c:v>
                </c:pt>
                <c:pt idx="247">
                  <c:v>44443</c:v>
                </c:pt>
                <c:pt idx="248">
                  <c:v>44444</c:v>
                </c:pt>
                <c:pt idx="249">
                  <c:v>44445</c:v>
                </c:pt>
                <c:pt idx="250">
                  <c:v>44446</c:v>
                </c:pt>
                <c:pt idx="251">
                  <c:v>44447</c:v>
                </c:pt>
                <c:pt idx="252">
                  <c:v>44448</c:v>
                </c:pt>
                <c:pt idx="253">
                  <c:v>44449</c:v>
                </c:pt>
                <c:pt idx="254">
                  <c:v>44450</c:v>
                </c:pt>
                <c:pt idx="255">
                  <c:v>44451</c:v>
                </c:pt>
                <c:pt idx="256">
                  <c:v>44452</c:v>
                </c:pt>
                <c:pt idx="257">
                  <c:v>44453</c:v>
                </c:pt>
                <c:pt idx="258">
                  <c:v>44454</c:v>
                </c:pt>
                <c:pt idx="259">
                  <c:v>44455</c:v>
                </c:pt>
                <c:pt idx="260">
                  <c:v>44456</c:v>
                </c:pt>
                <c:pt idx="261">
                  <c:v>44457</c:v>
                </c:pt>
                <c:pt idx="262">
                  <c:v>44458</c:v>
                </c:pt>
                <c:pt idx="263">
                  <c:v>44459</c:v>
                </c:pt>
                <c:pt idx="264">
                  <c:v>44460</c:v>
                </c:pt>
                <c:pt idx="265">
                  <c:v>44461</c:v>
                </c:pt>
                <c:pt idx="266">
                  <c:v>44462</c:v>
                </c:pt>
                <c:pt idx="267">
                  <c:v>44463</c:v>
                </c:pt>
                <c:pt idx="268">
                  <c:v>44464</c:v>
                </c:pt>
                <c:pt idx="269">
                  <c:v>44465</c:v>
                </c:pt>
                <c:pt idx="270">
                  <c:v>44466</c:v>
                </c:pt>
                <c:pt idx="271">
                  <c:v>44467</c:v>
                </c:pt>
                <c:pt idx="272">
                  <c:v>44468</c:v>
                </c:pt>
                <c:pt idx="273">
                  <c:v>44469</c:v>
                </c:pt>
                <c:pt idx="274">
                  <c:v>44470</c:v>
                </c:pt>
                <c:pt idx="275">
                  <c:v>44471</c:v>
                </c:pt>
                <c:pt idx="276">
                  <c:v>44472</c:v>
                </c:pt>
                <c:pt idx="277">
                  <c:v>44473</c:v>
                </c:pt>
                <c:pt idx="278">
                  <c:v>44474</c:v>
                </c:pt>
                <c:pt idx="279">
                  <c:v>44475</c:v>
                </c:pt>
                <c:pt idx="280">
                  <c:v>44476</c:v>
                </c:pt>
                <c:pt idx="281">
                  <c:v>44477</c:v>
                </c:pt>
                <c:pt idx="282">
                  <c:v>44478</c:v>
                </c:pt>
                <c:pt idx="283">
                  <c:v>44479</c:v>
                </c:pt>
                <c:pt idx="284">
                  <c:v>44480</c:v>
                </c:pt>
                <c:pt idx="285">
                  <c:v>44481</c:v>
                </c:pt>
                <c:pt idx="286">
                  <c:v>44482</c:v>
                </c:pt>
                <c:pt idx="287">
                  <c:v>44483</c:v>
                </c:pt>
                <c:pt idx="288">
                  <c:v>44484</c:v>
                </c:pt>
                <c:pt idx="289">
                  <c:v>44485</c:v>
                </c:pt>
                <c:pt idx="290">
                  <c:v>44486</c:v>
                </c:pt>
                <c:pt idx="291">
                  <c:v>44487</c:v>
                </c:pt>
                <c:pt idx="292">
                  <c:v>44488</c:v>
                </c:pt>
                <c:pt idx="293">
                  <c:v>44489</c:v>
                </c:pt>
                <c:pt idx="294">
                  <c:v>44490</c:v>
                </c:pt>
                <c:pt idx="295">
                  <c:v>44491</c:v>
                </c:pt>
                <c:pt idx="296">
                  <c:v>44492</c:v>
                </c:pt>
                <c:pt idx="297">
                  <c:v>44493</c:v>
                </c:pt>
                <c:pt idx="298">
                  <c:v>44494</c:v>
                </c:pt>
                <c:pt idx="299">
                  <c:v>44495</c:v>
                </c:pt>
                <c:pt idx="300">
                  <c:v>44496</c:v>
                </c:pt>
                <c:pt idx="301">
                  <c:v>44497</c:v>
                </c:pt>
                <c:pt idx="302">
                  <c:v>44498</c:v>
                </c:pt>
                <c:pt idx="303">
                  <c:v>44499</c:v>
                </c:pt>
                <c:pt idx="304">
                  <c:v>44500</c:v>
                </c:pt>
                <c:pt idx="305">
                  <c:v>44501</c:v>
                </c:pt>
                <c:pt idx="306">
                  <c:v>44502</c:v>
                </c:pt>
                <c:pt idx="307">
                  <c:v>44503</c:v>
                </c:pt>
                <c:pt idx="308">
                  <c:v>44504</c:v>
                </c:pt>
                <c:pt idx="309">
                  <c:v>44505</c:v>
                </c:pt>
                <c:pt idx="310">
                  <c:v>44506</c:v>
                </c:pt>
                <c:pt idx="311">
                  <c:v>44507</c:v>
                </c:pt>
                <c:pt idx="312">
                  <c:v>44508</c:v>
                </c:pt>
                <c:pt idx="313">
                  <c:v>44509</c:v>
                </c:pt>
                <c:pt idx="314">
                  <c:v>44510</c:v>
                </c:pt>
                <c:pt idx="315">
                  <c:v>44511</c:v>
                </c:pt>
                <c:pt idx="316">
                  <c:v>44512</c:v>
                </c:pt>
                <c:pt idx="317">
                  <c:v>44513</c:v>
                </c:pt>
                <c:pt idx="318">
                  <c:v>44514</c:v>
                </c:pt>
                <c:pt idx="319">
                  <c:v>44515</c:v>
                </c:pt>
                <c:pt idx="320">
                  <c:v>44516</c:v>
                </c:pt>
                <c:pt idx="321">
                  <c:v>44517</c:v>
                </c:pt>
                <c:pt idx="322">
                  <c:v>44518</c:v>
                </c:pt>
                <c:pt idx="323">
                  <c:v>44519</c:v>
                </c:pt>
                <c:pt idx="324">
                  <c:v>44520</c:v>
                </c:pt>
                <c:pt idx="325">
                  <c:v>44521</c:v>
                </c:pt>
                <c:pt idx="326">
                  <c:v>44522</c:v>
                </c:pt>
                <c:pt idx="327">
                  <c:v>44523</c:v>
                </c:pt>
                <c:pt idx="328">
                  <c:v>44524</c:v>
                </c:pt>
                <c:pt idx="329">
                  <c:v>44525</c:v>
                </c:pt>
                <c:pt idx="330">
                  <c:v>44526</c:v>
                </c:pt>
                <c:pt idx="331">
                  <c:v>44527</c:v>
                </c:pt>
                <c:pt idx="332">
                  <c:v>44528</c:v>
                </c:pt>
                <c:pt idx="333">
                  <c:v>44529</c:v>
                </c:pt>
                <c:pt idx="334">
                  <c:v>44530</c:v>
                </c:pt>
                <c:pt idx="335">
                  <c:v>44531</c:v>
                </c:pt>
                <c:pt idx="336">
                  <c:v>44532</c:v>
                </c:pt>
                <c:pt idx="337">
                  <c:v>44533</c:v>
                </c:pt>
                <c:pt idx="338">
                  <c:v>44534</c:v>
                </c:pt>
                <c:pt idx="339">
                  <c:v>44535</c:v>
                </c:pt>
                <c:pt idx="340">
                  <c:v>44536</c:v>
                </c:pt>
                <c:pt idx="341">
                  <c:v>44537</c:v>
                </c:pt>
                <c:pt idx="342">
                  <c:v>44538</c:v>
                </c:pt>
                <c:pt idx="343">
                  <c:v>44539</c:v>
                </c:pt>
                <c:pt idx="344">
                  <c:v>44540</c:v>
                </c:pt>
                <c:pt idx="345">
                  <c:v>44541</c:v>
                </c:pt>
                <c:pt idx="346">
                  <c:v>44542</c:v>
                </c:pt>
                <c:pt idx="347">
                  <c:v>44543</c:v>
                </c:pt>
                <c:pt idx="348">
                  <c:v>44544</c:v>
                </c:pt>
                <c:pt idx="349">
                  <c:v>44545</c:v>
                </c:pt>
                <c:pt idx="350">
                  <c:v>44546</c:v>
                </c:pt>
                <c:pt idx="351">
                  <c:v>44547</c:v>
                </c:pt>
                <c:pt idx="352">
                  <c:v>44548</c:v>
                </c:pt>
                <c:pt idx="353">
                  <c:v>44549</c:v>
                </c:pt>
                <c:pt idx="354">
                  <c:v>44550</c:v>
                </c:pt>
                <c:pt idx="355">
                  <c:v>44551</c:v>
                </c:pt>
                <c:pt idx="356">
                  <c:v>44552</c:v>
                </c:pt>
                <c:pt idx="357">
                  <c:v>44553</c:v>
                </c:pt>
                <c:pt idx="358">
                  <c:v>44554</c:v>
                </c:pt>
                <c:pt idx="359">
                  <c:v>44555</c:v>
                </c:pt>
                <c:pt idx="360">
                  <c:v>44556</c:v>
                </c:pt>
                <c:pt idx="361">
                  <c:v>44557</c:v>
                </c:pt>
                <c:pt idx="362">
                  <c:v>44558</c:v>
                </c:pt>
                <c:pt idx="363">
                  <c:v>44559</c:v>
                </c:pt>
                <c:pt idx="364">
                  <c:v>44560</c:v>
                </c:pt>
                <c:pt idx="365">
                  <c:v>44561</c:v>
                </c:pt>
                <c:pt idx="366">
                  <c:v>44562</c:v>
                </c:pt>
                <c:pt idx="367">
                  <c:v>44563</c:v>
                </c:pt>
                <c:pt idx="368">
                  <c:v>44564</c:v>
                </c:pt>
                <c:pt idx="369">
                  <c:v>44565</c:v>
                </c:pt>
                <c:pt idx="370">
                  <c:v>44566</c:v>
                </c:pt>
                <c:pt idx="371">
                  <c:v>44567</c:v>
                </c:pt>
                <c:pt idx="372">
                  <c:v>44568</c:v>
                </c:pt>
                <c:pt idx="373">
                  <c:v>44569</c:v>
                </c:pt>
                <c:pt idx="374">
                  <c:v>44570</c:v>
                </c:pt>
                <c:pt idx="375">
                  <c:v>44571</c:v>
                </c:pt>
                <c:pt idx="376">
                  <c:v>44572</c:v>
                </c:pt>
                <c:pt idx="377">
                  <c:v>44573</c:v>
                </c:pt>
                <c:pt idx="378">
                  <c:v>44574</c:v>
                </c:pt>
                <c:pt idx="379">
                  <c:v>44575</c:v>
                </c:pt>
                <c:pt idx="380">
                  <c:v>44576</c:v>
                </c:pt>
                <c:pt idx="381">
                  <c:v>44577</c:v>
                </c:pt>
                <c:pt idx="382">
                  <c:v>44578</c:v>
                </c:pt>
                <c:pt idx="383">
                  <c:v>44579</c:v>
                </c:pt>
                <c:pt idx="384">
                  <c:v>44580</c:v>
                </c:pt>
                <c:pt idx="385">
                  <c:v>44581</c:v>
                </c:pt>
                <c:pt idx="386">
                  <c:v>44582</c:v>
                </c:pt>
                <c:pt idx="387">
                  <c:v>44583</c:v>
                </c:pt>
                <c:pt idx="388">
                  <c:v>44584</c:v>
                </c:pt>
                <c:pt idx="389">
                  <c:v>44585</c:v>
                </c:pt>
                <c:pt idx="390">
                  <c:v>44586</c:v>
                </c:pt>
                <c:pt idx="391">
                  <c:v>44587</c:v>
                </c:pt>
                <c:pt idx="392">
                  <c:v>44588</c:v>
                </c:pt>
                <c:pt idx="393">
                  <c:v>44589</c:v>
                </c:pt>
                <c:pt idx="394">
                  <c:v>44590</c:v>
                </c:pt>
                <c:pt idx="395">
                  <c:v>44591</c:v>
                </c:pt>
                <c:pt idx="396">
                  <c:v>44592</c:v>
                </c:pt>
                <c:pt idx="397">
                  <c:v>44593</c:v>
                </c:pt>
                <c:pt idx="398">
                  <c:v>44594</c:v>
                </c:pt>
                <c:pt idx="399">
                  <c:v>44595</c:v>
                </c:pt>
                <c:pt idx="400">
                  <c:v>44596</c:v>
                </c:pt>
                <c:pt idx="401">
                  <c:v>44597</c:v>
                </c:pt>
                <c:pt idx="402">
                  <c:v>44598</c:v>
                </c:pt>
                <c:pt idx="403">
                  <c:v>44599</c:v>
                </c:pt>
                <c:pt idx="404">
                  <c:v>44600</c:v>
                </c:pt>
                <c:pt idx="405">
                  <c:v>44601</c:v>
                </c:pt>
                <c:pt idx="406">
                  <c:v>44602</c:v>
                </c:pt>
                <c:pt idx="407">
                  <c:v>44603</c:v>
                </c:pt>
                <c:pt idx="408">
                  <c:v>44604</c:v>
                </c:pt>
                <c:pt idx="409">
                  <c:v>44605</c:v>
                </c:pt>
                <c:pt idx="410">
                  <c:v>44606</c:v>
                </c:pt>
                <c:pt idx="411">
                  <c:v>44607</c:v>
                </c:pt>
                <c:pt idx="412">
                  <c:v>44608</c:v>
                </c:pt>
                <c:pt idx="413">
                  <c:v>44609</c:v>
                </c:pt>
                <c:pt idx="414">
                  <c:v>44610</c:v>
                </c:pt>
                <c:pt idx="415">
                  <c:v>44611</c:v>
                </c:pt>
                <c:pt idx="416">
                  <c:v>44612</c:v>
                </c:pt>
                <c:pt idx="417">
                  <c:v>44613</c:v>
                </c:pt>
                <c:pt idx="418">
                  <c:v>44614</c:v>
                </c:pt>
                <c:pt idx="419">
                  <c:v>44615</c:v>
                </c:pt>
                <c:pt idx="420">
                  <c:v>44616</c:v>
                </c:pt>
                <c:pt idx="421">
                  <c:v>44617</c:v>
                </c:pt>
                <c:pt idx="422">
                  <c:v>44618</c:v>
                </c:pt>
                <c:pt idx="423">
                  <c:v>44619</c:v>
                </c:pt>
                <c:pt idx="424">
                  <c:v>44620</c:v>
                </c:pt>
                <c:pt idx="425">
                  <c:v>44621</c:v>
                </c:pt>
                <c:pt idx="426">
                  <c:v>44622</c:v>
                </c:pt>
                <c:pt idx="427">
                  <c:v>44623</c:v>
                </c:pt>
                <c:pt idx="428">
                  <c:v>44624</c:v>
                </c:pt>
                <c:pt idx="429">
                  <c:v>44625</c:v>
                </c:pt>
                <c:pt idx="430">
                  <c:v>44626</c:v>
                </c:pt>
                <c:pt idx="431">
                  <c:v>44627</c:v>
                </c:pt>
                <c:pt idx="432">
                  <c:v>44628</c:v>
                </c:pt>
                <c:pt idx="433">
                  <c:v>44629</c:v>
                </c:pt>
                <c:pt idx="434">
                  <c:v>44630</c:v>
                </c:pt>
                <c:pt idx="435">
                  <c:v>44631</c:v>
                </c:pt>
                <c:pt idx="436">
                  <c:v>44632</c:v>
                </c:pt>
                <c:pt idx="437">
                  <c:v>44633</c:v>
                </c:pt>
                <c:pt idx="438">
                  <c:v>44634</c:v>
                </c:pt>
                <c:pt idx="439">
                  <c:v>44635</c:v>
                </c:pt>
                <c:pt idx="440">
                  <c:v>44636</c:v>
                </c:pt>
                <c:pt idx="441">
                  <c:v>44637</c:v>
                </c:pt>
                <c:pt idx="442">
                  <c:v>44638</c:v>
                </c:pt>
                <c:pt idx="443">
                  <c:v>44639</c:v>
                </c:pt>
                <c:pt idx="444">
                  <c:v>44640</c:v>
                </c:pt>
                <c:pt idx="445">
                  <c:v>44641</c:v>
                </c:pt>
                <c:pt idx="446">
                  <c:v>44642</c:v>
                </c:pt>
                <c:pt idx="447">
                  <c:v>44643</c:v>
                </c:pt>
                <c:pt idx="448">
                  <c:v>44644</c:v>
                </c:pt>
                <c:pt idx="449">
                  <c:v>44645</c:v>
                </c:pt>
                <c:pt idx="450">
                  <c:v>44646</c:v>
                </c:pt>
                <c:pt idx="451">
                  <c:v>44647</c:v>
                </c:pt>
                <c:pt idx="452">
                  <c:v>44648</c:v>
                </c:pt>
                <c:pt idx="453">
                  <c:v>44649</c:v>
                </c:pt>
                <c:pt idx="454">
                  <c:v>44650</c:v>
                </c:pt>
                <c:pt idx="455">
                  <c:v>44651</c:v>
                </c:pt>
                <c:pt idx="456">
                  <c:v>44652</c:v>
                </c:pt>
                <c:pt idx="457">
                  <c:v>44653</c:v>
                </c:pt>
                <c:pt idx="458">
                  <c:v>44654</c:v>
                </c:pt>
                <c:pt idx="459">
                  <c:v>44655</c:v>
                </c:pt>
                <c:pt idx="460">
                  <c:v>44656</c:v>
                </c:pt>
                <c:pt idx="461">
                  <c:v>44657</c:v>
                </c:pt>
                <c:pt idx="462">
                  <c:v>44658</c:v>
                </c:pt>
                <c:pt idx="463">
                  <c:v>44659</c:v>
                </c:pt>
                <c:pt idx="464">
                  <c:v>44660</c:v>
                </c:pt>
                <c:pt idx="465">
                  <c:v>44661</c:v>
                </c:pt>
                <c:pt idx="466">
                  <c:v>44662</c:v>
                </c:pt>
                <c:pt idx="467">
                  <c:v>44663</c:v>
                </c:pt>
                <c:pt idx="468">
                  <c:v>44664</c:v>
                </c:pt>
                <c:pt idx="469">
                  <c:v>44665</c:v>
                </c:pt>
                <c:pt idx="470">
                  <c:v>44666</c:v>
                </c:pt>
                <c:pt idx="471">
                  <c:v>44667</c:v>
                </c:pt>
                <c:pt idx="472">
                  <c:v>44668</c:v>
                </c:pt>
                <c:pt idx="473">
                  <c:v>44669</c:v>
                </c:pt>
                <c:pt idx="474">
                  <c:v>44670</c:v>
                </c:pt>
                <c:pt idx="475">
                  <c:v>44671</c:v>
                </c:pt>
                <c:pt idx="476">
                  <c:v>44672</c:v>
                </c:pt>
                <c:pt idx="477">
                  <c:v>44673</c:v>
                </c:pt>
                <c:pt idx="478">
                  <c:v>44674</c:v>
                </c:pt>
                <c:pt idx="479">
                  <c:v>44675</c:v>
                </c:pt>
                <c:pt idx="480">
                  <c:v>44676</c:v>
                </c:pt>
                <c:pt idx="481">
                  <c:v>44677</c:v>
                </c:pt>
                <c:pt idx="482">
                  <c:v>44678</c:v>
                </c:pt>
                <c:pt idx="483">
                  <c:v>44679</c:v>
                </c:pt>
                <c:pt idx="484">
                  <c:v>44680</c:v>
                </c:pt>
                <c:pt idx="485">
                  <c:v>44681</c:v>
                </c:pt>
                <c:pt idx="486">
                  <c:v>44682</c:v>
                </c:pt>
                <c:pt idx="487">
                  <c:v>44683</c:v>
                </c:pt>
                <c:pt idx="488">
                  <c:v>44684</c:v>
                </c:pt>
                <c:pt idx="489">
                  <c:v>44685</c:v>
                </c:pt>
                <c:pt idx="490">
                  <c:v>44686</c:v>
                </c:pt>
                <c:pt idx="491">
                  <c:v>44687</c:v>
                </c:pt>
                <c:pt idx="492">
                  <c:v>44688</c:v>
                </c:pt>
                <c:pt idx="493">
                  <c:v>44689</c:v>
                </c:pt>
                <c:pt idx="494">
                  <c:v>44690</c:v>
                </c:pt>
                <c:pt idx="495">
                  <c:v>44691</c:v>
                </c:pt>
                <c:pt idx="496">
                  <c:v>44692</c:v>
                </c:pt>
                <c:pt idx="497">
                  <c:v>44693</c:v>
                </c:pt>
                <c:pt idx="498">
                  <c:v>44694</c:v>
                </c:pt>
                <c:pt idx="499">
                  <c:v>44695</c:v>
                </c:pt>
                <c:pt idx="500">
                  <c:v>44696</c:v>
                </c:pt>
                <c:pt idx="501">
                  <c:v>44697</c:v>
                </c:pt>
                <c:pt idx="502">
                  <c:v>44698</c:v>
                </c:pt>
                <c:pt idx="503">
                  <c:v>44699</c:v>
                </c:pt>
                <c:pt idx="504">
                  <c:v>44700</c:v>
                </c:pt>
                <c:pt idx="505">
                  <c:v>44701</c:v>
                </c:pt>
                <c:pt idx="506">
                  <c:v>44702</c:v>
                </c:pt>
                <c:pt idx="507">
                  <c:v>44703</c:v>
                </c:pt>
                <c:pt idx="508">
                  <c:v>44704</c:v>
                </c:pt>
                <c:pt idx="509">
                  <c:v>44705</c:v>
                </c:pt>
                <c:pt idx="510">
                  <c:v>44706</c:v>
                </c:pt>
                <c:pt idx="511">
                  <c:v>44707</c:v>
                </c:pt>
                <c:pt idx="512">
                  <c:v>44708</c:v>
                </c:pt>
                <c:pt idx="513">
                  <c:v>44709</c:v>
                </c:pt>
                <c:pt idx="514">
                  <c:v>44710</c:v>
                </c:pt>
                <c:pt idx="515">
                  <c:v>44711</c:v>
                </c:pt>
                <c:pt idx="516">
                  <c:v>44712</c:v>
                </c:pt>
                <c:pt idx="517">
                  <c:v>44713</c:v>
                </c:pt>
                <c:pt idx="518">
                  <c:v>44714</c:v>
                </c:pt>
                <c:pt idx="519">
                  <c:v>44715</c:v>
                </c:pt>
                <c:pt idx="520">
                  <c:v>44716</c:v>
                </c:pt>
                <c:pt idx="521">
                  <c:v>44717</c:v>
                </c:pt>
                <c:pt idx="522">
                  <c:v>44718</c:v>
                </c:pt>
                <c:pt idx="523">
                  <c:v>44719</c:v>
                </c:pt>
                <c:pt idx="524">
                  <c:v>44720</c:v>
                </c:pt>
                <c:pt idx="525">
                  <c:v>44721</c:v>
                </c:pt>
                <c:pt idx="526">
                  <c:v>44722</c:v>
                </c:pt>
                <c:pt idx="527">
                  <c:v>44723</c:v>
                </c:pt>
                <c:pt idx="528">
                  <c:v>44724</c:v>
                </c:pt>
                <c:pt idx="529">
                  <c:v>44725</c:v>
                </c:pt>
                <c:pt idx="530">
                  <c:v>44726</c:v>
                </c:pt>
                <c:pt idx="531">
                  <c:v>44727</c:v>
                </c:pt>
                <c:pt idx="532">
                  <c:v>44728</c:v>
                </c:pt>
                <c:pt idx="533">
                  <c:v>44729</c:v>
                </c:pt>
                <c:pt idx="534">
                  <c:v>44730</c:v>
                </c:pt>
                <c:pt idx="535">
                  <c:v>44731</c:v>
                </c:pt>
                <c:pt idx="536">
                  <c:v>44732</c:v>
                </c:pt>
                <c:pt idx="537">
                  <c:v>44733</c:v>
                </c:pt>
                <c:pt idx="538">
                  <c:v>44734</c:v>
                </c:pt>
                <c:pt idx="539">
                  <c:v>44735</c:v>
                </c:pt>
                <c:pt idx="540">
                  <c:v>44736</c:v>
                </c:pt>
                <c:pt idx="541">
                  <c:v>44737</c:v>
                </c:pt>
                <c:pt idx="542">
                  <c:v>44738</c:v>
                </c:pt>
                <c:pt idx="543">
                  <c:v>44739</c:v>
                </c:pt>
                <c:pt idx="544">
                  <c:v>44740</c:v>
                </c:pt>
                <c:pt idx="545">
                  <c:v>44741</c:v>
                </c:pt>
                <c:pt idx="546">
                  <c:v>44742</c:v>
                </c:pt>
                <c:pt idx="547">
                  <c:v>44743</c:v>
                </c:pt>
                <c:pt idx="548">
                  <c:v>44744</c:v>
                </c:pt>
                <c:pt idx="549">
                  <c:v>44745</c:v>
                </c:pt>
                <c:pt idx="550">
                  <c:v>44746</c:v>
                </c:pt>
                <c:pt idx="551">
                  <c:v>44747</c:v>
                </c:pt>
                <c:pt idx="552">
                  <c:v>44748</c:v>
                </c:pt>
                <c:pt idx="553">
                  <c:v>44749</c:v>
                </c:pt>
                <c:pt idx="554">
                  <c:v>44750</c:v>
                </c:pt>
                <c:pt idx="555">
                  <c:v>44751</c:v>
                </c:pt>
                <c:pt idx="556">
                  <c:v>44752</c:v>
                </c:pt>
                <c:pt idx="557">
                  <c:v>44753</c:v>
                </c:pt>
                <c:pt idx="558">
                  <c:v>44754</c:v>
                </c:pt>
                <c:pt idx="559">
                  <c:v>44755</c:v>
                </c:pt>
                <c:pt idx="560">
                  <c:v>44756</c:v>
                </c:pt>
                <c:pt idx="561">
                  <c:v>44757</c:v>
                </c:pt>
                <c:pt idx="562">
                  <c:v>44758</c:v>
                </c:pt>
                <c:pt idx="563">
                  <c:v>44759</c:v>
                </c:pt>
                <c:pt idx="564">
                  <c:v>44760</c:v>
                </c:pt>
                <c:pt idx="565">
                  <c:v>44761</c:v>
                </c:pt>
                <c:pt idx="566">
                  <c:v>44762</c:v>
                </c:pt>
                <c:pt idx="567">
                  <c:v>44763</c:v>
                </c:pt>
                <c:pt idx="568">
                  <c:v>44764</c:v>
                </c:pt>
                <c:pt idx="569">
                  <c:v>44765</c:v>
                </c:pt>
                <c:pt idx="570">
                  <c:v>44766</c:v>
                </c:pt>
                <c:pt idx="571">
                  <c:v>44767</c:v>
                </c:pt>
                <c:pt idx="572">
                  <c:v>44768</c:v>
                </c:pt>
                <c:pt idx="573">
                  <c:v>44769</c:v>
                </c:pt>
                <c:pt idx="574">
                  <c:v>44770</c:v>
                </c:pt>
                <c:pt idx="575">
                  <c:v>44771</c:v>
                </c:pt>
                <c:pt idx="576">
                  <c:v>44772</c:v>
                </c:pt>
                <c:pt idx="577">
                  <c:v>44773</c:v>
                </c:pt>
                <c:pt idx="578">
                  <c:v>44774</c:v>
                </c:pt>
                <c:pt idx="579">
                  <c:v>44775</c:v>
                </c:pt>
                <c:pt idx="580">
                  <c:v>44776</c:v>
                </c:pt>
                <c:pt idx="581">
                  <c:v>44777</c:v>
                </c:pt>
                <c:pt idx="582">
                  <c:v>44778</c:v>
                </c:pt>
                <c:pt idx="583">
                  <c:v>44779</c:v>
                </c:pt>
                <c:pt idx="584">
                  <c:v>44780</c:v>
                </c:pt>
                <c:pt idx="585">
                  <c:v>44781</c:v>
                </c:pt>
                <c:pt idx="586">
                  <c:v>44782</c:v>
                </c:pt>
                <c:pt idx="587">
                  <c:v>44783</c:v>
                </c:pt>
                <c:pt idx="588">
                  <c:v>44784</c:v>
                </c:pt>
                <c:pt idx="589">
                  <c:v>44785</c:v>
                </c:pt>
                <c:pt idx="590">
                  <c:v>44786</c:v>
                </c:pt>
                <c:pt idx="591">
                  <c:v>44787</c:v>
                </c:pt>
                <c:pt idx="592">
                  <c:v>44788</c:v>
                </c:pt>
                <c:pt idx="593">
                  <c:v>44789</c:v>
                </c:pt>
                <c:pt idx="594">
                  <c:v>44790</c:v>
                </c:pt>
                <c:pt idx="595">
                  <c:v>44791</c:v>
                </c:pt>
                <c:pt idx="596">
                  <c:v>44792</c:v>
                </c:pt>
                <c:pt idx="597">
                  <c:v>44793</c:v>
                </c:pt>
                <c:pt idx="598">
                  <c:v>44794</c:v>
                </c:pt>
                <c:pt idx="599">
                  <c:v>44795</c:v>
                </c:pt>
                <c:pt idx="600">
                  <c:v>44796</c:v>
                </c:pt>
                <c:pt idx="601">
                  <c:v>44797</c:v>
                </c:pt>
                <c:pt idx="602">
                  <c:v>44798</c:v>
                </c:pt>
                <c:pt idx="603">
                  <c:v>44799</c:v>
                </c:pt>
                <c:pt idx="604">
                  <c:v>44800</c:v>
                </c:pt>
                <c:pt idx="605">
                  <c:v>44801</c:v>
                </c:pt>
                <c:pt idx="606">
                  <c:v>44802</c:v>
                </c:pt>
                <c:pt idx="607">
                  <c:v>44803</c:v>
                </c:pt>
                <c:pt idx="608">
                  <c:v>44804</c:v>
                </c:pt>
                <c:pt idx="609">
                  <c:v>44805</c:v>
                </c:pt>
                <c:pt idx="610">
                  <c:v>44806</c:v>
                </c:pt>
                <c:pt idx="611">
                  <c:v>44807</c:v>
                </c:pt>
                <c:pt idx="612">
                  <c:v>44808</c:v>
                </c:pt>
                <c:pt idx="613">
                  <c:v>44809</c:v>
                </c:pt>
                <c:pt idx="614">
                  <c:v>44810</c:v>
                </c:pt>
                <c:pt idx="615">
                  <c:v>44811</c:v>
                </c:pt>
                <c:pt idx="616">
                  <c:v>44812</c:v>
                </c:pt>
                <c:pt idx="617">
                  <c:v>44813</c:v>
                </c:pt>
                <c:pt idx="618">
                  <c:v>44814</c:v>
                </c:pt>
                <c:pt idx="619">
                  <c:v>44815</c:v>
                </c:pt>
                <c:pt idx="620">
                  <c:v>44816</c:v>
                </c:pt>
                <c:pt idx="621">
                  <c:v>44817</c:v>
                </c:pt>
                <c:pt idx="622">
                  <c:v>44818</c:v>
                </c:pt>
                <c:pt idx="623">
                  <c:v>44819</c:v>
                </c:pt>
                <c:pt idx="624">
                  <c:v>44820</c:v>
                </c:pt>
                <c:pt idx="625">
                  <c:v>44821</c:v>
                </c:pt>
                <c:pt idx="626">
                  <c:v>44822</c:v>
                </c:pt>
                <c:pt idx="627">
                  <c:v>44823</c:v>
                </c:pt>
                <c:pt idx="628">
                  <c:v>44824</c:v>
                </c:pt>
                <c:pt idx="629">
                  <c:v>44825</c:v>
                </c:pt>
                <c:pt idx="630">
                  <c:v>44826</c:v>
                </c:pt>
                <c:pt idx="631">
                  <c:v>44827</c:v>
                </c:pt>
                <c:pt idx="632">
                  <c:v>44828</c:v>
                </c:pt>
                <c:pt idx="633">
                  <c:v>44829</c:v>
                </c:pt>
                <c:pt idx="634">
                  <c:v>44830</c:v>
                </c:pt>
                <c:pt idx="635">
                  <c:v>44831</c:v>
                </c:pt>
                <c:pt idx="636">
                  <c:v>44832</c:v>
                </c:pt>
                <c:pt idx="637">
                  <c:v>44833</c:v>
                </c:pt>
                <c:pt idx="638">
                  <c:v>44834</c:v>
                </c:pt>
                <c:pt idx="639">
                  <c:v>44835</c:v>
                </c:pt>
                <c:pt idx="640">
                  <c:v>44836</c:v>
                </c:pt>
                <c:pt idx="641">
                  <c:v>44837</c:v>
                </c:pt>
                <c:pt idx="642">
                  <c:v>44838</c:v>
                </c:pt>
                <c:pt idx="643">
                  <c:v>44839</c:v>
                </c:pt>
                <c:pt idx="644">
                  <c:v>44840</c:v>
                </c:pt>
                <c:pt idx="645">
                  <c:v>44841</c:v>
                </c:pt>
                <c:pt idx="646">
                  <c:v>44842</c:v>
                </c:pt>
                <c:pt idx="647">
                  <c:v>44843</c:v>
                </c:pt>
                <c:pt idx="648">
                  <c:v>44844</c:v>
                </c:pt>
                <c:pt idx="649">
                  <c:v>44845</c:v>
                </c:pt>
                <c:pt idx="650">
                  <c:v>44846</c:v>
                </c:pt>
                <c:pt idx="651">
                  <c:v>44847</c:v>
                </c:pt>
                <c:pt idx="652">
                  <c:v>44848</c:v>
                </c:pt>
                <c:pt idx="653">
                  <c:v>44849</c:v>
                </c:pt>
                <c:pt idx="654">
                  <c:v>44850</c:v>
                </c:pt>
                <c:pt idx="655">
                  <c:v>44851</c:v>
                </c:pt>
                <c:pt idx="656">
                  <c:v>44852</c:v>
                </c:pt>
                <c:pt idx="657">
                  <c:v>44853</c:v>
                </c:pt>
                <c:pt idx="658">
                  <c:v>44854</c:v>
                </c:pt>
                <c:pt idx="659">
                  <c:v>44855</c:v>
                </c:pt>
                <c:pt idx="660">
                  <c:v>44856</c:v>
                </c:pt>
                <c:pt idx="661">
                  <c:v>44857</c:v>
                </c:pt>
                <c:pt idx="662">
                  <c:v>44858</c:v>
                </c:pt>
                <c:pt idx="663">
                  <c:v>44859</c:v>
                </c:pt>
                <c:pt idx="664">
                  <c:v>44860</c:v>
                </c:pt>
                <c:pt idx="665">
                  <c:v>44861</c:v>
                </c:pt>
                <c:pt idx="666">
                  <c:v>44862</c:v>
                </c:pt>
                <c:pt idx="667">
                  <c:v>44863</c:v>
                </c:pt>
                <c:pt idx="668">
                  <c:v>44864</c:v>
                </c:pt>
                <c:pt idx="669">
                  <c:v>44865</c:v>
                </c:pt>
                <c:pt idx="670">
                  <c:v>44866</c:v>
                </c:pt>
                <c:pt idx="671">
                  <c:v>44867</c:v>
                </c:pt>
                <c:pt idx="672">
                  <c:v>44868</c:v>
                </c:pt>
                <c:pt idx="673">
                  <c:v>44869</c:v>
                </c:pt>
                <c:pt idx="674">
                  <c:v>44870</c:v>
                </c:pt>
                <c:pt idx="675">
                  <c:v>44871</c:v>
                </c:pt>
                <c:pt idx="676">
                  <c:v>44872</c:v>
                </c:pt>
                <c:pt idx="677">
                  <c:v>44873</c:v>
                </c:pt>
                <c:pt idx="678">
                  <c:v>44874</c:v>
                </c:pt>
                <c:pt idx="679">
                  <c:v>44875</c:v>
                </c:pt>
                <c:pt idx="680">
                  <c:v>44876</c:v>
                </c:pt>
                <c:pt idx="681">
                  <c:v>44877</c:v>
                </c:pt>
                <c:pt idx="682">
                  <c:v>44878</c:v>
                </c:pt>
                <c:pt idx="683">
                  <c:v>44879</c:v>
                </c:pt>
                <c:pt idx="684">
                  <c:v>44880</c:v>
                </c:pt>
                <c:pt idx="685">
                  <c:v>44881</c:v>
                </c:pt>
                <c:pt idx="686">
                  <c:v>44882</c:v>
                </c:pt>
                <c:pt idx="687">
                  <c:v>44883</c:v>
                </c:pt>
                <c:pt idx="688">
                  <c:v>44884</c:v>
                </c:pt>
                <c:pt idx="689">
                  <c:v>44885</c:v>
                </c:pt>
                <c:pt idx="690">
                  <c:v>44886</c:v>
                </c:pt>
                <c:pt idx="691">
                  <c:v>44887</c:v>
                </c:pt>
                <c:pt idx="692">
                  <c:v>44888</c:v>
                </c:pt>
                <c:pt idx="693">
                  <c:v>44889</c:v>
                </c:pt>
                <c:pt idx="694">
                  <c:v>44890</c:v>
                </c:pt>
                <c:pt idx="695">
                  <c:v>44891</c:v>
                </c:pt>
                <c:pt idx="696">
                  <c:v>44892</c:v>
                </c:pt>
                <c:pt idx="697">
                  <c:v>44893</c:v>
                </c:pt>
                <c:pt idx="698">
                  <c:v>44894</c:v>
                </c:pt>
                <c:pt idx="699">
                  <c:v>44895</c:v>
                </c:pt>
                <c:pt idx="700">
                  <c:v>44896</c:v>
                </c:pt>
                <c:pt idx="701">
                  <c:v>44897</c:v>
                </c:pt>
                <c:pt idx="702">
                  <c:v>44898</c:v>
                </c:pt>
                <c:pt idx="703">
                  <c:v>44899</c:v>
                </c:pt>
                <c:pt idx="704">
                  <c:v>44900</c:v>
                </c:pt>
                <c:pt idx="705">
                  <c:v>44901</c:v>
                </c:pt>
                <c:pt idx="706">
                  <c:v>44902</c:v>
                </c:pt>
                <c:pt idx="707">
                  <c:v>44903</c:v>
                </c:pt>
                <c:pt idx="708">
                  <c:v>44904</c:v>
                </c:pt>
                <c:pt idx="709">
                  <c:v>44905</c:v>
                </c:pt>
                <c:pt idx="710">
                  <c:v>44906</c:v>
                </c:pt>
                <c:pt idx="711">
                  <c:v>44907</c:v>
                </c:pt>
                <c:pt idx="712">
                  <c:v>44908</c:v>
                </c:pt>
                <c:pt idx="713">
                  <c:v>44909</c:v>
                </c:pt>
                <c:pt idx="714">
                  <c:v>44910</c:v>
                </c:pt>
                <c:pt idx="715">
                  <c:v>44911</c:v>
                </c:pt>
                <c:pt idx="716">
                  <c:v>44912</c:v>
                </c:pt>
                <c:pt idx="717">
                  <c:v>44913</c:v>
                </c:pt>
                <c:pt idx="718">
                  <c:v>44914</c:v>
                </c:pt>
                <c:pt idx="719">
                  <c:v>44915</c:v>
                </c:pt>
                <c:pt idx="720">
                  <c:v>44916</c:v>
                </c:pt>
                <c:pt idx="721">
                  <c:v>44917</c:v>
                </c:pt>
                <c:pt idx="722">
                  <c:v>44918</c:v>
                </c:pt>
                <c:pt idx="723">
                  <c:v>44919</c:v>
                </c:pt>
                <c:pt idx="724">
                  <c:v>44920</c:v>
                </c:pt>
                <c:pt idx="725">
                  <c:v>44921</c:v>
                </c:pt>
                <c:pt idx="726">
                  <c:v>44922</c:v>
                </c:pt>
                <c:pt idx="727">
                  <c:v>44923</c:v>
                </c:pt>
                <c:pt idx="728">
                  <c:v>44924</c:v>
                </c:pt>
                <c:pt idx="729">
                  <c:v>44925</c:v>
                </c:pt>
                <c:pt idx="730">
                  <c:v>44926</c:v>
                </c:pt>
                <c:pt idx="731">
                  <c:v>44927</c:v>
                </c:pt>
                <c:pt idx="732">
                  <c:v>44928</c:v>
                </c:pt>
                <c:pt idx="733">
                  <c:v>44929</c:v>
                </c:pt>
                <c:pt idx="734">
                  <c:v>44930</c:v>
                </c:pt>
                <c:pt idx="735">
                  <c:v>44931</c:v>
                </c:pt>
                <c:pt idx="736">
                  <c:v>44932</c:v>
                </c:pt>
                <c:pt idx="737">
                  <c:v>44933</c:v>
                </c:pt>
                <c:pt idx="738">
                  <c:v>44934</c:v>
                </c:pt>
                <c:pt idx="739">
                  <c:v>44935</c:v>
                </c:pt>
                <c:pt idx="740">
                  <c:v>44936</c:v>
                </c:pt>
                <c:pt idx="741">
                  <c:v>44937</c:v>
                </c:pt>
                <c:pt idx="742">
                  <c:v>44938</c:v>
                </c:pt>
                <c:pt idx="743">
                  <c:v>44939</c:v>
                </c:pt>
                <c:pt idx="744">
                  <c:v>44940</c:v>
                </c:pt>
                <c:pt idx="745">
                  <c:v>44941</c:v>
                </c:pt>
                <c:pt idx="746">
                  <c:v>44942</c:v>
                </c:pt>
                <c:pt idx="747">
                  <c:v>44943</c:v>
                </c:pt>
                <c:pt idx="748">
                  <c:v>44944</c:v>
                </c:pt>
                <c:pt idx="749">
                  <c:v>44945</c:v>
                </c:pt>
                <c:pt idx="750">
                  <c:v>44946</c:v>
                </c:pt>
                <c:pt idx="751">
                  <c:v>44947</c:v>
                </c:pt>
                <c:pt idx="752">
                  <c:v>44948</c:v>
                </c:pt>
                <c:pt idx="753">
                  <c:v>44949</c:v>
                </c:pt>
                <c:pt idx="754">
                  <c:v>44950</c:v>
                </c:pt>
                <c:pt idx="755">
                  <c:v>44951</c:v>
                </c:pt>
                <c:pt idx="756">
                  <c:v>44952</c:v>
                </c:pt>
                <c:pt idx="757">
                  <c:v>44953</c:v>
                </c:pt>
                <c:pt idx="758">
                  <c:v>44954</c:v>
                </c:pt>
                <c:pt idx="759">
                  <c:v>44955</c:v>
                </c:pt>
                <c:pt idx="760">
                  <c:v>44956</c:v>
                </c:pt>
                <c:pt idx="761">
                  <c:v>44957</c:v>
                </c:pt>
                <c:pt idx="762">
                  <c:v>44958</c:v>
                </c:pt>
                <c:pt idx="763">
                  <c:v>44959</c:v>
                </c:pt>
                <c:pt idx="764">
                  <c:v>44960</c:v>
                </c:pt>
                <c:pt idx="765">
                  <c:v>44961</c:v>
                </c:pt>
                <c:pt idx="766">
                  <c:v>44962</c:v>
                </c:pt>
                <c:pt idx="767">
                  <c:v>44963</c:v>
                </c:pt>
                <c:pt idx="768">
                  <c:v>44964</c:v>
                </c:pt>
                <c:pt idx="769">
                  <c:v>44965</c:v>
                </c:pt>
                <c:pt idx="770">
                  <c:v>44966</c:v>
                </c:pt>
                <c:pt idx="771">
                  <c:v>44967</c:v>
                </c:pt>
                <c:pt idx="772">
                  <c:v>44968</c:v>
                </c:pt>
                <c:pt idx="773">
                  <c:v>44969</c:v>
                </c:pt>
                <c:pt idx="774">
                  <c:v>44970</c:v>
                </c:pt>
                <c:pt idx="775">
                  <c:v>44971</c:v>
                </c:pt>
                <c:pt idx="776">
                  <c:v>44972</c:v>
                </c:pt>
                <c:pt idx="777">
                  <c:v>44973</c:v>
                </c:pt>
                <c:pt idx="778">
                  <c:v>44974</c:v>
                </c:pt>
                <c:pt idx="779">
                  <c:v>44975</c:v>
                </c:pt>
                <c:pt idx="780">
                  <c:v>44976</c:v>
                </c:pt>
                <c:pt idx="781">
                  <c:v>44977</c:v>
                </c:pt>
                <c:pt idx="782">
                  <c:v>44978</c:v>
                </c:pt>
                <c:pt idx="783">
                  <c:v>44979</c:v>
                </c:pt>
                <c:pt idx="784">
                  <c:v>44980</c:v>
                </c:pt>
                <c:pt idx="785">
                  <c:v>44981</c:v>
                </c:pt>
                <c:pt idx="786">
                  <c:v>44982</c:v>
                </c:pt>
                <c:pt idx="787">
                  <c:v>44983</c:v>
                </c:pt>
                <c:pt idx="788">
                  <c:v>44984</c:v>
                </c:pt>
                <c:pt idx="789">
                  <c:v>44985</c:v>
                </c:pt>
                <c:pt idx="790">
                  <c:v>44986</c:v>
                </c:pt>
                <c:pt idx="791">
                  <c:v>44987</c:v>
                </c:pt>
                <c:pt idx="792">
                  <c:v>44988</c:v>
                </c:pt>
                <c:pt idx="793">
                  <c:v>44989</c:v>
                </c:pt>
                <c:pt idx="794">
                  <c:v>44990</c:v>
                </c:pt>
                <c:pt idx="795">
                  <c:v>44991</c:v>
                </c:pt>
                <c:pt idx="796">
                  <c:v>44992</c:v>
                </c:pt>
                <c:pt idx="797">
                  <c:v>44993</c:v>
                </c:pt>
                <c:pt idx="798">
                  <c:v>44994</c:v>
                </c:pt>
                <c:pt idx="799">
                  <c:v>44995</c:v>
                </c:pt>
                <c:pt idx="800">
                  <c:v>44996</c:v>
                </c:pt>
                <c:pt idx="801">
                  <c:v>44997</c:v>
                </c:pt>
                <c:pt idx="802">
                  <c:v>44998</c:v>
                </c:pt>
                <c:pt idx="803">
                  <c:v>44999</c:v>
                </c:pt>
                <c:pt idx="804">
                  <c:v>45000</c:v>
                </c:pt>
                <c:pt idx="805">
                  <c:v>45001</c:v>
                </c:pt>
                <c:pt idx="806">
                  <c:v>45002</c:v>
                </c:pt>
                <c:pt idx="807">
                  <c:v>45003</c:v>
                </c:pt>
                <c:pt idx="808">
                  <c:v>45004</c:v>
                </c:pt>
                <c:pt idx="809">
                  <c:v>45005</c:v>
                </c:pt>
                <c:pt idx="810">
                  <c:v>45006</c:v>
                </c:pt>
                <c:pt idx="811">
                  <c:v>45007</c:v>
                </c:pt>
                <c:pt idx="812">
                  <c:v>45008</c:v>
                </c:pt>
                <c:pt idx="813">
                  <c:v>45009</c:v>
                </c:pt>
                <c:pt idx="814">
                  <c:v>45010</c:v>
                </c:pt>
                <c:pt idx="815">
                  <c:v>45011</c:v>
                </c:pt>
                <c:pt idx="816">
                  <c:v>45012</c:v>
                </c:pt>
                <c:pt idx="817">
                  <c:v>45013</c:v>
                </c:pt>
                <c:pt idx="818">
                  <c:v>45014</c:v>
                </c:pt>
                <c:pt idx="819">
                  <c:v>45015</c:v>
                </c:pt>
                <c:pt idx="820">
                  <c:v>45016</c:v>
                </c:pt>
                <c:pt idx="821">
                  <c:v>45017</c:v>
                </c:pt>
                <c:pt idx="822">
                  <c:v>45018</c:v>
                </c:pt>
                <c:pt idx="823">
                  <c:v>45019</c:v>
                </c:pt>
                <c:pt idx="824">
                  <c:v>45020</c:v>
                </c:pt>
                <c:pt idx="825">
                  <c:v>45021</c:v>
                </c:pt>
                <c:pt idx="826">
                  <c:v>45022</c:v>
                </c:pt>
                <c:pt idx="827">
                  <c:v>45023</c:v>
                </c:pt>
                <c:pt idx="828">
                  <c:v>45024</c:v>
                </c:pt>
                <c:pt idx="829">
                  <c:v>45025</c:v>
                </c:pt>
                <c:pt idx="830">
                  <c:v>45026</c:v>
                </c:pt>
                <c:pt idx="831">
                  <c:v>45027</c:v>
                </c:pt>
                <c:pt idx="832">
                  <c:v>45028</c:v>
                </c:pt>
                <c:pt idx="833">
                  <c:v>45029</c:v>
                </c:pt>
                <c:pt idx="834">
                  <c:v>45030</c:v>
                </c:pt>
                <c:pt idx="835">
                  <c:v>45031</c:v>
                </c:pt>
                <c:pt idx="836">
                  <c:v>45032</c:v>
                </c:pt>
                <c:pt idx="837">
                  <c:v>45033</c:v>
                </c:pt>
                <c:pt idx="838">
                  <c:v>45034</c:v>
                </c:pt>
                <c:pt idx="839">
                  <c:v>45035</c:v>
                </c:pt>
                <c:pt idx="840">
                  <c:v>45036</c:v>
                </c:pt>
                <c:pt idx="841">
                  <c:v>45037</c:v>
                </c:pt>
                <c:pt idx="842">
                  <c:v>45038</c:v>
                </c:pt>
                <c:pt idx="843">
                  <c:v>45039</c:v>
                </c:pt>
                <c:pt idx="844">
                  <c:v>45040</c:v>
                </c:pt>
                <c:pt idx="845">
                  <c:v>45041</c:v>
                </c:pt>
                <c:pt idx="846">
                  <c:v>45042</c:v>
                </c:pt>
                <c:pt idx="847">
                  <c:v>45043</c:v>
                </c:pt>
                <c:pt idx="848">
                  <c:v>45044</c:v>
                </c:pt>
                <c:pt idx="849">
                  <c:v>45045</c:v>
                </c:pt>
                <c:pt idx="850">
                  <c:v>45046</c:v>
                </c:pt>
                <c:pt idx="851">
                  <c:v>45047</c:v>
                </c:pt>
                <c:pt idx="852">
                  <c:v>45048</c:v>
                </c:pt>
                <c:pt idx="853">
                  <c:v>45049</c:v>
                </c:pt>
                <c:pt idx="854">
                  <c:v>45050</c:v>
                </c:pt>
                <c:pt idx="855">
                  <c:v>45051</c:v>
                </c:pt>
                <c:pt idx="856">
                  <c:v>45052</c:v>
                </c:pt>
                <c:pt idx="857">
                  <c:v>45053</c:v>
                </c:pt>
                <c:pt idx="858">
                  <c:v>45054</c:v>
                </c:pt>
                <c:pt idx="859">
                  <c:v>45055</c:v>
                </c:pt>
                <c:pt idx="860">
                  <c:v>45056</c:v>
                </c:pt>
                <c:pt idx="861">
                  <c:v>45057</c:v>
                </c:pt>
                <c:pt idx="862">
                  <c:v>45058</c:v>
                </c:pt>
                <c:pt idx="863">
                  <c:v>45059</c:v>
                </c:pt>
                <c:pt idx="864">
                  <c:v>45060</c:v>
                </c:pt>
                <c:pt idx="865">
                  <c:v>45061</c:v>
                </c:pt>
                <c:pt idx="866">
                  <c:v>45062</c:v>
                </c:pt>
                <c:pt idx="867">
                  <c:v>45063</c:v>
                </c:pt>
                <c:pt idx="868">
                  <c:v>45064</c:v>
                </c:pt>
                <c:pt idx="869">
                  <c:v>45065</c:v>
                </c:pt>
                <c:pt idx="870">
                  <c:v>45066</c:v>
                </c:pt>
                <c:pt idx="871">
                  <c:v>45067</c:v>
                </c:pt>
                <c:pt idx="872">
                  <c:v>45068</c:v>
                </c:pt>
                <c:pt idx="873">
                  <c:v>45069</c:v>
                </c:pt>
                <c:pt idx="874">
                  <c:v>45070</c:v>
                </c:pt>
                <c:pt idx="875">
                  <c:v>45071</c:v>
                </c:pt>
                <c:pt idx="876">
                  <c:v>45072</c:v>
                </c:pt>
                <c:pt idx="877">
                  <c:v>45073</c:v>
                </c:pt>
                <c:pt idx="878">
                  <c:v>45074</c:v>
                </c:pt>
                <c:pt idx="879">
                  <c:v>45075</c:v>
                </c:pt>
                <c:pt idx="880">
                  <c:v>45076</c:v>
                </c:pt>
                <c:pt idx="881">
                  <c:v>45077</c:v>
                </c:pt>
                <c:pt idx="882">
                  <c:v>45078</c:v>
                </c:pt>
                <c:pt idx="883">
                  <c:v>45079</c:v>
                </c:pt>
                <c:pt idx="884">
                  <c:v>45080</c:v>
                </c:pt>
                <c:pt idx="885">
                  <c:v>45081</c:v>
                </c:pt>
                <c:pt idx="886">
                  <c:v>45082</c:v>
                </c:pt>
                <c:pt idx="887">
                  <c:v>45083</c:v>
                </c:pt>
                <c:pt idx="888">
                  <c:v>45084</c:v>
                </c:pt>
                <c:pt idx="889">
                  <c:v>45085</c:v>
                </c:pt>
                <c:pt idx="890">
                  <c:v>45086</c:v>
                </c:pt>
                <c:pt idx="891">
                  <c:v>45087</c:v>
                </c:pt>
                <c:pt idx="892">
                  <c:v>45088</c:v>
                </c:pt>
                <c:pt idx="893">
                  <c:v>45089</c:v>
                </c:pt>
                <c:pt idx="894">
                  <c:v>45090</c:v>
                </c:pt>
                <c:pt idx="895">
                  <c:v>45091</c:v>
                </c:pt>
                <c:pt idx="896">
                  <c:v>45092</c:v>
                </c:pt>
                <c:pt idx="897">
                  <c:v>45093</c:v>
                </c:pt>
                <c:pt idx="898">
                  <c:v>45094</c:v>
                </c:pt>
                <c:pt idx="899">
                  <c:v>45095</c:v>
                </c:pt>
                <c:pt idx="900">
                  <c:v>45096</c:v>
                </c:pt>
                <c:pt idx="901">
                  <c:v>45097</c:v>
                </c:pt>
                <c:pt idx="902">
                  <c:v>45098</c:v>
                </c:pt>
                <c:pt idx="903">
                  <c:v>45099</c:v>
                </c:pt>
                <c:pt idx="904">
                  <c:v>45100</c:v>
                </c:pt>
                <c:pt idx="905">
                  <c:v>45101</c:v>
                </c:pt>
                <c:pt idx="906">
                  <c:v>45102</c:v>
                </c:pt>
                <c:pt idx="907">
                  <c:v>45103</c:v>
                </c:pt>
                <c:pt idx="908">
                  <c:v>45104</c:v>
                </c:pt>
                <c:pt idx="909">
                  <c:v>45105</c:v>
                </c:pt>
                <c:pt idx="910">
                  <c:v>45106</c:v>
                </c:pt>
                <c:pt idx="911">
                  <c:v>45107</c:v>
                </c:pt>
                <c:pt idx="912">
                  <c:v>45108</c:v>
                </c:pt>
                <c:pt idx="913">
                  <c:v>45109</c:v>
                </c:pt>
                <c:pt idx="914">
                  <c:v>45110</c:v>
                </c:pt>
                <c:pt idx="915">
                  <c:v>45111</c:v>
                </c:pt>
                <c:pt idx="916">
                  <c:v>45112</c:v>
                </c:pt>
                <c:pt idx="917">
                  <c:v>45113</c:v>
                </c:pt>
                <c:pt idx="918">
                  <c:v>45114</c:v>
                </c:pt>
                <c:pt idx="919">
                  <c:v>45115</c:v>
                </c:pt>
                <c:pt idx="920">
                  <c:v>45116</c:v>
                </c:pt>
                <c:pt idx="921">
                  <c:v>45117</c:v>
                </c:pt>
                <c:pt idx="922">
                  <c:v>45118</c:v>
                </c:pt>
                <c:pt idx="923">
                  <c:v>45119</c:v>
                </c:pt>
                <c:pt idx="924">
                  <c:v>45120</c:v>
                </c:pt>
                <c:pt idx="925">
                  <c:v>45121</c:v>
                </c:pt>
                <c:pt idx="926">
                  <c:v>45122</c:v>
                </c:pt>
                <c:pt idx="927">
                  <c:v>45123</c:v>
                </c:pt>
                <c:pt idx="928">
                  <c:v>45124</c:v>
                </c:pt>
                <c:pt idx="929">
                  <c:v>45125</c:v>
                </c:pt>
                <c:pt idx="930">
                  <c:v>45126</c:v>
                </c:pt>
                <c:pt idx="931">
                  <c:v>45127</c:v>
                </c:pt>
                <c:pt idx="932">
                  <c:v>45128</c:v>
                </c:pt>
                <c:pt idx="933">
                  <c:v>45129</c:v>
                </c:pt>
                <c:pt idx="934">
                  <c:v>45130</c:v>
                </c:pt>
                <c:pt idx="935">
                  <c:v>45131</c:v>
                </c:pt>
                <c:pt idx="936">
                  <c:v>45132</c:v>
                </c:pt>
                <c:pt idx="937">
                  <c:v>45133</c:v>
                </c:pt>
                <c:pt idx="938">
                  <c:v>45134</c:v>
                </c:pt>
                <c:pt idx="939">
                  <c:v>45135</c:v>
                </c:pt>
                <c:pt idx="940">
                  <c:v>45136</c:v>
                </c:pt>
                <c:pt idx="941">
                  <c:v>45137</c:v>
                </c:pt>
                <c:pt idx="942">
                  <c:v>45138</c:v>
                </c:pt>
                <c:pt idx="943">
                  <c:v>45139</c:v>
                </c:pt>
                <c:pt idx="944">
                  <c:v>45140</c:v>
                </c:pt>
                <c:pt idx="945">
                  <c:v>45141</c:v>
                </c:pt>
                <c:pt idx="946">
                  <c:v>45142</c:v>
                </c:pt>
                <c:pt idx="947">
                  <c:v>45143</c:v>
                </c:pt>
                <c:pt idx="948">
                  <c:v>45144</c:v>
                </c:pt>
                <c:pt idx="949">
                  <c:v>45145</c:v>
                </c:pt>
                <c:pt idx="950">
                  <c:v>45146</c:v>
                </c:pt>
                <c:pt idx="951">
                  <c:v>45147</c:v>
                </c:pt>
                <c:pt idx="952">
                  <c:v>45148</c:v>
                </c:pt>
                <c:pt idx="953">
                  <c:v>45149</c:v>
                </c:pt>
                <c:pt idx="954">
                  <c:v>45150</c:v>
                </c:pt>
                <c:pt idx="955">
                  <c:v>45151</c:v>
                </c:pt>
                <c:pt idx="956">
                  <c:v>45152</c:v>
                </c:pt>
                <c:pt idx="957">
                  <c:v>45153</c:v>
                </c:pt>
                <c:pt idx="958">
                  <c:v>45154</c:v>
                </c:pt>
                <c:pt idx="959">
                  <c:v>45155</c:v>
                </c:pt>
                <c:pt idx="960">
                  <c:v>45156</c:v>
                </c:pt>
                <c:pt idx="961">
                  <c:v>45157</c:v>
                </c:pt>
                <c:pt idx="962">
                  <c:v>45158</c:v>
                </c:pt>
                <c:pt idx="963">
                  <c:v>45159</c:v>
                </c:pt>
                <c:pt idx="964">
                  <c:v>45160</c:v>
                </c:pt>
                <c:pt idx="965">
                  <c:v>45161</c:v>
                </c:pt>
                <c:pt idx="966">
                  <c:v>45162</c:v>
                </c:pt>
                <c:pt idx="967">
                  <c:v>45163</c:v>
                </c:pt>
                <c:pt idx="968">
                  <c:v>45164</c:v>
                </c:pt>
                <c:pt idx="969">
                  <c:v>45165</c:v>
                </c:pt>
                <c:pt idx="970">
                  <c:v>45166</c:v>
                </c:pt>
                <c:pt idx="971">
                  <c:v>45167</c:v>
                </c:pt>
                <c:pt idx="972">
                  <c:v>45168</c:v>
                </c:pt>
                <c:pt idx="973">
                  <c:v>45169</c:v>
                </c:pt>
                <c:pt idx="974">
                  <c:v>45170</c:v>
                </c:pt>
                <c:pt idx="975">
                  <c:v>45171</c:v>
                </c:pt>
                <c:pt idx="976">
                  <c:v>45172</c:v>
                </c:pt>
                <c:pt idx="977">
                  <c:v>45173</c:v>
                </c:pt>
                <c:pt idx="978">
                  <c:v>45174</c:v>
                </c:pt>
                <c:pt idx="979">
                  <c:v>45175</c:v>
                </c:pt>
                <c:pt idx="980">
                  <c:v>45176</c:v>
                </c:pt>
                <c:pt idx="981">
                  <c:v>45177</c:v>
                </c:pt>
                <c:pt idx="982">
                  <c:v>45178</c:v>
                </c:pt>
                <c:pt idx="983">
                  <c:v>45179</c:v>
                </c:pt>
                <c:pt idx="984">
                  <c:v>45180</c:v>
                </c:pt>
                <c:pt idx="985">
                  <c:v>45181</c:v>
                </c:pt>
                <c:pt idx="986">
                  <c:v>45182</c:v>
                </c:pt>
                <c:pt idx="987">
                  <c:v>45183</c:v>
                </c:pt>
                <c:pt idx="988">
                  <c:v>45184</c:v>
                </c:pt>
                <c:pt idx="989">
                  <c:v>45185</c:v>
                </c:pt>
                <c:pt idx="990">
                  <c:v>45186</c:v>
                </c:pt>
                <c:pt idx="991">
                  <c:v>45187</c:v>
                </c:pt>
                <c:pt idx="992">
                  <c:v>45188</c:v>
                </c:pt>
                <c:pt idx="993">
                  <c:v>45189</c:v>
                </c:pt>
                <c:pt idx="994">
                  <c:v>45190</c:v>
                </c:pt>
                <c:pt idx="995">
                  <c:v>45191</c:v>
                </c:pt>
                <c:pt idx="996">
                  <c:v>45192</c:v>
                </c:pt>
                <c:pt idx="997">
                  <c:v>45193</c:v>
                </c:pt>
                <c:pt idx="998">
                  <c:v>45194</c:v>
                </c:pt>
                <c:pt idx="999">
                  <c:v>45195</c:v>
                </c:pt>
                <c:pt idx="1000">
                  <c:v>45196</c:v>
                </c:pt>
                <c:pt idx="1001">
                  <c:v>45197</c:v>
                </c:pt>
                <c:pt idx="1002">
                  <c:v>45198</c:v>
                </c:pt>
                <c:pt idx="1003">
                  <c:v>45199</c:v>
                </c:pt>
                <c:pt idx="1004">
                  <c:v>45200</c:v>
                </c:pt>
                <c:pt idx="1005">
                  <c:v>45201</c:v>
                </c:pt>
                <c:pt idx="1006">
                  <c:v>45202</c:v>
                </c:pt>
                <c:pt idx="1007">
                  <c:v>45203</c:v>
                </c:pt>
                <c:pt idx="1008">
                  <c:v>45204</c:v>
                </c:pt>
                <c:pt idx="1009">
                  <c:v>45205</c:v>
                </c:pt>
                <c:pt idx="1010">
                  <c:v>45206</c:v>
                </c:pt>
                <c:pt idx="1011">
                  <c:v>45207</c:v>
                </c:pt>
                <c:pt idx="1012">
                  <c:v>45208</c:v>
                </c:pt>
                <c:pt idx="1013">
                  <c:v>45209</c:v>
                </c:pt>
                <c:pt idx="1014">
                  <c:v>45210</c:v>
                </c:pt>
                <c:pt idx="1015">
                  <c:v>45211</c:v>
                </c:pt>
                <c:pt idx="1016">
                  <c:v>45212</c:v>
                </c:pt>
                <c:pt idx="1017">
                  <c:v>45213</c:v>
                </c:pt>
                <c:pt idx="1018">
                  <c:v>45214</c:v>
                </c:pt>
                <c:pt idx="1019">
                  <c:v>45215</c:v>
                </c:pt>
                <c:pt idx="1020">
                  <c:v>45216</c:v>
                </c:pt>
                <c:pt idx="1021">
                  <c:v>45217</c:v>
                </c:pt>
                <c:pt idx="1022">
                  <c:v>45218</c:v>
                </c:pt>
                <c:pt idx="1023">
                  <c:v>45219</c:v>
                </c:pt>
                <c:pt idx="1024">
                  <c:v>45220</c:v>
                </c:pt>
                <c:pt idx="1025">
                  <c:v>45221</c:v>
                </c:pt>
                <c:pt idx="1026">
                  <c:v>45222</c:v>
                </c:pt>
                <c:pt idx="1027">
                  <c:v>45223</c:v>
                </c:pt>
                <c:pt idx="1028">
                  <c:v>45224</c:v>
                </c:pt>
                <c:pt idx="1029">
                  <c:v>45225</c:v>
                </c:pt>
                <c:pt idx="1030">
                  <c:v>45226</c:v>
                </c:pt>
                <c:pt idx="1031">
                  <c:v>45227</c:v>
                </c:pt>
                <c:pt idx="1032">
                  <c:v>45228</c:v>
                </c:pt>
                <c:pt idx="1033">
                  <c:v>45229</c:v>
                </c:pt>
                <c:pt idx="1034">
                  <c:v>45230</c:v>
                </c:pt>
                <c:pt idx="1035">
                  <c:v>45231</c:v>
                </c:pt>
                <c:pt idx="1036">
                  <c:v>45232</c:v>
                </c:pt>
                <c:pt idx="1037">
                  <c:v>45233</c:v>
                </c:pt>
                <c:pt idx="1038">
                  <c:v>45234</c:v>
                </c:pt>
                <c:pt idx="1039">
                  <c:v>45235</c:v>
                </c:pt>
                <c:pt idx="1040">
                  <c:v>45236</c:v>
                </c:pt>
                <c:pt idx="1041">
                  <c:v>45237</c:v>
                </c:pt>
                <c:pt idx="1042">
                  <c:v>45238</c:v>
                </c:pt>
                <c:pt idx="1043">
                  <c:v>45239</c:v>
                </c:pt>
                <c:pt idx="1044">
                  <c:v>45240</c:v>
                </c:pt>
                <c:pt idx="1045">
                  <c:v>45241</c:v>
                </c:pt>
                <c:pt idx="1046">
                  <c:v>45242</c:v>
                </c:pt>
                <c:pt idx="1047">
                  <c:v>45243</c:v>
                </c:pt>
                <c:pt idx="1048">
                  <c:v>45244</c:v>
                </c:pt>
                <c:pt idx="1049">
                  <c:v>45245</c:v>
                </c:pt>
                <c:pt idx="1050">
                  <c:v>45246</c:v>
                </c:pt>
                <c:pt idx="1051">
                  <c:v>45247</c:v>
                </c:pt>
                <c:pt idx="1052">
                  <c:v>45248</c:v>
                </c:pt>
                <c:pt idx="1053">
                  <c:v>45249</c:v>
                </c:pt>
                <c:pt idx="1054">
                  <c:v>45250</c:v>
                </c:pt>
                <c:pt idx="1055">
                  <c:v>45251</c:v>
                </c:pt>
                <c:pt idx="1056">
                  <c:v>45252</c:v>
                </c:pt>
                <c:pt idx="1057">
                  <c:v>45253</c:v>
                </c:pt>
                <c:pt idx="1058">
                  <c:v>45254</c:v>
                </c:pt>
                <c:pt idx="1059">
                  <c:v>45255</c:v>
                </c:pt>
                <c:pt idx="1060">
                  <c:v>45256</c:v>
                </c:pt>
                <c:pt idx="1061">
                  <c:v>45257</c:v>
                </c:pt>
                <c:pt idx="1062">
                  <c:v>45258</c:v>
                </c:pt>
                <c:pt idx="1063">
                  <c:v>45259</c:v>
                </c:pt>
                <c:pt idx="1064">
                  <c:v>45260</c:v>
                </c:pt>
                <c:pt idx="1065">
                  <c:v>45261</c:v>
                </c:pt>
                <c:pt idx="1066">
                  <c:v>45262</c:v>
                </c:pt>
                <c:pt idx="1067">
                  <c:v>45263</c:v>
                </c:pt>
                <c:pt idx="1068">
                  <c:v>45264</c:v>
                </c:pt>
                <c:pt idx="1069">
                  <c:v>45265</c:v>
                </c:pt>
                <c:pt idx="1070">
                  <c:v>45266</c:v>
                </c:pt>
                <c:pt idx="1071">
                  <c:v>45267</c:v>
                </c:pt>
                <c:pt idx="1072">
                  <c:v>45268</c:v>
                </c:pt>
                <c:pt idx="1073">
                  <c:v>45269</c:v>
                </c:pt>
                <c:pt idx="1074">
                  <c:v>45270</c:v>
                </c:pt>
                <c:pt idx="1075">
                  <c:v>45271</c:v>
                </c:pt>
                <c:pt idx="1076">
                  <c:v>45272</c:v>
                </c:pt>
                <c:pt idx="1077">
                  <c:v>45273</c:v>
                </c:pt>
                <c:pt idx="1078">
                  <c:v>45274</c:v>
                </c:pt>
                <c:pt idx="1079">
                  <c:v>45275</c:v>
                </c:pt>
                <c:pt idx="1080">
                  <c:v>45276</c:v>
                </c:pt>
                <c:pt idx="1081">
                  <c:v>45277</c:v>
                </c:pt>
                <c:pt idx="1082">
                  <c:v>45278</c:v>
                </c:pt>
                <c:pt idx="1083">
                  <c:v>45279</c:v>
                </c:pt>
                <c:pt idx="1084">
                  <c:v>45280</c:v>
                </c:pt>
                <c:pt idx="1085">
                  <c:v>45281</c:v>
                </c:pt>
                <c:pt idx="1086">
                  <c:v>45282</c:v>
                </c:pt>
                <c:pt idx="1087">
                  <c:v>45283</c:v>
                </c:pt>
                <c:pt idx="1088">
                  <c:v>45284</c:v>
                </c:pt>
                <c:pt idx="1089">
                  <c:v>45285</c:v>
                </c:pt>
                <c:pt idx="1090">
                  <c:v>45286</c:v>
                </c:pt>
                <c:pt idx="1091">
                  <c:v>45287</c:v>
                </c:pt>
                <c:pt idx="1092">
                  <c:v>45288</c:v>
                </c:pt>
                <c:pt idx="1093">
                  <c:v>45289</c:v>
                </c:pt>
                <c:pt idx="1094">
                  <c:v>45290</c:v>
                </c:pt>
                <c:pt idx="1095">
                  <c:v>45291</c:v>
                </c:pt>
                <c:pt idx="1096">
                  <c:v>45292</c:v>
                </c:pt>
                <c:pt idx="1097">
                  <c:v>45293</c:v>
                </c:pt>
                <c:pt idx="1098">
                  <c:v>45294</c:v>
                </c:pt>
                <c:pt idx="1099">
                  <c:v>45295</c:v>
                </c:pt>
                <c:pt idx="1100">
                  <c:v>45296</c:v>
                </c:pt>
                <c:pt idx="1101">
                  <c:v>45297</c:v>
                </c:pt>
                <c:pt idx="1102">
                  <c:v>45298</c:v>
                </c:pt>
                <c:pt idx="1103">
                  <c:v>45299</c:v>
                </c:pt>
                <c:pt idx="1104">
                  <c:v>45300</c:v>
                </c:pt>
                <c:pt idx="1105">
                  <c:v>45301</c:v>
                </c:pt>
                <c:pt idx="1106">
                  <c:v>45302</c:v>
                </c:pt>
                <c:pt idx="1107">
                  <c:v>45303</c:v>
                </c:pt>
                <c:pt idx="1108">
                  <c:v>45304</c:v>
                </c:pt>
                <c:pt idx="1109">
                  <c:v>45305</c:v>
                </c:pt>
                <c:pt idx="1110">
                  <c:v>45306</c:v>
                </c:pt>
                <c:pt idx="1111">
                  <c:v>45307</c:v>
                </c:pt>
                <c:pt idx="1112">
                  <c:v>45308</c:v>
                </c:pt>
                <c:pt idx="1113">
                  <c:v>45309</c:v>
                </c:pt>
                <c:pt idx="1114">
                  <c:v>45310</c:v>
                </c:pt>
                <c:pt idx="1115">
                  <c:v>45311</c:v>
                </c:pt>
                <c:pt idx="1116">
                  <c:v>45312</c:v>
                </c:pt>
                <c:pt idx="1117">
                  <c:v>45313</c:v>
                </c:pt>
                <c:pt idx="1118">
                  <c:v>45314</c:v>
                </c:pt>
                <c:pt idx="1119">
                  <c:v>45315</c:v>
                </c:pt>
                <c:pt idx="1120">
                  <c:v>45316</c:v>
                </c:pt>
                <c:pt idx="1121">
                  <c:v>45317</c:v>
                </c:pt>
                <c:pt idx="1122">
                  <c:v>45318</c:v>
                </c:pt>
                <c:pt idx="1123">
                  <c:v>45319</c:v>
                </c:pt>
                <c:pt idx="1124">
                  <c:v>45320</c:v>
                </c:pt>
                <c:pt idx="1125">
                  <c:v>45321</c:v>
                </c:pt>
                <c:pt idx="1126">
                  <c:v>45322</c:v>
                </c:pt>
                <c:pt idx="1127">
                  <c:v>45323</c:v>
                </c:pt>
                <c:pt idx="1128">
                  <c:v>45324</c:v>
                </c:pt>
                <c:pt idx="1129">
                  <c:v>45325</c:v>
                </c:pt>
                <c:pt idx="1130">
                  <c:v>45326</c:v>
                </c:pt>
                <c:pt idx="1131">
                  <c:v>45327</c:v>
                </c:pt>
                <c:pt idx="1132">
                  <c:v>45328</c:v>
                </c:pt>
                <c:pt idx="1133">
                  <c:v>45329</c:v>
                </c:pt>
                <c:pt idx="1134">
                  <c:v>45330</c:v>
                </c:pt>
                <c:pt idx="1135">
                  <c:v>45331</c:v>
                </c:pt>
                <c:pt idx="1136">
                  <c:v>45332</c:v>
                </c:pt>
                <c:pt idx="1137">
                  <c:v>45333</c:v>
                </c:pt>
                <c:pt idx="1138">
                  <c:v>45334</c:v>
                </c:pt>
                <c:pt idx="1139">
                  <c:v>45335</c:v>
                </c:pt>
                <c:pt idx="1140">
                  <c:v>45336</c:v>
                </c:pt>
                <c:pt idx="1141">
                  <c:v>45337</c:v>
                </c:pt>
                <c:pt idx="1142">
                  <c:v>45338</c:v>
                </c:pt>
                <c:pt idx="1143">
                  <c:v>45339</c:v>
                </c:pt>
                <c:pt idx="1144">
                  <c:v>45340</c:v>
                </c:pt>
                <c:pt idx="1145">
                  <c:v>45341</c:v>
                </c:pt>
                <c:pt idx="1146">
                  <c:v>45342</c:v>
                </c:pt>
                <c:pt idx="1147">
                  <c:v>45343</c:v>
                </c:pt>
                <c:pt idx="1148">
                  <c:v>45344</c:v>
                </c:pt>
                <c:pt idx="1149">
                  <c:v>45345</c:v>
                </c:pt>
                <c:pt idx="1150">
                  <c:v>45346</c:v>
                </c:pt>
                <c:pt idx="1151">
                  <c:v>45347</c:v>
                </c:pt>
                <c:pt idx="1152">
                  <c:v>45348</c:v>
                </c:pt>
                <c:pt idx="1153">
                  <c:v>45349</c:v>
                </c:pt>
                <c:pt idx="1154">
                  <c:v>45350</c:v>
                </c:pt>
                <c:pt idx="1155">
                  <c:v>45351</c:v>
                </c:pt>
                <c:pt idx="1156">
                  <c:v>45352</c:v>
                </c:pt>
                <c:pt idx="1157">
                  <c:v>45353</c:v>
                </c:pt>
                <c:pt idx="1158">
                  <c:v>45354</c:v>
                </c:pt>
                <c:pt idx="1159">
                  <c:v>45355</c:v>
                </c:pt>
                <c:pt idx="1160">
                  <c:v>45356</c:v>
                </c:pt>
                <c:pt idx="1161">
                  <c:v>45357</c:v>
                </c:pt>
                <c:pt idx="1162">
                  <c:v>45358</c:v>
                </c:pt>
                <c:pt idx="1163">
                  <c:v>45359</c:v>
                </c:pt>
                <c:pt idx="1164">
                  <c:v>45360</c:v>
                </c:pt>
                <c:pt idx="1165">
                  <c:v>45361</c:v>
                </c:pt>
                <c:pt idx="1166">
                  <c:v>45362</c:v>
                </c:pt>
                <c:pt idx="1167">
                  <c:v>45363</c:v>
                </c:pt>
                <c:pt idx="1168">
                  <c:v>45364</c:v>
                </c:pt>
                <c:pt idx="1169">
                  <c:v>45365</c:v>
                </c:pt>
                <c:pt idx="1170">
                  <c:v>45366</c:v>
                </c:pt>
                <c:pt idx="1171">
                  <c:v>45367</c:v>
                </c:pt>
                <c:pt idx="1172">
                  <c:v>45368</c:v>
                </c:pt>
                <c:pt idx="1173">
                  <c:v>45369</c:v>
                </c:pt>
                <c:pt idx="1174">
                  <c:v>45370</c:v>
                </c:pt>
                <c:pt idx="1175">
                  <c:v>45371</c:v>
                </c:pt>
                <c:pt idx="1176">
                  <c:v>45372</c:v>
                </c:pt>
                <c:pt idx="1177">
                  <c:v>45373</c:v>
                </c:pt>
                <c:pt idx="1178">
                  <c:v>45374</c:v>
                </c:pt>
                <c:pt idx="1179">
                  <c:v>45375</c:v>
                </c:pt>
                <c:pt idx="1180">
                  <c:v>45376</c:v>
                </c:pt>
                <c:pt idx="1181">
                  <c:v>45377</c:v>
                </c:pt>
                <c:pt idx="1182">
                  <c:v>45378</c:v>
                </c:pt>
                <c:pt idx="1183">
                  <c:v>45379</c:v>
                </c:pt>
                <c:pt idx="1184">
                  <c:v>45380</c:v>
                </c:pt>
                <c:pt idx="1185">
                  <c:v>45381</c:v>
                </c:pt>
                <c:pt idx="1186">
                  <c:v>45382</c:v>
                </c:pt>
                <c:pt idx="1187">
                  <c:v>45383</c:v>
                </c:pt>
                <c:pt idx="1188">
                  <c:v>45384</c:v>
                </c:pt>
                <c:pt idx="1189">
                  <c:v>45385</c:v>
                </c:pt>
                <c:pt idx="1190">
                  <c:v>45386</c:v>
                </c:pt>
                <c:pt idx="1191">
                  <c:v>45387</c:v>
                </c:pt>
                <c:pt idx="1192">
                  <c:v>45388</c:v>
                </c:pt>
                <c:pt idx="1193">
                  <c:v>45389</c:v>
                </c:pt>
                <c:pt idx="1194">
                  <c:v>45390</c:v>
                </c:pt>
                <c:pt idx="1195">
                  <c:v>45391</c:v>
                </c:pt>
                <c:pt idx="1196">
                  <c:v>45392</c:v>
                </c:pt>
                <c:pt idx="1197">
                  <c:v>45393</c:v>
                </c:pt>
                <c:pt idx="1198">
                  <c:v>45394</c:v>
                </c:pt>
                <c:pt idx="1199">
                  <c:v>45395</c:v>
                </c:pt>
                <c:pt idx="1200">
                  <c:v>45396</c:v>
                </c:pt>
                <c:pt idx="1201">
                  <c:v>45397</c:v>
                </c:pt>
                <c:pt idx="1202">
                  <c:v>45398</c:v>
                </c:pt>
                <c:pt idx="1203">
                  <c:v>45399</c:v>
                </c:pt>
                <c:pt idx="1204">
                  <c:v>45400</c:v>
                </c:pt>
                <c:pt idx="1205">
                  <c:v>45401</c:v>
                </c:pt>
                <c:pt idx="1206">
                  <c:v>45402</c:v>
                </c:pt>
                <c:pt idx="1207">
                  <c:v>45403</c:v>
                </c:pt>
                <c:pt idx="1208">
                  <c:v>45404</c:v>
                </c:pt>
                <c:pt idx="1209">
                  <c:v>45405</c:v>
                </c:pt>
                <c:pt idx="1210">
                  <c:v>45406</c:v>
                </c:pt>
                <c:pt idx="1211">
                  <c:v>45407</c:v>
                </c:pt>
                <c:pt idx="1212">
                  <c:v>45408</c:v>
                </c:pt>
                <c:pt idx="1213">
                  <c:v>45409</c:v>
                </c:pt>
                <c:pt idx="1214">
                  <c:v>45410</c:v>
                </c:pt>
                <c:pt idx="1215">
                  <c:v>45411</c:v>
                </c:pt>
                <c:pt idx="1216">
                  <c:v>45412</c:v>
                </c:pt>
                <c:pt idx="1217">
                  <c:v>45413</c:v>
                </c:pt>
                <c:pt idx="1218">
                  <c:v>45414</c:v>
                </c:pt>
                <c:pt idx="1219">
                  <c:v>45415</c:v>
                </c:pt>
                <c:pt idx="1220">
                  <c:v>45416</c:v>
                </c:pt>
                <c:pt idx="1221">
                  <c:v>45417</c:v>
                </c:pt>
                <c:pt idx="1222">
                  <c:v>45418</c:v>
                </c:pt>
                <c:pt idx="1223">
                  <c:v>45419</c:v>
                </c:pt>
                <c:pt idx="1224">
                  <c:v>45420</c:v>
                </c:pt>
                <c:pt idx="1225">
                  <c:v>45421</c:v>
                </c:pt>
                <c:pt idx="1226">
                  <c:v>45422</c:v>
                </c:pt>
                <c:pt idx="1227">
                  <c:v>45423</c:v>
                </c:pt>
                <c:pt idx="1228">
                  <c:v>45424</c:v>
                </c:pt>
                <c:pt idx="1229">
                  <c:v>45425</c:v>
                </c:pt>
                <c:pt idx="1230">
                  <c:v>45426</c:v>
                </c:pt>
                <c:pt idx="1231">
                  <c:v>45427</c:v>
                </c:pt>
                <c:pt idx="1232">
                  <c:v>45428</c:v>
                </c:pt>
                <c:pt idx="1233">
                  <c:v>45429</c:v>
                </c:pt>
                <c:pt idx="1234">
                  <c:v>45430</c:v>
                </c:pt>
                <c:pt idx="1235">
                  <c:v>45431</c:v>
                </c:pt>
                <c:pt idx="1236">
                  <c:v>45432</c:v>
                </c:pt>
                <c:pt idx="1237">
                  <c:v>45433</c:v>
                </c:pt>
                <c:pt idx="1238">
                  <c:v>45434</c:v>
                </c:pt>
                <c:pt idx="1239">
                  <c:v>45435</c:v>
                </c:pt>
                <c:pt idx="1240">
                  <c:v>45436</c:v>
                </c:pt>
                <c:pt idx="1241">
                  <c:v>45437</c:v>
                </c:pt>
                <c:pt idx="1242">
                  <c:v>45438</c:v>
                </c:pt>
                <c:pt idx="1243">
                  <c:v>45439</c:v>
                </c:pt>
                <c:pt idx="1244">
                  <c:v>45440</c:v>
                </c:pt>
                <c:pt idx="1245">
                  <c:v>45441</c:v>
                </c:pt>
                <c:pt idx="1246">
                  <c:v>45442</c:v>
                </c:pt>
                <c:pt idx="1247">
                  <c:v>45443</c:v>
                </c:pt>
                <c:pt idx="1248">
                  <c:v>45444</c:v>
                </c:pt>
                <c:pt idx="1249">
                  <c:v>45445</c:v>
                </c:pt>
                <c:pt idx="1250">
                  <c:v>45446</c:v>
                </c:pt>
                <c:pt idx="1251">
                  <c:v>45447</c:v>
                </c:pt>
                <c:pt idx="1252">
                  <c:v>45448</c:v>
                </c:pt>
                <c:pt idx="1253">
                  <c:v>45449</c:v>
                </c:pt>
                <c:pt idx="1254">
                  <c:v>45450</c:v>
                </c:pt>
                <c:pt idx="1255">
                  <c:v>45451</c:v>
                </c:pt>
                <c:pt idx="1256">
                  <c:v>45452</c:v>
                </c:pt>
                <c:pt idx="1257">
                  <c:v>45453</c:v>
                </c:pt>
                <c:pt idx="1258">
                  <c:v>45454</c:v>
                </c:pt>
                <c:pt idx="1259">
                  <c:v>45455</c:v>
                </c:pt>
                <c:pt idx="1260">
                  <c:v>45456</c:v>
                </c:pt>
                <c:pt idx="1261">
                  <c:v>45457</c:v>
                </c:pt>
                <c:pt idx="1262">
                  <c:v>45458</c:v>
                </c:pt>
                <c:pt idx="1263">
                  <c:v>45459</c:v>
                </c:pt>
                <c:pt idx="1264">
                  <c:v>45460</c:v>
                </c:pt>
                <c:pt idx="1265">
                  <c:v>45461</c:v>
                </c:pt>
                <c:pt idx="1266">
                  <c:v>45462</c:v>
                </c:pt>
                <c:pt idx="1267">
                  <c:v>45463</c:v>
                </c:pt>
                <c:pt idx="1268">
                  <c:v>45464</c:v>
                </c:pt>
                <c:pt idx="1269">
                  <c:v>45465</c:v>
                </c:pt>
                <c:pt idx="1270">
                  <c:v>45466</c:v>
                </c:pt>
                <c:pt idx="1271">
                  <c:v>45467</c:v>
                </c:pt>
                <c:pt idx="1272">
                  <c:v>45468</c:v>
                </c:pt>
                <c:pt idx="1273">
                  <c:v>45469</c:v>
                </c:pt>
                <c:pt idx="1274">
                  <c:v>45470</c:v>
                </c:pt>
                <c:pt idx="1275">
                  <c:v>45471</c:v>
                </c:pt>
                <c:pt idx="1276">
                  <c:v>45472</c:v>
                </c:pt>
                <c:pt idx="1277">
                  <c:v>45473</c:v>
                </c:pt>
                <c:pt idx="1278">
                  <c:v>45474</c:v>
                </c:pt>
                <c:pt idx="1279">
                  <c:v>45475</c:v>
                </c:pt>
                <c:pt idx="1280">
                  <c:v>45476</c:v>
                </c:pt>
                <c:pt idx="1281">
                  <c:v>45477</c:v>
                </c:pt>
                <c:pt idx="1282">
                  <c:v>45478</c:v>
                </c:pt>
                <c:pt idx="1283">
                  <c:v>45479</c:v>
                </c:pt>
                <c:pt idx="1284">
                  <c:v>45480</c:v>
                </c:pt>
                <c:pt idx="1285">
                  <c:v>45481</c:v>
                </c:pt>
                <c:pt idx="1286">
                  <c:v>45482</c:v>
                </c:pt>
                <c:pt idx="1287">
                  <c:v>45483</c:v>
                </c:pt>
                <c:pt idx="1288">
                  <c:v>45484</c:v>
                </c:pt>
                <c:pt idx="1289">
                  <c:v>45485</c:v>
                </c:pt>
                <c:pt idx="1290">
                  <c:v>45486</c:v>
                </c:pt>
                <c:pt idx="1291">
                  <c:v>45487</c:v>
                </c:pt>
                <c:pt idx="1292">
                  <c:v>45488</c:v>
                </c:pt>
                <c:pt idx="1293">
                  <c:v>45489</c:v>
                </c:pt>
                <c:pt idx="1294">
                  <c:v>45490</c:v>
                </c:pt>
                <c:pt idx="1295">
                  <c:v>45491</c:v>
                </c:pt>
                <c:pt idx="1296">
                  <c:v>45492</c:v>
                </c:pt>
                <c:pt idx="1297">
                  <c:v>45493</c:v>
                </c:pt>
                <c:pt idx="1298">
                  <c:v>45494</c:v>
                </c:pt>
                <c:pt idx="1299">
                  <c:v>45495</c:v>
                </c:pt>
                <c:pt idx="1300">
                  <c:v>45496</c:v>
                </c:pt>
                <c:pt idx="1301">
                  <c:v>45497</c:v>
                </c:pt>
                <c:pt idx="1302">
                  <c:v>45498</c:v>
                </c:pt>
                <c:pt idx="1303">
                  <c:v>45499</c:v>
                </c:pt>
                <c:pt idx="1304">
                  <c:v>45500</c:v>
                </c:pt>
                <c:pt idx="1305">
                  <c:v>45501</c:v>
                </c:pt>
                <c:pt idx="1306">
                  <c:v>45502</c:v>
                </c:pt>
                <c:pt idx="1307">
                  <c:v>45503</c:v>
                </c:pt>
                <c:pt idx="1308">
                  <c:v>45504</c:v>
                </c:pt>
                <c:pt idx="1309">
                  <c:v>45505</c:v>
                </c:pt>
                <c:pt idx="1310">
                  <c:v>45506</c:v>
                </c:pt>
                <c:pt idx="1311">
                  <c:v>45507</c:v>
                </c:pt>
                <c:pt idx="1312">
                  <c:v>45508</c:v>
                </c:pt>
                <c:pt idx="1313">
                  <c:v>45509</c:v>
                </c:pt>
                <c:pt idx="1314">
                  <c:v>45510</c:v>
                </c:pt>
                <c:pt idx="1315">
                  <c:v>45511</c:v>
                </c:pt>
                <c:pt idx="1316">
                  <c:v>45512</c:v>
                </c:pt>
                <c:pt idx="1317">
                  <c:v>45513</c:v>
                </c:pt>
                <c:pt idx="1318">
                  <c:v>45514</c:v>
                </c:pt>
                <c:pt idx="1319">
                  <c:v>45515</c:v>
                </c:pt>
                <c:pt idx="1320">
                  <c:v>45516</c:v>
                </c:pt>
                <c:pt idx="1321">
                  <c:v>45517</c:v>
                </c:pt>
                <c:pt idx="1322">
                  <c:v>45518</c:v>
                </c:pt>
                <c:pt idx="1323">
                  <c:v>45519</c:v>
                </c:pt>
                <c:pt idx="1324">
                  <c:v>45520</c:v>
                </c:pt>
                <c:pt idx="1325">
                  <c:v>45521</c:v>
                </c:pt>
                <c:pt idx="1326">
                  <c:v>45522</c:v>
                </c:pt>
                <c:pt idx="1327">
                  <c:v>45523</c:v>
                </c:pt>
                <c:pt idx="1328">
                  <c:v>45524</c:v>
                </c:pt>
                <c:pt idx="1329">
                  <c:v>45525</c:v>
                </c:pt>
                <c:pt idx="1330">
                  <c:v>45526</c:v>
                </c:pt>
                <c:pt idx="1331">
                  <c:v>45527</c:v>
                </c:pt>
                <c:pt idx="1332">
                  <c:v>45528</c:v>
                </c:pt>
                <c:pt idx="1333">
                  <c:v>45529</c:v>
                </c:pt>
                <c:pt idx="1334">
                  <c:v>45530</c:v>
                </c:pt>
                <c:pt idx="1335">
                  <c:v>45531</c:v>
                </c:pt>
                <c:pt idx="1336">
                  <c:v>45532</c:v>
                </c:pt>
                <c:pt idx="1337">
                  <c:v>45533</c:v>
                </c:pt>
                <c:pt idx="1338">
                  <c:v>45534</c:v>
                </c:pt>
                <c:pt idx="1339">
                  <c:v>45535</c:v>
                </c:pt>
                <c:pt idx="1340">
                  <c:v>45536</c:v>
                </c:pt>
                <c:pt idx="1341">
                  <c:v>45537</c:v>
                </c:pt>
                <c:pt idx="1342">
                  <c:v>45538</c:v>
                </c:pt>
                <c:pt idx="1343">
                  <c:v>45539</c:v>
                </c:pt>
                <c:pt idx="1344">
                  <c:v>45540</c:v>
                </c:pt>
                <c:pt idx="1345">
                  <c:v>45541</c:v>
                </c:pt>
                <c:pt idx="1346">
                  <c:v>45542</c:v>
                </c:pt>
                <c:pt idx="1347">
                  <c:v>45543</c:v>
                </c:pt>
                <c:pt idx="1348">
                  <c:v>45544</c:v>
                </c:pt>
                <c:pt idx="1349">
                  <c:v>45545</c:v>
                </c:pt>
                <c:pt idx="1350">
                  <c:v>45546</c:v>
                </c:pt>
                <c:pt idx="1351">
                  <c:v>45547</c:v>
                </c:pt>
                <c:pt idx="1352">
                  <c:v>45548</c:v>
                </c:pt>
                <c:pt idx="1353">
                  <c:v>45549</c:v>
                </c:pt>
                <c:pt idx="1354">
                  <c:v>45550</c:v>
                </c:pt>
                <c:pt idx="1355">
                  <c:v>45551</c:v>
                </c:pt>
                <c:pt idx="1356">
                  <c:v>45552</c:v>
                </c:pt>
                <c:pt idx="1357">
                  <c:v>45553</c:v>
                </c:pt>
                <c:pt idx="1358">
                  <c:v>45554</c:v>
                </c:pt>
                <c:pt idx="1359">
                  <c:v>45555</c:v>
                </c:pt>
                <c:pt idx="1360">
                  <c:v>45556</c:v>
                </c:pt>
                <c:pt idx="1361">
                  <c:v>45557</c:v>
                </c:pt>
                <c:pt idx="1362">
                  <c:v>45558</c:v>
                </c:pt>
                <c:pt idx="1363">
                  <c:v>45559</c:v>
                </c:pt>
                <c:pt idx="1364">
                  <c:v>45560</c:v>
                </c:pt>
                <c:pt idx="1365">
                  <c:v>45561</c:v>
                </c:pt>
                <c:pt idx="1366">
                  <c:v>45562</c:v>
                </c:pt>
                <c:pt idx="1367">
                  <c:v>45563</c:v>
                </c:pt>
                <c:pt idx="1368">
                  <c:v>45564</c:v>
                </c:pt>
                <c:pt idx="1369">
                  <c:v>45565</c:v>
                </c:pt>
                <c:pt idx="1370">
                  <c:v>45566</c:v>
                </c:pt>
                <c:pt idx="1371">
                  <c:v>45567</c:v>
                </c:pt>
                <c:pt idx="1372">
                  <c:v>45568</c:v>
                </c:pt>
                <c:pt idx="1373">
                  <c:v>45569</c:v>
                </c:pt>
                <c:pt idx="1374">
                  <c:v>45570</c:v>
                </c:pt>
                <c:pt idx="1375">
                  <c:v>45571</c:v>
                </c:pt>
                <c:pt idx="1376">
                  <c:v>45572</c:v>
                </c:pt>
                <c:pt idx="1377">
                  <c:v>45573</c:v>
                </c:pt>
                <c:pt idx="1378">
                  <c:v>45574</c:v>
                </c:pt>
                <c:pt idx="1379">
                  <c:v>45575</c:v>
                </c:pt>
                <c:pt idx="1380">
                  <c:v>45576</c:v>
                </c:pt>
                <c:pt idx="1381">
                  <c:v>45577</c:v>
                </c:pt>
                <c:pt idx="1382">
                  <c:v>45578</c:v>
                </c:pt>
                <c:pt idx="1383">
                  <c:v>45579</c:v>
                </c:pt>
                <c:pt idx="1384">
                  <c:v>45580</c:v>
                </c:pt>
                <c:pt idx="1385">
                  <c:v>45581</c:v>
                </c:pt>
                <c:pt idx="1386">
                  <c:v>45582</c:v>
                </c:pt>
                <c:pt idx="1387">
                  <c:v>45583</c:v>
                </c:pt>
                <c:pt idx="1388">
                  <c:v>45584</c:v>
                </c:pt>
                <c:pt idx="1389">
                  <c:v>45585</c:v>
                </c:pt>
                <c:pt idx="1390">
                  <c:v>45586</c:v>
                </c:pt>
                <c:pt idx="1391">
                  <c:v>45587</c:v>
                </c:pt>
                <c:pt idx="1392">
                  <c:v>45588</c:v>
                </c:pt>
                <c:pt idx="1393">
                  <c:v>45589</c:v>
                </c:pt>
                <c:pt idx="1394">
                  <c:v>45590</c:v>
                </c:pt>
                <c:pt idx="1395">
                  <c:v>45591</c:v>
                </c:pt>
                <c:pt idx="1396">
                  <c:v>45592</c:v>
                </c:pt>
                <c:pt idx="1397">
                  <c:v>45593</c:v>
                </c:pt>
                <c:pt idx="1398">
                  <c:v>45594</c:v>
                </c:pt>
                <c:pt idx="1399">
                  <c:v>45595</c:v>
                </c:pt>
                <c:pt idx="1400">
                  <c:v>45596</c:v>
                </c:pt>
                <c:pt idx="1401">
                  <c:v>45597</c:v>
                </c:pt>
                <c:pt idx="1402">
                  <c:v>45598</c:v>
                </c:pt>
                <c:pt idx="1403">
                  <c:v>45599</c:v>
                </c:pt>
                <c:pt idx="1404">
                  <c:v>45600</c:v>
                </c:pt>
                <c:pt idx="1405">
                  <c:v>45601</c:v>
                </c:pt>
                <c:pt idx="1406">
                  <c:v>45602</c:v>
                </c:pt>
                <c:pt idx="1407">
                  <c:v>45603</c:v>
                </c:pt>
                <c:pt idx="1408">
                  <c:v>45604</c:v>
                </c:pt>
                <c:pt idx="1409">
                  <c:v>45605</c:v>
                </c:pt>
                <c:pt idx="1410">
                  <c:v>45606</c:v>
                </c:pt>
                <c:pt idx="1411">
                  <c:v>45607</c:v>
                </c:pt>
                <c:pt idx="1412">
                  <c:v>45608</c:v>
                </c:pt>
                <c:pt idx="1413">
                  <c:v>45609</c:v>
                </c:pt>
                <c:pt idx="1414">
                  <c:v>45610</c:v>
                </c:pt>
                <c:pt idx="1415">
                  <c:v>45611</c:v>
                </c:pt>
                <c:pt idx="1416">
                  <c:v>45612</c:v>
                </c:pt>
                <c:pt idx="1417">
                  <c:v>45613</c:v>
                </c:pt>
                <c:pt idx="1418">
                  <c:v>45614</c:v>
                </c:pt>
                <c:pt idx="1419">
                  <c:v>45615</c:v>
                </c:pt>
                <c:pt idx="1420">
                  <c:v>45616</c:v>
                </c:pt>
                <c:pt idx="1421">
                  <c:v>45617</c:v>
                </c:pt>
                <c:pt idx="1422">
                  <c:v>45618</c:v>
                </c:pt>
                <c:pt idx="1423">
                  <c:v>45619</c:v>
                </c:pt>
                <c:pt idx="1424">
                  <c:v>45620</c:v>
                </c:pt>
                <c:pt idx="1425">
                  <c:v>45621</c:v>
                </c:pt>
                <c:pt idx="1426">
                  <c:v>45622</c:v>
                </c:pt>
                <c:pt idx="1427">
                  <c:v>45623</c:v>
                </c:pt>
                <c:pt idx="1428">
                  <c:v>45624</c:v>
                </c:pt>
                <c:pt idx="1429">
                  <c:v>45625</c:v>
                </c:pt>
                <c:pt idx="1430">
                  <c:v>45626</c:v>
                </c:pt>
                <c:pt idx="1431">
                  <c:v>45627</c:v>
                </c:pt>
                <c:pt idx="1432">
                  <c:v>45628</c:v>
                </c:pt>
                <c:pt idx="1433">
                  <c:v>45629</c:v>
                </c:pt>
                <c:pt idx="1434">
                  <c:v>45630</c:v>
                </c:pt>
                <c:pt idx="1435">
                  <c:v>45631</c:v>
                </c:pt>
                <c:pt idx="1436">
                  <c:v>45632</c:v>
                </c:pt>
                <c:pt idx="1437">
                  <c:v>45633</c:v>
                </c:pt>
                <c:pt idx="1438">
                  <c:v>45634</c:v>
                </c:pt>
                <c:pt idx="1439">
                  <c:v>45635</c:v>
                </c:pt>
                <c:pt idx="1440">
                  <c:v>45636</c:v>
                </c:pt>
                <c:pt idx="1441">
                  <c:v>45637</c:v>
                </c:pt>
                <c:pt idx="1442">
                  <c:v>45638</c:v>
                </c:pt>
                <c:pt idx="1443">
                  <c:v>45639</c:v>
                </c:pt>
                <c:pt idx="1444">
                  <c:v>45640</c:v>
                </c:pt>
                <c:pt idx="1445">
                  <c:v>45641</c:v>
                </c:pt>
                <c:pt idx="1446">
                  <c:v>45642</c:v>
                </c:pt>
                <c:pt idx="1447">
                  <c:v>45643</c:v>
                </c:pt>
                <c:pt idx="1448">
                  <c:v>45644</c:v>
                </c:pt>
                <c:pt idx="1449">
                  <c:v>45645</c:v>
                </c:pt>
                <c:pt idx="1450">
                  <c:v>45646</c:v>
                </c:pt>
                <c:pt idx="1451">
                  <c:v>45647</c:v>
                </c:pt>
                <c:pt idx="1452">
                  <c:v>45648</c:v>
                </c:pt>
                <c:pt idx="1453">
                  <c:v>45649</c:v>
                </c:pt>
                <c:pt idx="1454">
                  <c:v>45650</c:v>
                </c:pt>
                <c:pt idx="1455">
                  <c:v>45651</c:v>
                </c:pt>
                <c:pt idx="1456">
                  <c:v>45652</c:v>
                </c:pt>
                <c:pt idx="1457">
                  <c:v>45653</c:v>
                </c:pt>
                <c:pt idx="1458">
                  <c:v>45654</c:v>
                </c:pt>
                <c:pt idx="1459">
                  <c:v>45655</c:v>
                </c:pt>
                <c:pt idx="1460">
                  <c:v>45656</c:v>
                </c:pt>
                <c:pt idx="1461">
                  <c:v>45657</c:v>
                </c:pt>
                <c:pt idx="1462">
                  <c:v>45658</c:v>
                </c:pt>
                <c:pt idx="1463">
                  <c:v>45659</c:v>
                </c:pt>
                <c:pt idx="1464">
                  <c:v>45660</c:v>
                </c:pt>
                <c:pt idx="1465">
                  <c:v>45661</c:v>
                </c:pt>
                <c:pt idx="1466">
                  <c:v>45662</c:v>
                </c:pt>
                <c:pt idx="1467">
                  <c:v>45663</c:v>
                </c:pt>
                <c:pt idx="1468">
                  <c:v>45664</c:v>
                </c:pt>
                <c:pt idx="1469">
                  <c:v>45665</c:v>
                </c:pt>
                <c:pt idx="1470">
                  <c:v>45666</c:v>
                </c:pt>
                <c:pt idx="1471">
                  <c:v>45667</c:v>
                </c:pt>
                <c:pt idx="1472">
                  <c:v>45668</c:v>
                </c:pt>
                <c:pt idx="1473">
                  <c:v>45669</c:v>
                </c:pt>
                <c:pt idx="1474">
                  <c:v>45670</c:v>
                </c:pt>
                <c:pt idx="1475">
                  <c:v>45671</c:v>
                </c:pt>
                <c:pt idx="1476">
                  <c:v>45672</c:v>
                </c:pt>
                <c:pt idx="1477">
                  <c:v>45673</c:v>
                </c:pt>
                <c:pt idx="1478">
                  <c:v>45674</c:v>
                </c:pt>
                <c:pt idx="1479">
                  <c:v>45675</c:v>
                </c:pt>
                <c:pt idx="1480">
                  <c:v>45676</c:v>
                </c:pt>
                <c:pt idx="1481">
                  <c:v>45677</c:v>
                </c:pt>
                <c:pt idx="1482">
                  <c:v>45678</c:v>
                </c:pt>
                <c:pt idx="1483">
                  <c:v>45679</c:v>
                </c:pt>
                <c:pt idx="1484">
                  <c:v>45680</c:v>
                </c:pt>
                <c:pt idx="1485">
                  <c:v>45681</c:v>
                </c:pt>
                <c:pt idx="1486">
                  <c:v>45682</c:v>
                </c:pt>
                <c:pt idx="1487">
                  <c:v>45683</c:v>
                </c:pt>
                <c:pt idx="1488">
                  <c:v>45684</c:v>
                </c:pt>
                <c:pt idx="1489">
                  <c:v>45685</c:v>
                </c:pt>
                <c:pt idx="1490">
                  <c:v>45686</c:v>
                </c:pt>
                <c:pt idx="1491">
                  <c:v>45687</c:v>
                </c:pt>
                <c:pt idx="1492">
                  <c:v>45688</c:v>
                </c:pt>
                <c:pt idx="1493">
                  <c:v>45689</c:v>
                </c:pt>
                <c:pt idx="1494">
                  <c:v>45690</c:v>
                </c:pt>
                <c:pt idx="1495">
                  <c:v>45691</c:v>
                </c:pt>
                <c:pt idx="1496">
                  <c:v>45692</c:v>
                </c:pt>
                <c:pt idx="1497">
                  <c:v>45693</c:v>
                </c:pt>
                <c:pt idx="1498">
                  <c:v>45694</c:v>
                </c:pt>
                <c:pt idx="1499">
                  <c:v>45695</c:v>
                </c:pt>
                <c:pt idx="1500">
                  <c:v>45696</c:v>
                </c:pt>
                <c:pt idx="1501">
                  <c:v>45697</c:v>
                </c:pt>
                <c:pt idx="1502">
                  <c:v>45698</c:v>
                </c:pt>
                <c:pt idx="1503">
                  <c:v>45699</c:v>
                </c:pt>
                <c:pt idx="1504">
                  <c:v>45700</c:v>
                </c:pt>
                <c:pt idx="1505">
                  <c:v>45701</c:v>
                </c:pt>
                <c:pt idx="1506">
                  <c:v>45702</c:v>
                </c:pt>
                <c:pt idx="1507">
                  <c:v>45703</c:v>
                </c:pt>
                <c:pt idx="1508">
                  <c:v>45704</c:v>
                </c:pt>
                <c:pt idx="1509">
                  <c:v>45705</c:v>
                </c:pt>
                <c:pt idx="1510">
                  <c:v>45706</c:v>
                </c:pt>
                <c:pt idx="1511">
                  <c:v>45707</c:v>
                </c:pt>
                <c:pt idx="1512">
                  <c:v>45708</c:v>
                </c:pt>
                <c:pt idx="1513">
                  <c:v>45709</c:v>
                </c:pt>
                <c:pt idx="1514">
                  <c:v>45710</c:v>
                </c:pt>
                <c:pt idx="1515">
                  <c:v>45711</c:v>
                </c:pt>
                <c:pt idx="1516">
                  <c:v>45712</c:v>
                </c:pt>
                <c:pt idx="1517">
                  <c:v>45713</c:v>
                </c:pt>
                <c:pt idx="1518">
                  <c:v>45714</c:v>
                </c:pt>
                <c:pt idx="1519">
                  <c:v>45715</c:v>
                </c:pt>
                <c:pt idx="1520">
                  <c:v>45716</c:v>
                </c:pt>
                <c:pt idx="1521">
                  <c:v>45717</c:v>
                </c:pt>
                <c:pt idx="1522">
                  <c:v>45718</c:v>
                </c:pt>
                <c:pt idx="1523">
                  <c:v>45719</c:v>
                </c:pt>
                <c:pt idx="1524">
                  <c:v>45720</c:v>
                </c:pt>
                <c:pt idx="1525">
                  <c:v>45721</c:v>
                </c:pt>
                <c:pt idx="1526">
                  <c:v>45722</c:v>
                </c:pt>
                <c:pt idx="1527">
                  <c:v>45723</c:v>
                </c:pt>
                <c:pt idx="1528">
                  <c:v>45724</c:v>
                </c:pt>
                <c:pt idx="1529">
                  <c:v>45725</c:v>
                </c:pt>
                <c:pt idx="1530">
                  <c:v>45726</c:v>
                </c:pt>
                <c:pt idx="1531">
                  <c:v>45727</c:v>
                </c:pt>
                <c:pt idx="1532">
                  <c:v>45728</c:v>
                </c:pt>
                <c:pt idx="1533">
                  <c:v>45729</c:v>
                </c:pt>
                <c:pt idx="1534">
                  <c:v>45730</c:v>
                </c:pt>
                <c:pt idx="1535">
                  <c:v>45731</c:v>
                </c:pt>
                <c:pt idx="1536">
                  <c:v>45732</c:v>
                </c:pt>
                <c:pt idx="1537">
                  <c:v>45733</c:v>
                </c:pt>
                <c:pt idx="1538">
                  <c:v>45734</c:v>
                </c:pt>
                <c:pt idx="1539">
                  <c:v>45735</c:v>
                </c:pt>
                <c:pt idx="1540">
                  <c:v>45736</c:v>
                </c:pt>
                <c:pt idx="1541">
                  <c:v>45737</c:v>
                </c:pt>
                <c:pt idx="1542">
                  <c:v>45738</c:v>
                </c:pt>
                <c:pt idx="1543">
                  <c:v>45739</c:v>
                </c:pt>
                <c:pt idx="1544">
                  <c:v>45740</c:v>
                </c:pt>
                <c:pt idx="1545">
                  <c:v>45741</c:v>
                </c:pt>
                <c:pt idx="1546">
                  <c:v>45742</c:v>
                </c:pt>
                <c:pt idx="1547">
                  <c:v>45743</c:v>
                </c:pt>
                <c:pt idx="1548">
                  <c:v>45744</c:v>
                </c:pt>
                <c:pt idx="1549">
                  <c:v>45745</c:v>
                </c:pt>
                <c:pt idx="1550">
                  <c:v>45746</c:v>
                </c:pt>
                <c:pt idx="1551">
                  <c:v>45747</c:v>
                </c:pt>
                <c:pt idx="1552">
                  <c:v>45748</c:v>
                </c:pt>
                <c:pt idx="1553">
                  <c:v>45749</c:v>
                </c:pt>
                <c:pt idx="1554">
                  <c:v>45750</c:v>
                </c:pt>
                <c:pt idx="1555">
                  <c:v>45751</c:v>
                </c:pt>
                <c:pt idx="1556">
                  <c:v>45752</c:v>
                </c:pt>
                <c:pt idx="1557">
                  <c:v>45753</c:v>
                </c:pt>
                <c:pt idx="1558">
                  <c:v>45754</c:v>
                </c:pt>
                <c:pt idx="1559">
                  <c:v>45755</c:v>
                </c:pt>
                <c:pt idx="1560">
                  <c:v>45756</c:v>
                </c:pt>
                <c:pt idx="1561">
                  <c:v>45757</c:v>
                </c:pt>
                <c:pt idx="1562">
                  <c:v>45758</c:v>
                </c:pt>
                <c:pt idx="1563">
                  <c:v>45759</c:v>
                </c:pt>
                <c:pt idx="1564">
                  <c:v>45760</c:v>
                </c:pt>
                <c:pt idx="1565">
                  <c:v>45761</c:v>
                </c:pt>
                <c:pt idx="1566">
                  <c:v>45762</c:v>
                </c:pt>
                <c:pt idx="1567">
                  <c:v>45763</c:v>
                </c:pt>
                <c:pt idx="1568">
                  <c:v>45764</c:v>
                </c:pt>
                <c:pt idx="1569">
                  <c:v>45765</c:v>
                </c:pt>
                <c:pt idx="1570">
                  <c:v>45766</c:v>
                </c:pt>
                <c:pt idx="1571">
                  <c:v>45767</c:v>
                </c:pt>
                <c:pt idx="1572">
                  <c:v>45768</c:v>
                </c:pt>
                <c:pt idx="1573">
                  <c:v>45769</c:v>
                </c:pt>
                <c:pt idx="1574">
                  <c:v>45770</c:v>
                </c:pt>
                <c:pt idx="1575">
                  <c:v>45771</c:v>
                </c:pt>
                <c:pt idx="1576">
                  <c:v>45772</c:v>
                </c:pt>
                <c:pt idx="1577">
                  <c:v>45773</c:v>
                </c:pt>
                <c:pt idx="1578">
                  <c:v>45774</c:v>
                </c:pt>
                <c:pt idx="1579">
                  <c:v>45775</c:v>
                </c:pt>
                <c:pt idx="1580">
                  <c:v>45776</c:v>
                </c:pt>
                <c:pt idx="1581">
                  <c:v>45777</c:v>
                </c:pt>
                <c:pt idx="1582">
                  <c:v>45778</c:v>
                </c:pt>
                <c:pt idx="1583">
                  <c:v>45779</c:v>
                </c:pt>
                <c:pt idx="1584">
                  <c:v>45780</c:v>
                </c:pt>
                <c:pt idx="1585">
                  <c:v>45781</c:v>
                </c:pt>
                <c:pt idx="1586">
                  <c:v>45782</c:v>
                </c:pt>
                <c:pt idx="1587">
                  <c:v>45783</c:v>
                </c:pt>
                <c:pt idx="1588">
                  <c:v>45784</c:v>
                </c:pt>
                <c:pt idx="1589">
                  <c:v>45785</c:v>
                </c:pt>
                <c:pt idx="1590">
                  <c:v>45786</c:v>
                </c:pt>
                <c:pt idx="1591">
                  <c:v>45787</c:v>
                </c:pt>
                <c:pt idx="1592">
                  <c:v>45788</c:v>
                </c:pt>
                <c:pt idx="1593">
                  <c:v>45789</c:v>
                </c:pt>
                <c:pt idx="1594">
                  <c:v>45790</c:v>
                </c:pt>
                <c:pt idx="1595">
                  <c:v>45791</c:v>
                </c:pt>
                <c:pt idx="1596">
                  <c:v>45792</c:v>
                </c:pt>
                <c:pt idx="1597">
                  <c:v>45793</c:v>
                </c:pt>
                <c:pt idx="1598">
                  <c:v>45794</c:v>
                </c:pt>
                <c:pt idx="1599">
                  <c:v>45795</c:v>
                </c:pt>
                <c:pt idx="1600">
                  <c:v>45796</c:v>
                </c:pt>
                <c:pt idx="1601">
                  <c:v>45797</c:v>
                </c:pt>
                <c:pt idx="1602">
                  <c:v>45798</c:v>
                </c:pt>
                <c:pt idx="1603">
                  <c:v>45799</c:v>
                </c:pt>
                <c:pt idx="1604">
                  <c:v>45800</c:v>
                </c:pt>
                <c:pt idx="1605">
                  <c:v>45801</c:v>
                </c:pt>
                <c:pt idx="1606">
                  <c:v>45802</c:v>
                </c:pt>
                <c:pt idx="1607">
                  <c:v>45803</c:v>
                </c:pt>
                <c:pt idx="1608">
                  <c:v>45804</c:v>
                </c:pt>
                <c:pt idx="1609">
                  <c:v>45805</c:v>
                </c:pt>
                <c:pt idx="1610">
                  <c:v>45806</c:v>
                </c:pt>
                <c:pt idx="1611">
                  <c:v>45807</c:v>
                </c:pt>
                <c:pt idx="1612">
                  <c:v>45808</c:v>
                </c:pt>
                <c:pt idx="1613">
                  <c:v>45809</c:v>
                </c:pt>
                <c:pt idx="1614">
                  <c:v>45810</c:v>
                </c:pt>
                <c:pt idx="1615">
                  <c:v>45811</c:v>
                </c:pt>
                <c:pt idx="1616">
                  <c:v>45812</c:v>
                </c:pt>
                <c:pt idx="1617">
                  <c:v>45813</c:v>
                </c:pt>
                <c:pt idx="1618">
                  <c:v>45814</c:v>
                </c:pt>
                <c:pt idx="1619">
                  <c:v>45815</c:v>
                </c:pt>
                <c:pt idx="1620">
                  <c:v>45816</c:v>
                </c:pt>
                <c:pt idx="1621">
                  <c:v>45817</c:v>
                </c:pt>
                <c:pt idx="1622">
                  <c:v>45818</c:v>
                </c:pt>
                <c:pt idx="1623">
                  <c:v>45819</c:v>
                </c:pt>
                <c:pt idx="1624">
                  <c:v>45820</c:v>
                </c:pt>
                <c:pt idx="1625">
                  <c:v>45821</c:v>
                </c:pt>
                <c:pt idx="1626">
                  <c:v>45822</c:v>
                </c:pt>
                <c:pt idx="1627">
                  <c:v>45823</c:v>
                </c:pt>
                <c:pt idx="1628">
                  <c:v>45824</c:v>
                </c:pt>
                <c:pt idx="1629">
                  <c:v>45825</c:v>
                </c:pt>
                <c:pt idx="1630">
                  <c:v>45826</c:v>
                </c:pt>
                <c:pt idx="1631">
                  <c:v>45827</c:v>
                </c:pt>
                <c:pt idx="1632">
                  <c:v>45828</c:v>
                </c:pt>
                <c:pt idx="1633">
                  <c:v>45829</c:v>
                </c:pt>
                <c:pt idx="1634">
                  <c:v>45830</c:v>
                </c:pt>
                <c:pt idx="1635">
                  <c:v>45831</c:v>
                </c:pt>
                <c:pt idx="1636">
                  <c:v>45832</c:v>
                </c:pt>
                <c:pt idx="1637">
                  <c:v>45833</c:v>
                </c:pt>
                <c:pt idx="1638">
                  <c:v>45834</c:v>
                </c:pt>
                <c:pt idx="1639">
                  <c:v>45835</c:v>
                </c:pt>
                <c:pt idx="1640">
                  <c:v>45836</c:v>
                </c:pt>
                <c:pt idx="1641">
                  <c:v>45837</c:v>
                </c:pt>
                <c:pt idx="1642">
                  <c:v>45838</c:v>
                </c:pt>
                <c:pt idx="1643">
                  <c:v>45839</c:v>
                </c:pt>
                <c:pt idx="1644">
                  <c:v>45840</c:v>
                </c:pt>
                <c:pt idx="1645">
                  <c:v>45841</c:v>
                </c:pt>
                <c:pt idx="1646">
                  <c:v>45842</c:v>
                </c:pt>
                <c:pt idx="1647">
                  <c:v>45843</c:v>
                </c:pt>
                <c:pt idx="1648">
                  <c:v>45844</c:v>
                </c:pt>
                <c:pt idx="1649">
                  <c:v>45845</c:v>
                </c:pt>
                <c:pt idx="1650">
                  <c:v>45846</c:v>
                </c:pt>
                <c:pt idx="1651">
                  <c:v>45847</c:v>
                </c:pt>
                <c:pt idx="1652">
                  <c:v>45848</c:v>
                </c:pt>
                <c:pt idx="1653">
                  <c:v>45849</c:v>
                </c:pt>
                <c:pt idx="1654">
                  <c:v>45850</c:v>
                </c:pt>
                <c:pt idx="1655">
                  <c:v>45851</c:v>
                </c:pt>
                <c:pt idx="1656">
                  <c:v>45852</c:v>
                </c:pt>
                <c:pt idx="1657">
                  <c:v>45853</c:v>
                </c:pt>
                <c:pt idx="1658">
                  <c:v>45854</c:v>
                </c:pt>
                <c:pt idx="1659">
                  <c:v>45855</c:v>
                </c:pt>
                <c:pt idx="1660">
                  <c:v>45856</c:v>
                </c:pt>
                <c:pt idx="1661">
                  <c:v>45857</c:v>
                </c:pt>
                <c:pt idx="1662">
                  <c:v>45858</c:v>
                </c:pt>
                <c:pt idx="1663">
                  <c:v>45859</c:v>
                </c:pt>
                <c:pt idx="1664">
                  <c:v>45860</c:v>
                </c:pt>
                <c:pt idx="1665">
                  <c:v>45861</c:v>
                </c:pt>
                <c:pt idx="1666">
                  <c:v>45862</c:v>
                </c:pt>
                <c:pt idx="1667">
                  <c:v>45863</c:v>
                </c:pt>
                <c:pt idx="1668">
                  <c:v>45864</c:v>
                </c:pt>
                <c:pt idx="1669">
                  <c:v>45865</c:v>
                </c:pt>
                <c:pt idx="1670">
                  <c:v>45866</c:v>
                </c:pt>
                <c:pt idx="1671">
                  <c:v>45867</c:v>
                </c:pt>
                <c:pt idx="1672">
                  <c:v>45868</c:v>
                </c:pt>
                <c:pt idx="1673">
                  <c:v>45869</c:v>
                </c:pt>
                <c:pt idx="1674">
                  <c:v>45870</c:v>
                </c:pt>
                <c:pt idx="1675">
                  <c:v>45871</c:v>
                </c:pt>
                <c:pt idx="1676">
                  <c:v>45872</c:v>
                </c:pt>
                <c:pt idx="1677">
                  <c:v>45873</c:v>
                </c:pt>
                <c:pt idx="1678">
                  <c:v>45874</c:v>
                </c:pt>
                <c:pt idx="1679">
                  <c:v>45875</c:v>
                </c:pt>
                <c:pt idx="1680">
                  <c:v>45876</c:v>
                </c:pt>
                <c:pt idx="1681">
                  <c:v>45877</c:v>
                </c:pt>
                <c:pt idx="1682">
                  <c:v>45878</c:v>
                </c:pt>
                <c:pt idx="1683">
                  <c:v>45879</c:v>
                </c:pt>
                <c:pt idx="1684">
                  <c:v>45880</c:v>
                </c:pt>
                <c:pt idx="1685">
                  <c:v>45881</c:v>
                </c:pt>
                <c:pt idx="1686">
                  <c:v>45882</c:v>
                </c:pt>
                <c:pt idx="1687">
                  <c:v>45883</c:v>
                </c:pt>
                <c:pt idx="1688">
                  <c:v>45884</c:v>
                </c:pt>
                <c:pt idx="1689">
                  <c:v>45885</c:v>
                </c:pt>
                <c:pt idx="1690">
                  <c:v>45886</c:v>
                </c:pt>
                <c:pt idx="1691">
                  <c:v>45887</c:v>
                </c:pt>
                <c:pt idx="1692">
                  <c:v>45888</c:v>
                </c:pt>
                <c:pt idx="1693">
                  <c:v>45889</c:v>
                </c:pt>
                <c:pt idx="1694">
                  <c:v>45890</c:v>
                </c:pt>
                <c:pt idx="1695">
                  <c:v>45891</c:v>
                </c:pt>
                <c:pt idx="1696">
                  <c:v>45892</c:v>
                </c:pt>
                <c:pt idx="1697">
                  <c:v>45893</c:v>
                </c:pt>
                <c:pt idx="1698">
                  <c:v>45894</c:v>
                </c:pt>
                <c:pt idx="1699">
                  <c:v>45895</c:v>
                </c:pt>
                <c:pt idx="1700">
                  <c:v>45896</c:v>
                </c:pt>
                <c:pt idx="1701">
                  <c:v>45897</c:v>
                </c:pt>
                <c:pt idx="1702">
                  <c:v>45898</c:v>
                </c:pt>
                <c:pt idx="1703">
                  <c:v>45899</c:v>
                </c:pt>
                <c:pt idx="1704">
                  <c:v>45900</c:v>
                </c:pt>
                <c:pt idx="1705">
                  <c:v>45901</c:v>
                </c:pt>
                <c:pt idx="1706">
                  <c:v>45902</c:v>
                </c:pt>
                <c:pt idx="1707">
                  <c:v>45903</c:v>
                </c:pt>
                <c:pt idx="1708">
                  <c:v>45904</c:v>
                </c:pt>
                <c:pt idx="1709">
                  <c:v>45905</c:v>
                </c:pt>
                <c:pt idx="1710">
                  <c:v>45906</c:v>
                </c:pt>
                <c:pt idx="1711">
                  <c:v>45907</c:v>
                </c:pt>
                <c:pt idx="1712">
                  <c:v>45908</c:v>
                </c:pt>
                <c:pt idx="1713">
                  <c:v>45909</c:v>
                </c:pt>
                <c:pt idx="1714">
                  <c:v>45910</c:v>
                </c:pt>
                <c:pt idx="1715">
                  <c:v>45911</c:v>
                </c:pt>
                <c:pt idx="1716">
                  <c:v>45912</c:v>
                </c:pt>
                <c:pt idx="1717">
                  <c:v>45913</c:v>
                </c:pt>
                <c:pt idx="1718">
                  <c:v>45914</c:v>
                </c:pt>
                <c:pt idx="1719">
                  <c:v>45915</c:v>
                </c:pt>
                <c:pt idx="1720">
                  <c:v>45916</c:v>
                </c:pt>
                <c:pt idx="1721">
                  <c:v>45917</c:v>
                </c:pt>
                <c:pt idx="1722">
                  <c:v>45918</c:v>
                </c:pt>
                <c:pt idx="1723">
                  <c:v>45919</c:v>
                </c:pt>
                <c:pt idx="1724">
                  <c:v>45920</c:v>
                </c:pt>
                <c:pt idx="1725">
                  <c:v>45921</c:v>
                </c:pt>
                <c:pt idx="1726">
                  <c:v>45922</c:v>
                </c:pt>
                <c:pt idx="1727">
                  <c:v>45923</c:v>
                </c:pt>
                <c:pt idx="1728">
                  <c:v>45924</c:v>
                </c:pt>
                <c:pt idx="1729">
                  <c:v>45925</c:v>
                </c:pt>
                <c:pt idx="1730">
                  <c:v>45926</c:v>
                </c:pt>
                <c:pt idx="1731">
                  <c:v>45927</c:v>
                </c:pt>
                <c:pt idx="1732">
                  <c:v>45928</c:v>
                </c:pt>
                <c:pt idx="1733">
                  <c:v>45929</c:v>
                </c:pt>
                <c:pt idx="1734">
                  <c:v>45930</c:v>
                </c:pt>
                <c:pt idx="1735">
                  <c:v>45931</c:v>
                </c:pt>
                <c:pt idx="1736">
                  <c:v>45932</c:v>
                </c:pt>
                <c:pt idx="1737">
                  <c:v>45933</c:v>
                </c:pt>
                <c:pt idx="1738">
                  <c:v>45934</c:v>
                </c:pt>
                <c:pt idx="1739">
                  <c:v>45935</c:v>
                </c:pt>
                <c:pt idx="1740">
                  <c:v>45936</c:v>
                </c:pt>
                <c:pt idx="1741">
                  <c:v>45937</c:v>
                </c:pt>
                <c:pt idx="1742">
                  <c:v>45938</c:v>
                </c:pt>
                <c:pt idx="1743">
                  <c:v>45939</c:v>
                </c:pt>
                <c:pt idx="1744">
                  <c:v>45940</c:v>
                </c:pt>
                <c:pt idx="1745">
                  <c:v>45941</c:v>
                </c:pt>
                <c:pt idx="1746">
                  <c:v>45942</c:v>
                </c:pt>
                <c:pt idx="1747">
                  <c:v>45943</c:v>
                </c:pt>
                <c:pt idx="1748">
                  <c:v>45944</c:v>
                </c:pt>
                <c:pt idx="1749">
                  <c:v>45945</c:v>
                </c:pt>
                <c:pt idx="1750">
                  <c:v>45946</c:v>
                </c:pt>
                <c:pt idx="1751">
                  <c:v>45947</c:v>
                </c:pt>
                <c:pt idx="1752">
                  <c:v>45948</c:v>
                </c:pt>
                <c:pt idx="1753">
                  <c:v>45949</c:v>
                </c:pt>
                <c:pt idx="1754">
                  <c:v>45950</c:v>
                </c:pt>
                <c:pt idx="1755">
                  <c:v>45951</c:v>
                </c:pt>
                <c:pt idx="1756">
                  <c:v>45952</c:v>
                </c:pt>
                <c:pt idx="1757">
                  <c:v>45953</c:v>
                </c:pt>
                <c:pt idx="1758">
                  <c:v>45954</c:v>
                </c:pt>
                <c:pt idx="1759">
                  <c:v>45955</c:v>
                </c:pt>
                <c:pt idx="1760">
                  <c:v>45956</c:v>
                </c:pt>
                <c:pt idx="1761">
                  <c:v>45957</c:v>
                </c:pt>
                <c:pt idx="1762">
                  <c:v>45958</c:v>
                </c:pt>
                <c:pt idx="1763">
                  <c:v>45959</c:v>
                </c:pt>
                <c:pt idx="1764">
                  <c:v>45960</c:v>
                </c:pt>
                <c:pt idx="1765">
                  <c:v>45961</c:v>
                </c:pt>
                <c:pt idx="1766">
                  <c:v>45962</c:v>
                </c:pt>
                <c:pt idx="1767">
                  <c:v>45963</c:v>
                </c:pt>
                <c:pt idx="1768">
                  <c:v>45964</c:v>
                </c:pt>
                <c:pt idx="1769">
                  <c:v>45965</c:v>
                </c:pt>
                <c:pt idx="1770">
                  <c:v>45966</c:v>
                </c:pt>
                <c:pt idx="1771">
                  <c:v>45967</c:v>
                </c:pt>
                <c:pt idx="1772">
                  <c:v>45968</c:v>
                </c:pt>
                <c:pt idx="1773">
                  <c:v>45969</c:v>
                </c:pt>
                <c:pt idx="1774">
                  <c:v>45970</c:v>
                </c:pt>
                <c:pt idx="1775">
                  <c:v>45971</c:v>
                </c:pt>
                <c:pt idx="1776">
                  <c:v>45972</c:v>
                </c:pt>
                <c:pt idx="1777">
                  <c:v>45973</c:v>
                </c:pt>
                <c:pt idx="1778">
                  <c:v>45974</c:v>
                </c:pt>
                <c:pt idx="1779">
                  <c:v>45975</c:v>
                </c:pt>
                <c:pt idx="1780">
                  <c:v>45976</c:v>
                </c:pt>
                <c:pt idx="1781">
                  <c:v>45977</c:v>
                </c:pt>
                <c:pt idx="1782">
                  <c:v>45978</c:v>
                </c:pt>
                <c:pt idx="1783">
                  <c:v>45979</c:v>
                </c:pt>
                <c:pt idx="1784">
                  <c:v>45980</c:v>
                </c:pt>
                <c:pt idx="1785">
                  <c:v>45981</c:v>
                </c:pt>
                <c:pt idx="1786">
                  <c:v>45982</c:v>
                </c:pt>
                <c:pt idx="1787">
                  <c:v>45983</c:v>
                </c:pt>
                <c:pt idx="1788">
                  <c:v>45984</c:v>
                </c:pt>
                <c:pt idx="1789">
                  <c:v>45985</c:v>
                </c:pt>
                <c:pt idx="1790">
                  <c:v>45986</c:v>
                </c:pt>
                <c:pt idx="1791">
                  <c:v>45987</c:v>
                </c:pt>
                <c:pt idx="1792">
                  <c:v>45988</c:v>
                </c:pt>
                <c:pt idx="1793">
                  <c:v>45989</c:v>
                </c:pt>
                <c:pt idx="1794">
                  <c:v>45990</c:v>
                </c:pt>
                <c:pt idx="1795">
                  <c:v>45991</c:v>
                </c:pt>
                <c:pt idx="1796">
                  <c:v>45992</c:v>
                </c:pt>
                <c:pt idx="1797">
                  <c:v>45993</c:v>
                </c:pt>
                <c:pt idx="1798">
                  <c:v>45994</c:v>
                </c:pt>
                <c:pt idx="1799">
                  <c:v>45995</c:v>
                </c:pt>
                <c:pt idx="1800">
                  <c:v>45996</c:v>
                </c:pt>
                <c:pt idx="1801">
                  <c:v>45997</c:v>
                </c:pt>
                <c:pt idx="1802">
                  <c:v>45998</c:v>
                </c:pt>
                <c:pt idx="1803">
                  <c:v>45999</c:v>
                </c:pt>
                <c:pt idx="1804">
                  <c:v>46000</c:v>
                </c:pt>
                <c:pt idx="1805">
                  <c:v>46001</c:v>
                </c:pt>
                <c:pt idx="1806">
                  <c:v>46002</c:v>
                </c:pt>
                <c:pt idx="1807">
                  <c:v>46003</c:v>
                </c:pt>
                <c:pt idx="1808">
                  <c:v>46004</c:v>
                </c:pt>
                <c:pt idx="1809">
                  <c:v>46005</c:v>
                </c:pt>
                <c:pt idx="1810">
                  <c:v>46006</c:v>
                </c:pt>
                <c:pt idx="1811">
                  <c:v>46007</c:v>
                </c:pt>
                <c:pt idx="1812">
                  <c:v>46008</c:v>
                </c:pt>
                <c:pt idx="1813">
                  <c:v>46009</c:v>
                </c:pt>
                <c:pt idx="1814">
                  <c:v>46010</c:v>
                </c:pt>
                <c:pt idx="1815">
                  <c:v>46011</c:v>
                </c:pt>
                <c:pt idx="1816">
                  <c:v>46012</c:v>
                </c:pt>
                <c:pt idx="1817">
                  <c:v>46013</c:v>
                </c:pt>
                <c:pt idx="1818">
                  <c:v>46014</c:v>
                </c:pt>
                <c:pt idx="1819">
                  <c:v>46015</c:v>
                </c:pt>
                <c:pt idx="1820">
                  <c:v>46016</c:v>
                </c:pt>
                <c:pt idx="1821">
                  <c:v>46017</c:v>
                </c:pt>
                <c:pt idx="1822">
                  <c:v>46018</c:v>
                </c:pt>
                <c:pt idx="1823">
                  <c:v>46019</c:v>
                </c:pt>
                <c:pt idx="1824">
                  <c:v>46020</c:v>
                </c:pt>
                <c:pt idx="1825">
                  <c:v>46021</c:v>
                </c:pt>
                <c:pt idx="1826">
                  <c:v>46022</c:v>
                </c:pt>
              </c:numCache>
            </c:numRef>
          </c:cat>
          <c:val>
            <c:numRef>
              <c:f>Sheet1!$B$2:$B$2069</c:f>
              <c:numCache>
                <c:formatCode>0.00%</c:formatCode>
                <c:ptCount val="2068"/>
                <c:pt idx="0">
                  <c:v>0</c:v>
                </c:pt>
                <c:pt idx="1">
                  <c:v>0</c:v>
                </c:pt>
                <c:pt idx="2">
                  <c:v>0</c:v>
                </c:pt>
                <c:pt idx="3">
                  <c:v>0</c:v>
                </c:pt>
                <c:pt idx="4">
                  <c:v>-2.0779423915226404E-3</c:v>
                </c:pt>
                <c:pt idx="5">
                  <c:v>-7.5252213881184101E-3</c:v>
                </c:pt>
                <c:pt idx="6">
                  <c:v>-7.1612264237373323E-4</c:v>
                </c:pt>
                <c:pt idx="7">
                  <c:v>8.8166156016684736E-3</c:v>
                </c:pt>
                <c:pt idx="8">
                  <c:v>1.776571681036131E-2</c:v>
                </c:pt>
                <c:pt idx="9">
                  <c:v>1.776571681036131E-2</c:v>
                </c:pt>
                <c:pt idx="10">
                  <c:v>1.776571681036131E-2</c:v>
                </c:pt>
                <c:pt idx="11">
                  <c:v>2.2629358771607572E-2</c:v>
                </c:pt>
                <c:pt idx="12">
                  <c:v>1.8252081006486093E-2</c:v>
                </c:pt>
                <c:pt idx="13">
                  <c:v>1.7376625453461685E-2</c:v>
                </c:pt>
                <c:pt idx="14">
                  <c:v>2.0683901987109295E-2</c:v>
                </c:pt>
                <c:pt idx="15">
                  <c:v>1.0762072386167033E-2</c:v>
                </c:pt>
                <c:pt idx="16">
                  <c:v>1.0762072386167033E-2</c:v>
                </c:pt>
                <c:pt idx="17">
                  <c:v>1.0762072386167033E-2</c:v>
                </c:pt>
                <c:pt idx="18">
                  <c:v>1.2123892135315941E-2</c:v>
                </c:pt>
                <c:pt idx="19">
                  <c:v>1.776571681036131E-2</c:v>
                </c:pt>
                <c:pt idx="20">
                  <c:v>3.3426643925573957E-2</c:v>
                </c:pt>
                <c:pt idx="21">
                  <c:v>3.2843006890224305E-2</c:v>
                </c:pt>
                <c:pt idx="22">
                  <c:v>2.6617545179829422E-2</c:v>
                </c:pt>
                <c:pt idx="23">
                  <c:v>2.6617545179829422E-2</c:v>
                </c:pt>
                <c:pt idx="24">
                  <c:v>2.6617545179829422E-2</c:v>
                </c:pt>
                <c:pt idx="25">
                  <c:v>2.817391060742807E-2</c:v>
                </c:pt>
                <c:pt idx="26">
                  <c:v>2.4282997038431092E-2</c:v>
                </c:pt>
                <c:pt idx="27">
                  <c:v>1.3485711884464848E-2</c:v>
                </c:pt>
                <c:pt idx="28">
                  <c:v>1.0470253868492136E-2</c:v>
                </c:pt>
                <c:pt idx="29">
                  <c:v>-3.731580658346445E-3</c:v>
                </c:pt>
                <c:pt idx="30">
                  <c:v>-3.731580658346445E-3</c:v>
                </c:pt>
                <c:pt idx="31">
                  <c:v>-1.0978309907763873E-2</c:v>
                </c:pt>
                <c:pt idx="32">
                  <c:v>8.9138884408934867E-3</c:v>
                </c:pt>
                <c:pt idx="33">
                  <c:v>3.6636647619996125E-2</c:v>
                </c:pt>
                <c:pt idx="34">
                  <c:v>3.8387558726044942E-2</c:v>
                </c:pt>
                <c:pt idx="35">
                  <c:v>4.3932110561865301E-2</c:v>
                </c:pt>
                <c:pt idx="36">
                  <c:v>4.4710293275664836E-2</c:v>
                </c:pt>
                <c:pt idx="37">
                  <c:v>4.4710293275664836E-2</c:v>
                </c:pt>
                <c:pt idx="38">
                  <c:v>4.4710293275664836E-2</c:v>
                </c:pt>
                <c:pt idx="39">
                  <c:v>4.6363931542488357E-2</c:v>
                </c:pt>
                <c:pt idx="40">
                  <c:v>4.7044841417063027E-2</c:v>
                </c:pt>
                <c:pt idx="41">
                  <c:v>3.8873922922169582E-2</c:v>
                </c:pt>
                <c:pt idx="42">
                  <c:v>4.7823024130862424E-2</c:v>
                </c:pt>
                <c:pt idx="43">
                  <c:v>5.3464848805907794E-2</c:v>
                </c:pt>
                <c:pt idx="44">
                  <c:v>5.3464848805907794E-2</c:v>
                </c:pt>
                <c:pt idx="45">
                  <c:v>5.3464848805907794E-2</c:v>
                </c:pt>
                <c:pt idx="46">
                  <c:v>6.2608495693050659E-2</c:v>
                </c:pt>
                <c:pt idx="47">
                  <c:v>5.871758212405382E-2</c:v>
                </c:pt>
                <c:pt idx="48">
                  <c:v>5.8425763606378925E-2</c:v>
                </c:pt>
                <c:pt idx="49">
                  <c:v>4.6072113024813885E-2</c:v>
                </c:pt>
                <c:pt idx="50">
                  <c:v>4.762847845241254E-2</c:v>
                </c:pt>
                <c:pt idx="51">
                  <c:v>4.762847845241254E-2</c:v>
                </c:pt>
                <c:pt idx="52">
                  <c:v>4.762847845241254E-2</c:v>
                </c:pt>
                <c:pt idx="53">
                  <c:v>2.9633003195801848E-2</c:v>
                </c:pt>
                <c:pt idx="54">
                  <c:v>2.4477542716881118E-2</c:v>
                </c:pt>
                <c:pt idx="55">
                  <c:v>2.7687546411303571E-2</c:v>
                </c:pt>
                <c:pt idx="56">
                  <c:v>2.1656630379358433E-2</c:v>
                </c:pt>
                <c:pt idx="57">
                  <c:v>1.2804802009890323E-2</c:v>
                </c:pt>
                <c:pt idx="58">
                  <c:v>1.2804802009890323E-2</c:v>
                </c:pt>
                <c:pt idx="59">
                  <c:v>9.4478190553989802E-3</c:v>
                </c:pt>
                <c:pt idx="60">
                  <c:v>3.52748278708475E-2</c:v>
                </c:pt>
                <c:pt idx="61">
                  <c:v>3.4496645157047826E-2</c:v>
                </c:pt>
                <c:pt idx="62">
                  <c:v>2.3893905681531463E-2</c:v>
                </c:pt>
                <c:pt idx="63">
                  <c:v>2.0489356308659269E-2</c:v>
                </c:pt>
                <c:pt idx="64">
                  <c:v>1.2123892135315941E-2</c:v>
                </c:pt>
                <c:pt idx="65">
                  <c:v>1.2123892135315941E-2</c:v>
                </c:pt>
                <c:pt idx="66">
                  <c:v>1.2123892135315941E-2</c:v>
                </c:pt>
                <c:pt idx="67">
                  <c:v>3.7025738976896039E-2</c:v>
                </c:pt>
                <c:pt idx="68">
                  <c:v>3.8095740208370185E-2</c:v>
                </c:pt>
                <c:pt idx="69">
                  <c:v>3.9943924153643735E-2</c:v>
                </c:pt>
                <c:pt idx="70">
                  <c:v>4.9184843880011327E-2</c:v>
                </c:pt>
                <c:pt idx="71">
                  <c:v>4.091665254589287E-2</c:v>
                </c:pt>
                <c:pt idx="72">
                  <c:v>4.091665254589287E-2</c:v>
                </c:pt>
                <c:pt idx="73">
                  <c:v>4.091665254589287E-2</c:v>
                </c:pt>
                <c:pt idx="74">
                  <c:v>4.1889380938142151E-2</c:v>
                </c:pt>
                <c:pt idx="75">
                  <c:v>5.7647580892579528E-2</c:v>
                </c:pt>
                <c:pt idx="76">
                  <c:v>4.4613020436439825E-2</c:v>
                </c:pt>
                <c:pt idx="77">
                  <c:v>4.6169385864038619E-2</c:v>
                </c:pt>
                <c:pt idx="78">
                  <c:v>3.692846613767102E-2</c:v>
                </c:pt>
                <c:pt idx="79">
                  <c:v>3.692846613767102E-2</c:v>
                </c:pt>
                <c:pt idx="80">
                  <c:v>3.692846613767102E-2</c:v>
                </c:pt>
                <c:pt idx="81">
                  <c:v>3.9360287118294084E-2</c:v>
                </c:pt>
                <c:pt idx="82">
                  <c:v>4.8795752523111559E-2</c:v>
                </c:pt>
                <c:pt idx="83">
                  <c:v>4.3932110561865301E-2</c:v>
                </c:pt>
                <c:pt idx="84">
                  <c:v>3.52748278708475E-2</c:v>
                </c:pt>
                <c:pt idx="85">
                  <c:v>4.5877567346363862E-2</c:v>
                </c:pt>
                <c:pt idx="86">
                  <c:v>4.5877567346363862E-2</c:v>
                </c:pt>
                <c:pt idx="87">
                  <c:v>4.5877567346363862E-2</c:v>
                </c:pt>
                <c:pt idx="88">
                  <c:v>5.2297574735208768E-2</c:v>
                </c:pt>
                <c:pt idx="89">
                  <c:v>5.9690310516302955E-2</c:v>
                </c:pt>
                <c:pt idx="90">
                  <c:v>5.9368921055503704E-2</c:v>
                </c:pt>
                <c:pt idx="91">
                  <c:v>5.9368921055503704E-2</c:v>
                </c:pt>
                <c:pt idx="92">
                  <c:v>5.9368921055503704E-2</c:v>
                </c:pt>
                <c:pt idx="93">
                  <c:v>5.9368921055503704E-2</c:v>
                </c:pt>
                <c:pt idx="94">
                  <c:v>5.9368921055503704E-2</c:v>
                </c:pt>
                <c:pt idx="95">
                  <c:v>5.9368921055503704E-2</c:v>
                </c:pt>
                <c:pt idx="96">
                  <c:v>8.5564885750132047E-2</c:v>
                </c:pt>
                <c:pt idx="97">
                  <c:v>8.0506698110436328E-2</c:v>
                </c:pt>
                <c:pt idx="98">
                  <c:v>8.8191252409205279E-2</c:v>
                </c:pt>
                <c:pt idx="99">
                  <c:v>8.809397956998026E-2</c:v>
                </c:pt>
                <c:pt idx="100">
                  <c:v>8.809397956998026E-2</c:v>
                </c:pt>
                <c:pt idx="101">
                  <c:v>8.809397956998026E-2</c:v>
                </c:pt>
                <c:pt idx="102">
                  <c:v>8.7510342534630609E-2</c:v>
                </c:pt>
                <c:pt idx="103">
                  <c:v>9.1790347460527222E-2</c:v>
                </c:pt>
                <c:pt idx="104">
                  <c:v>9.0331254872153294E-2</c:v>
                </c:pt>
                <c:pt idx="105">
                  <c:v>9.5973079547198956E-2</c:v>
                </c:pt>
                <c:pt idx="106">
                  <c:v>9.645944374332345E-2</c:v>
                </c:pt>
                <c:pt idx="107">
                  <c:v>9.645944374332345E-2</c:v>
                </c:pt>
                <c:pt idx="108">
                  <c:v>9.645944374332345E-2</c:v>
                </c:pt>
                <c:pt idx="109">
                  <c:v>8.8580343766104755E-2</c:v>
                </c:pt>
                <c:pt idx="110">
                  <c:v>7.778305861213837E-2</c:v>
                </c:pt>
                <c:pt idx="111">
                  <c:v>8.2646700573384357E-2</c:v>
                </c:pt>
                <c:pt idx="112">
                  <c:v>9.1012164746727964E-2</c:v>
                </c:pt>
                <c:pt idx="113">
                  <c:v>8.4494884518657901E-2</c:v>
                </c:pt>
                <c:pt idx="114">
                  <c:v>8.4494884518657901E-2</c:v>
                </c:pt>
                <c:pt idx="115">
                  <c:v>8.4494884518657901E-2</c:v>
                </c:pt>
                <c:pt idx="116">
                  <c:v>9.0428527711378312E-2</c:v>
                </c:pt>
                <c:pt idx="117">
                  <c:v>8.4592157357882905E-2</c:v>
                </c:pt>
                <c:pt idx="118">
                  <c:v>8.7315796856180863E-2</c:v>
                </c:pt>
                <c:pt idx="119">
                  <c:v>8.3619428965633777E-2</c:v>
                </c:pt>
                <c:pt idx="120">
                  <c:v>8.3420506009418596E-2</c:v>
                </c:pt>
                <c:pt idx="121">
                  <c:v>8.3420506009418596E-2</c:v>
                </c:pt>
                <c:pt idx="122">
                  <c:v>8.3420506009418596E-2</c:v>
                </c:pt>
                <c:pt idx="123">
                  <c:v>8.1284880824235725E-2</c:v>
                </c:pt>
                <c:pt idx="124">
                  <c:v>7.0584868509494358E-2</c:v>
                </c:pt>
                <c:pt idx="125">
                  <c:v>7.5253964792290448E-2</c:v>
                </c:pt>
                <c:pt idx="126">
                  <c:v>6.4943043834448697E-2</c:v>
                </c:pt>
                <c:pt idx="127">
                  <c:v>7.885305984361253E-2</c:v>
                </c:pt>
                <c:pt idx="128">
                  <c:v>7.885305984361253E-2</c:v>
                </c:pt>
                <c:pt idx="129">
                  <c:v>7.885305984361253E-2</c:v>
                </c:pt>
                <c:pt idx="130">
                  <c:v>6.9903958634919688E-2</c:v>
                </c:pt>
                <c:pt idx="131">
                  <c:v>4.8698479683886686E-2</c:v>
                </c:pt>
                <c:pt idx="132">
                  <c:v>4.9379389558461072E-2</c:v>
                </c:pt>
                <c:pt idx="133">
                  <c:v>4.9379389558461072E-2</c:v>
                </c:pt>
                <c:pt idx="134">
                  <c:v>4.9379389558461072E-2</c:v>
                </c:pt>
                <c:pt idx="135">
                  <c:v>4.9379389558461072E-2</c:v>
                </c:pt>
                <c:pt idx="136">
                  <c:v>4.9379389558461072E-2</c:v>
                </c:pt>
                <c:pt idx="137">
                  <c:v>5.8814854963278547E-2</c:v>
                </c:pt>
                <c:pt idx="138">
                  <c:v>5.7453035214129644E-2</c:v>
                </c:pt>
                <c:pt idx="139">
                  <c:v>3.9943924153643735E-2</c:v>
                </c:pt>
                <c:pt idx="140">
                  <c:v>6.0468493230102352E-2</c:v>
                </c:pt>
                <c:pt idx="141">
                  <c:v>7.0195777152594452E-2</c:v>
                </c:pt>
                <c:pt idx="142">
                  <c:v>7.0195777152594452E-2</c:v>
                </c:pt>
                <c:pt idx="143">
                  <c:v>7.0195777152594452E-2</c:v>
                </c:pt>
                <c:pt idx="144">
                  <c:v>7.0195777152594452E-2</c:v>
                </c:pt>
                <c:pt idx="145">
                  <c:v>7.4670327756940935E-2</c:v>
                </c:pt>
                <c:pt idx="146">
                  <c:v>7.6713057380664224E-2</c:v>
                </c:pt>
                <c:pt idx="147">
                  <c:v>8.0020333914311695E-2</c:v>
                </c:pt>
                <c:pt idx="148">
                  <c:v>8.682943266005623E-2</c:v>
                </c:pt>
                <c:pt idx="149">
                  <c:v>8.682943266005623E-2</c:v>
                </c:pt>
                <c:pt idx="150">
                  <c:v>8.682943266005623E-2</c:v>
                </c:pt>
                <c:pt idx="151">
                  <c:v>7.9369870438414689E-2</c:v>
                </c:pt>
                <c:pt idx="152">
                  <c:v>7.7199421576788871E-2</c:v>
                </c:pt>
                <c:pt idx="153">
                  <c:v>8.2452154894934612E-2</c:v>
                </c:pt>
                <c:pt idx="154">
                  <c:v>8.2063063538035122E-2</c:v>
                </c:pt>
                <c:pt idx="155">
                  <c:v>8.9261253640679425E-2</c:v>
                </c:pt>
                <c:pt idx="156">
                  <c:v>8.9261253640679425E-2</c:v>
                </c:pt>
                <c:pt idx="157">
                  <c:v>8.9261253640679425E-2</c:v>
                </c:pt>
                <c:pt idx="158">
                  <c:v>9.0233982032928567E-2</c:v>
                </c:pt>
                <c:pt idx="159">
                  <c:v>8.8774889444554791E-2</c:v>
                </c:pt>
                <c:pt idx="160">
                  <c:v>8.9844890676028799E-2</c:v>
                </c:pt>
                <c:pt idx="161">
                  <c:v>9.1984893138977106E-2</c:v>
                </c:pt>
                <c:pt idx="162">
                  <c:v>0.10404672520286738</c:v>
                </c:pt>
                <c:pt idx="163">
                  <c:v>0.10404672520286738</c:v>
                </c:pt>
                <c:pt idx="164">
                  <c:v>0.10404672520286738</c:v>
                </c:pt>
                <c:pt idx="165">
                  <c:v>0.10268490545371847</c:v>
                </c:pt>
                <c:pt idx="166">
                  <c:v>0.10599218198736594</c:v>
                </c:pt>
                <c:pt idx="167">
                  <c:v>0.10784036593263949</c:v>
                </c:pt>
                <c:pt idx="168">
                  <c:v>0.12340402020862683</c:v>
                </c:pt>
                <c:pt idx="169">
                  <c:v>0.12359856588707686</c:v>
                </c:pt>
                <c:pt idx="170">
                  <c:v>0.12359856588707686</c:v>
                </c:pt>
                <c:pt idx="171">
                  <c:v>0.12359856588707686</c:v>
                </c:pt>
                <c:pt idx="172">
                  <c:v>0.11941583380040527</c:v>
                </c:pt>
                <c:pt idx="173">
                  <c:v>0.12418220292242622</c:v>
                </c:pt>
                <c:pt idx="174">
                  <c:v>0.1268085695814993</c:v>
                </c:pt>
                <c:pt idx="175">
                  <c:v>0.13235312141731967</c:v>
                </c:pt>
                <c:pt idx="176">
                  <c:v>0.1283649350090981</c:v>
                </c:pt>
                <c:pt idx="177">
                  <c:v>0.1283649350090981</c:v>
                </c:pt>
                <c:pt idx="178">
                  <c:v>0.1283649350090981</c:v>
                </c:pt>
                <c:pt idx="179">
                  <c:v>0.13478494239794286</c:v>
                </c:pt>
                <c:pt idx="180">
                  <c:v>0.14188585966136216</c:v>
                </c:pt>
                <c:pt idx="181">
                  <c:v>0.14093025128881634</c:v>
                </c:pt>
                <c:pt idx="182">
                  <c:v>0.14315040657128605</c:v>
                </c:pt>
                <c:pt idx="183">
                  <c:v>0.15064041519160526</c:v>
                </c:pt>
                <c:pt idx="184">
                  <c:v>0.15064041519160526</c:v>
                </c:pt>
                <c:pt idx="185">
                  <c:v>0.15064041519160526</c:v>
                </c:pt>
                <c:pt idx="186">
                  <c:v>0.15404496456447744</c:v>
                </c:pt>
                <c:pt idx="187">
                  <c:v>0.15686587690200013</c:v>
                </c:pt>
                <c:pt idx="188">
                  <c:v>0.16406406700464443</c:v>
                </c:pt>
                <c:pt idx="189">
                  <c:v>0.14237222385748666</c:v>
                </c:pt>
                <c:pt idx="190">
                  <c:v>0.15180768926230415</c:v>
                </c:pt>
                <c:pt idx="191">
                  <c:v>0.15180768926230415</c:v>
                </c:pt>
                <c:pt idx="192">
                  <c:v>0.15180768926230415</c:v>
                </c:pt>
                <c:pt idx="193">
                  <c:v>0.15929769788262318</c:v>
                </c:pt>
                <c:pt idx="194">
                  <c:v>0.16746861637751678</c:v>
                </c:pt>
                <c:pt idx="195">
                  <c:v>0.16834407193054118</c:v>
                </c:pt>
                <c:pt idx="196">
                  <c:v>0.16211861022014604</c:v>
                </c:pt>
                <c:pt idx="197">
                  <c:v>0.15793587813347429</c:v>
                </c:pt>
                <c:pt idx="198">
                  <c:v>0.15793587813347429</c:v>
                </c:pt>
                <c:pt idx="199">
                  <c:v>0.15793587813347429</c:v>
                </c:pt>
                <c:pt idx="200">
                  <c:v>0.1341040325233685</c:v>
                </c:pt>
                <c:pt idx="201">
                  <c:v>0.14733313865795794</c:v>
                </c:pt>
                <c:pt idx="202">
                  <c:v>0.15307223617222832</c:v>
                </c:pt>
                <c:pt idx="203">
                  <c:v>0.16114588182789674</c:v>
                </c:pt>
                <c:pt idx="204">
                  <c:v>0.17437498796248632</c:v>
                </c:pt>
                <c:pt idx="205">
                  <c:v>0.17437498796248632</c:v>
                </c:pt>
                <c:pt idx="206">
                  <c:v>0.17437498796248632</c:v>
                </c:pt>
                <c:pt idx="207">
                  <c:v>0.16766316205596651</c:v>
                </c:pt>
                <c:pt idx="208">
                  <c:v>0.15881133368649869</c:v>
                </c:pt>
                <c:pt idx="209">
                  <c:v>0.16678770650294239</c:v>
                </c:pt>
                <c:pt idx="210">
                  <c:v>0.1646477040399941</c:v>
                </c:pt>
                <c:pt idx="211">
                  <c:v>0.16017315343564748</c:v>
                </c:pt>
                <c:pt idx="212">
                  <c:v>0.15895160112066095</c:v>
                </c:pt>
                <c:pt idx="213">
                  <c:v>0.15895160112066095</c:v>
                </c:pt>
                <c:pt idx="214">
                  <c:v>0.16172951886324641</c:v>
                </c:pt>
                <c:pt idx="215">
                  <c:v>0.15540678431362637</c:v>
                </c:pt>
                <c:pt idx="216">
                  <c:v>0.16172951886324641</c:v>
                </c:pt>
                <c:pt idx="217">
                  <c:v>0.16824679909131618</c:v>
                </c:pt>
                <c:pt idx="218">
                  <c:v>0.17437498796248632</c:v>
                </c:pt>
                <c:pt idx="219">
                  <c:v>0.17437498796248632</c:v>
                </c:pt>
                <c:pt idx="220">
                  <c:v>0.17437498796248632</c:v>
                </c:pt>
                <c:pt idx="221">
                  <c:v>0.17427771512326132</c:v>
                </c:pt>
                <c:pt idx="222">
                  <c:v>0.17427771512326132</c:v>
                </c:pt>
                <c:pt idx="223">
                  <c:v>0.17466680648016109</c:v>
                </c:pt>
                <c:pt idx="224">
                  <c:v>0.17359680524868693</c:v>
                </c:pt>
                <c:pt idx="225">
                  <c:v>0.17233225833876276</c:v>
                </c:pt>
                <c:pt idx="226">
                  <c:v>0.17233225833876276</c:v>
                </c:pt>
                <c:pt idx="227">
                  <c:v>0.17233225833876276</c:v>
                </c:pt>
                <c:pt idx="228">
                  <c:v>0.16562043243224323</c:v>
                </c:pt>
                <c:pt idx="229">
                  <c:v>0.17456953364093608</c:v>
                </c:pt>
                <c:pt idx="230">
                  <c:v>0.17525044351551045</c:v>
                </c:pt>
                <c:pt idx="231">
                  <c:v>0.16396679416541943</c:v>
                </c:pt>
                <c:pt idx="232">
                  <c:v>0.17379135092713668</c:v>
                </c:pt>
                <c:pt idx="233">
                  <c:v>0.17379135092713668</c:v>
                </c:pt>
                <c:pt idx="234">
                  <c:v>0.17379135092713668</c:v>
                </c:pt>
                <c:pt idx="235">
                  <c:v>0.1792386299237323</c:v>
                </c:pt>
                <c:pt idx="236">
                  <c:v>0.1848804545987778</c:v>
                </c:pt>
                <c:pt idx="237">
                  <c:v>0.18351863484962891</c:v>
                </c:pt>
                <c:pt idx="238">
                  <c:v>0.17748771881768377</c:v>
                </c:pt>
                <c:pt idx="239">
                  <c:v>0.17972499411985696</c:v>
                </c:pt>
                <c:pt idx="240">
                  <c:v>0.17972499411985696</c:v>
                </c:pt>
                <c:pt idx="241">
                  <c:v>0.17972499411985696</c:v>
                </c:pt>
                <c:pt idx="242">
                  <c:v>0.18886864100699952</c:v>
                </c:pt>
                <c:pt idx="243">
                  <c:v>0.18809590557219663</c:v>
                </c:pt>
                <c:pt idx="244">
                  <c:v>0.19081409779149808</c:v>
                </c:pt>
                <c:pt idx="245">
                  <c:v>0.18779863977552538</c:v>
                </c:pt>
                <c:pt idx="246">
                  <c:v>0.1858531829910271</c:v>
                </c:pt>
                <c:pt idx="247">
                  <c:v>0.1858531829910271</c:v>
                </c:pt>
                <c:pt idx="248">
                  <c:v>0.1858531829910271</c:v>
                </c:pt>
                <c:pt idx="249">
                  <c:v>0.19334319161134617</c:v>
                </c:pt>
                <c:pt idx="250">
                  <c:v>0.18867409532854978</c:v>
                </c:pt>
                <c:pt idx="251">
                  <c:v>0.18702045706172626</c:v>
                </c:pt>
                <c:pt idx="252">
                  <c:v>0.18916045952467428</c:v>
                </c:pt>
                <c:pt idx="253">
                  <c:v>0.17982226695908182</c:v>
                </c:pt>
                <c:pt idx="254">
                  <c:v>0.17982226695908182</c:v>
                </c:pt>
                <c:pt idx="255">
                  <c:v>0.17982226695908182</c:v>
                </c:pt>
                <c:pt idx="256">
                  <c:v>0.1776822644961335</c:v>
                </c:pt>
                <c:pt idx="257">
                  <c:v>0.17583408055085997</c:v>
                </c:pt>
                <c:pt idx="258">
                  <c:v>0.17281862253488739</c:v>
                </c:pt>
                <c:pt idx="259">
                  <c:v>0.17583408055085997</c:v>
                </c:pt>
                <c:pt idx="260">
                  <c:v>0.17534771635473548</c:v>
                </c:pt>
                <c:pt idx="261">
                  <c:v>0.17534771635473548</c:v>
                </c:pt>
                <c:pt idx="262">
                  <c:v>0.17534771635473548</c:v>
                </c:pt>
                <c:pt idx="263">
                  <c:v>0.15530951147440133</c:v>
                </c:pt>
                <c:pt idx="264">
                  <c:v>0.15657405838432553</c:v>
                </c:pt>
                <c:pt idx="265">
                  <c:v>0.16065951763177197</c:v>
                </c:pt>
                <c:pt idx="266">
                  <c:v>0.17262407685643752</c:v>
                </c:pt>
                <c:pt idx="267">
                  <c:v>0.17135952994651363</c:v>
                </c:pt>
                <c:pt idx="268">
                  <c:v>0.17135952994651363</c:v>
                </c:pt>
                <c:pt idx="269">
                  <c:v>0.17135952994651363</c:v>
                </c:pt>
                <c:pt idx="270">
                  <c:v>0.16814952625209117</c:v>
                </c:pt>
                <c:pt idx="271">
                  <c:v>0.14139949546523753</c:v>
                </c:pt>
                <c:pt idx="272">
                  <c:v>0.1479167756933073</c:v>
                </c:pt>
                <c:pt idx="273">
                  <c:v>0.13923167297027092</c:v>
                </c:pt>
                <c:pt idx="274">
                  <c:v>0.13575767079019216</c:v>
                </c:pt>
                <c:pt idx="275">
                  <c:v>0.13575767079019216</c:v>
                </c:pt>
                <c:pt idx="276">
                  <c:v>0.13575767079019216</c:v>
                </c:pt>
                <c:pt idx="277">
                  <c:v>0.1237931115655266</c:v>
                </c:pt>
                <c:pt idx="278">
                  <c:v>0.13857858312771484</c:v>
                </c:pt>
                <c:pt idx="279">
                  <c:v>0.13711949053934119</c:v>
                </c:pt>
                <c:pt idx="280">
                  <c:v>0.15832496949037406</c:v>
                </c:pt>
                <c:pt idx="281">
                  <c:v>0.15122405222695462</c:v>
                </c:pt>
                <c:pt idx="282">
                  <c:v>0.15122405222695462</c:v>
                </c:pt>
                <c:pt idx="283">
                  <c:v>0.15122405222695462</c:v>
                </c:pt>
                <c:pt idx="284">
                  <c:v>0.14665222878338341</c:v>
                </c:pt>
                <c:pt idx="285">
                  <c:v>0.1333258498095691</c:v>
                </c:pt>
                <c:pt idx="286">
                  <c:v>0.1341040325233685</c:v>
                </c:pt>
                <c:pt idx="287">
                  <c:v>0.15025132383470535</c:v>
                </c:pt>
                <c:pt idx="288">
                  <c:v>0.16182679170247113</c:v>
                </c:pt>
                <c:pt idx="289">
                  <c:v>0.16182679170247113</c:v>
                </c:pt>
                <c:pt idx="290">
                  <c:v>0.16182679170247113</c:v>
                </c:pt>
                <c:pt idx="291">
                  <c:v>0.16046497195332221</c:v>
                </c:pt>
                <c:pt idx="292">
                  <c:v>0.17019225587581446</c:v>
                </c:pt>
                <c:pt idx="293">
                  <c:v>0.17427771512326132</c:v>
                </c:pt>
                <c:pt idx="294">
                  <c:v>0.17252680401721279</c:v>
                </c:pt>
                <c:pt idx="295">
                  <c:v>0.17680680894310938</c:v>
                </c:pt>
                <c:pt idx="296">
                  <c:v>0.17680680894310938</c:v>
                </c:pt>
                <c:pt idx="297">
                  <c:v>0.17680680894310938</c:v>
                </c:pt>
                <c:pt idx="298">
                  <c:v>0.17262407685643752</c:v>
                </c:pt>
                <c:pt idx="299">
                  <c:v>0.18653409286560163</c:v>
                </c:pt>
                <c:pt idx="300">
                  <c:v>0.17914135708450729</c:v>
                </c:pt>
                <c:pt idx="301">
                  <c:v>0.17495862499783585</c:v>
                </c:pt>
                <c:pt idx="302">
                  <c:v>0.18244863361815475</c:v>
                </c:pt>
                <c:pt idx="303">
                  <c:v>0.18244863361815475</c:v>
                </c:pt>
                <c:pt idx="304">
                  <c:v>0.1862659116478585</c:v>
                </c:pt>
                <c:pt idx="305">
                  <c:v>0.18750682125785076</c:v>
                </c:pt>
                <c:pt idx="306">
                  <c:v>0.19110591630917284</c:v>
                </c:pt>
                <c:pt idx="307">
                  <c:v>0.18740954841862575</c:v>
                </c:pt>
                <c:pt idx="308">
                  <c:v>0.20793411749508436</c:v>
                </c:pt>
                <c:pt idx="309">
                  <c:v>0.22174686066502317</c:v>
                </c:pt>
                <c:pt idx="310">
                  <c:v>0.22174686066502317</c:v>
                </c:pt>
                <c:pt idx="311">
                  <c:v>0.22174686066502317</c:v>
                </c:pt>
                <c:pt idx="312">
                  <c:v>0.21629958166842769</c:v>
                </c:pt>
                <c:pt idx="313">
                  <c:v>0.21435412488392941</c:v>
                </c:pt>
                <c:pt idx="314">
                  <c:v>0.21882867548827561</c:v>
                </c:pt>
                <c:pt idx="315">
                  <c:v>0.2148404890800539</c:v>
                </c:pt>
                <c:pt idx="316">
                  <c:v>0.21970413104129988</c:v>
                </c:pt>
                <c:pt idx="317">
                  <c:v>0.21970413104129988</c:v>
                </c:pt>
                <c:pt idx="318">
                  <c:v>0.21970413104129988</c:v>
                </c:pt>
                <c:pt idx="319">
                  <c:v>0.23157141742674042</c:v>
                </c:pt>
                <c:pt idx="320">
                  <c:v>0.24178506554535731</c:v>
                </c:pt>
                <c:pt idx="321">
                  <c:v>0.24042324579620838</c:v>
                </c:pt>
                <c:pt idx="322">
                  <c:v>0.23157141742674042</c:v>
                </c:pt>
                <c:pt idx="323">
                  <c:v>0.24567597911435413</c:v>
                </c:pt>
                <c:pt idx="324">
                  <c:v>0.24567597911435413</c:v>
                </c:pt>
                <c:pt idx="325">
                  <c:v>0.24567597911435413</c:v>
                </c:pt>
                <c:pt idx="326">
                  <c:v>0.24810780009497718</c:v>
                </c:pt>
                <c:pt idx="327">
                  <c:v>0.2218441335042482</c:v>
                </c:pt>
                <c:pt idx="328">
                  <c:v>0.22748595817929357</c:v>
                </c:pt>
                <c:pt idx="329">
                  <c:v>0.23205778162286506</c:v>
                </c:pt>
                <c:pt idx="330">
                  <c:v>0.1988877434471665</c:v>
                </c:pt>
                <c:pt idx="331">
                  <c:v>0.1988877434471665</c:v>
                </c:pt>
                <c:pt idx="332">
                  <c:v>0.1988877434471665</c:v>
                </c:pt>
                <c:pt idx="333">
                  <c:v>0.20579411503213607</c:v>
                </c:pt>
                <c:pt idx="334">
                  <c:v>0.18998727865808604</c:v>
                </c:pt>
                <c:pt idx="335">
                  <c:v>0.19742865085879274</c:v>
                </c:pt>
                <c:pt idx="336">
                  <c:v>0.18449136324187804</c:v>
                </c:pt>
                <c:pt idx="337">
                  <c:v>0.17865499288838266</c:v>
                </c:pt>
                <c:pt idx="338">
                  <c:v>0.17865499288838266</c:v>
                </c:pt>
                <c:pt idx="339">
                  <c:v>0.17865499288838266</c:v>
                </c:pt>
                <c:pt idx="340">
                  <c:v>0.19178682618374723</c:v>
                </c:pt>
                <c:pt idx="341">
                  <c:v>0.22544322855557028</c:v>
                </c:pt>
                <c:pt idx="342">
                  <c:v>0.21746685573912686</c:v>
                </c:pt>
                <c:pt idx="343">
                  <c:v>0.21960685820207487</c:v>
                </c:pt>
                <c:pt idx="344">
                  <c:v>0.21532685327617856</c:v>
                </c:pt>
                <c:pt idx="345">
                  <c:v>0.21532685327617856</c:v>
                </c:pt>
                <c:pt idx="346">
                  <c:v>0.21532685327617856</c:v>
                </c:pt>
                <c:pt idx="347">
                  <c:v>0.21445139772315414</c:v>
                </c:pt>
                <c:pt idx="348">
                  <c:v>0.1929541002544464</c:v>
                </c:pt>
                <c:pt idx="349">
                  <c:v>0.19577501259196908</c:v>
                </c:pt>
                <c:pt idx="350">
                  <c:v>0.21017139279725755</c:v>
                </c:pt>
                <c:pt idx="351">
                  <c:v>0.19801228789414238</c:v>
                </c:pt>
                <c:pt idx="352">
                  <c:v>0.19801228789414238</c:v>
                </c:pt>
                <c:pt idx="353">
                  <c:v>0.19801228789414238</c:v>
                </c:pt>
                <c:pt idx="354">
                  <c:v>0.17009498303658974</c:v>
                </c:pt>
                <c:pt idx="355">
                  <c:v>0.18283772497505438</c:v>
                </c:pt>
                <c:pt idx="356">
                  <c:v>0.19986047183941566</c:v>
                </c:pt>
                <c:pt idx="357">
                  <c:v>0.21094957551105695</c:v>
                </c:pt>
                <c:pt idx="358">
                  <c:v>0.21094957551105695</c:v>
                </c:pt>
                <c:pt idx="359">
                  <c:v>0.21094957551105695</c:v>
                </c:pt>
                <c:pt idx="360">
                  <c:v>0.21094957551105695</c:v>
                </c:pt>
                <c:pt idx="361">
                  <c:v>0.21892594832750065</c:v>
                </c:pt>
                <c:pt idx="362">
                  <c:v>0.22806959521464321</c:v>
                </c:pt>
                <c:pt idx="363">
                  <c:v>0.21591049031152806</c:v>
                </c:pt>
                <c:pt idx="364">
                  <c:v>0.2227195890572726</c:v>
                </c:pt>
                <c:pt idx="365">
                  <c:v>0.20942005738708416</c:v>
                </c:pt>
                <c:pt idx="366">
                  <c:v>0.20942005738708416</c:v>
                </c:pt>
                <c:pt idx="367">
                  <c:v>0.20942005738708416</c:v>
                </c:pt>
                <c:pt idx="368">
                  <c:v>0.21834231129215098</c:v>
                </c:pt>
                <c:pt idx="369">
                  <c:v>0.21873140264905075</c:v>
                </c:pt>
                <c:pt idx="370">
                  <c:v>0.21522958043695353</c:v>
                </c:pt>
                <c:pt idx="371">
                  <c:v>0.19460773852127006</c:v>
                </c:pt>
                <c:pt idx="372">
                  <c:v>0.17340225957023692</c:v>
                </c:pt>
                <c:pt idx="373">
                  <c:v>0.17340225957023692</c:v>
                </c:pt>
                <c:pt idx="374">
                  <c:v>0.17340225957023692</c:v>
                </c:pt>
                <c:pt idx="375">
                  <c:v>0.15735224109812493</c:v>
                </c:pt>
                <c:pt idx="376">
                  <c:v>0.17135952994651363</c:v>
                </c:pt>
                <c:pt idx="377">
                  <c:v>0.18410227188497857</c:v>
                </c:pt>
                <c:pt idx="378">
                  <c:v>0.1769040817823341</c:v>
                </c:pt>
                <c:pt idx="379">
                  <c:v>0.16017315343564748</c:v>
                </c:pt>
                <c:pt idx="380">
                  <c:v>0.16017315343564748</c:v>
                </c:pt>
                <c:pt idx="381">
                  <c:v>0.16017315343564748</c:v>
                </c:pt>
                <c:pt idx="382">
                  <c:v>0.16639861514604262</c:v>
                </c:pt>
                <c:pt idx="383">
                  <c:v>0.15686587690200013</c:v>
                </c:pt>
                <c:pt idx="384">
                  <c:v>0.14976495963858086</c:v>
                </c:pt>
                <c:pt idx="385">
                  <c:v>0.15929769788262318</c:v>
                </c:pt>
                <c:pt idx="386">
                  <c:v>0.13069948315049615</c:v>
                </c:pt>
                <c:pt idx="387">
                  <c:v>0.13069948315049615</c:v>
                </c:pt>
                <c:pt idx="388">
                  <c:v>0.13069948315049615</c:v>
                </c:pt>
                <c:pt idx="389">
                  <c:v>9.1595801782077324E-2</c:v>
                </c:pt>
                <c:pt idx="390">
                  <c:v>9.2860348692001229E-2</c:v>
                </c:pt>
                <c:pt idx="391">
                  <c:v>0.10336581532829299</c:v>
                </c:pt>
                <c:pt idx="392">
                  <c:v>0.11046673259171229</c:v>
                </c:pt>
                <c:pt idx="393">
                  <c:v>9.2276711656651855E-2</c:v>
                </c:pt>
                <c:pt idx="394">
                  <c:v>9.2276711656651855E-2</c:v>
                </c:pt>
                <c:pt idx="395">
                  <c:v>9.2276711656651855E-2</c:v>
                </c:pt>
                <c:pt idx="396">
                  <c:v>0.13092204340664268</c:v>
                </c:pt>
                <c:pt idx="397">
                  <c:v>0.12807311649142319</c:v>
                </c:pt>
                <c:pt idx="398">
                  <c:v>0.13799494609236532</c:v>
                </c:pt>
                <c:pt idx="399">
                  <c:v>0.11980492515730475</c:v>
                </c:pt>
                <c:pt idx="400">
                  <c:v>0.10540854495201629</c:v>
                </c:pt>
                <c:pt idx="401">
                  <c:v>0.10540854495201629</c:v>
                </c:pt>
                <c:pt idx="402">
                  <c:v>0.10540854495201629</c:v>
                </c:pt>
                <c:pt idx="403">
                  <c:v>0.114454918999934</c:v>
                </c:pt>
                <c:pt idx="404">
                  <c:v>0.10638127334426556</c:v>
                </c:pt>
                <c:pt idx="405">
                  <c:v>0.135624407000454</c:v>
                </c:pt>
                <c:pt idx="406">
                  <c:v>0.13268997725955572</c:v>
                </c:pt>
                <c:pt idx="407">
                  <c:v>0.1207498335175356</c:v>
                </c:pt>
                <c:pt idx="408">
                  <c:v>0.1207498335175356</c:v>
                </c:pt>
                <c:pt idx="409">
                  <c:v>0.1207498335175356</c:v>
                </c:pt>
                <c:pt idx="410">
                  <c:v>0.10000649782566029</c:v>
                </c:pt>
                <c:pt idx="411">
                  <c:v>0.11144062825803218</c:v>
                </c:pt>
                <c:pt idx="412">
                  <c:v>0.10607768481304447</c:v>
                </c:pt>
                <c:pt idx="413">
                  <c:v>9.8792240973615442E-2</c:v>
                </c:pt>
                <c:pt idx="414">
                  <c:v>8.5030760589948073E-2</c:v>
                </c:pt>
                <c:pt idx="415">
                  <c:v>8.5030760589948073E-2</c:v>
                </c:pt>
                <c:pt idx="416">
                  <c:v>8.5030760589948073E-2</c:v>
                </c:pt>
                <c:pt idx="417">
                  <c:v>7.2888289342340332E-2</c:v>
                </c:pt>
                <c:pt idx="418">
                  <c:v>7.6025143861665756E-2</c:v>
                </c:pt>
                <c:pt idx="419">
                  <c:v>6.8233686712588615E-2</c:v>
                </c:pt>
                <c:pt idx="420">
                  <c:v>6.1960074946777299E-2</c:v>
                </c:pt>
                <c:pt idx="421">
                  <c:v>8.8875858651670261E-2</c:v>
                </c:pt>
                <c:pt idx="422">
                  <c:v>8.8875858651670261E-2</c:v>
                </c:pt>
                <c:pt idx="423">
                  <c:v>8.8875858651670261E-2</c:v>
                </c:pt>
                <c:pt idx="424">
                  <c:v>9.6813225059584618E-2</c:v>
                </c:pt>
                <c:pt idx="425">
                  <c:v>9.4542390627878628E-2</c:v>
                </c:pt>
                <c:pt idx="426">
                  <c:v>9.7881572652791959E-2</c:v>
                </c:pt>
                <c:pt idx="427">
                  <c:v>9.6060138738305059E-2</c:v>
                </c:pt>
                <c:pt idx="428" formatCode="0.0%">
                  <c:v>8.7965190330846502E-2</c:v>
                </c:pt>
                <c:pt idx="429" formatCode="0.0%">
                  <c:v>8.7965190330846502E-2</c:v>
                </c:pt>
                <c:pt idx="430" formatCode="0.0%">
                  <c:v>8.7965190330846502E-2</c:v>
                </c:pt>
                <c:pt idx="431" formatCode="0.0%">
                  <c:v>6.6311089045308053E-2</c:v>
                </c:pt>
                <c:pt idx="432" formatCode="0.0%">
                  <c:v>4.9514015167948316E-2</c:v>
                </c:pt>
                <c:pt idx="433" formatCode="0.0%">
                  <c:v>6.317433179882187E-2</c:v>
                </c:pt>
                <c:pt idx="434" formatCode="0.0%">
                  <c:v>5.8418565416276068E-2</c:v>
                </c:pt>
                <c:pt idx="435" formatCode="0.0%">
                  <c:v>6.9245518786206189E-2</c:v>
                </c:pt>
                <c:pt idx="436" formatCode="0.0%">
                  <c:v>6.9245518786206189E-2</c:v>
                </c:pt>
                <c:pt idx="437" formatCode="0.0%">
                  <c:v>6.9245518786206189E-2</c:v>
                </c:pt>
                <c:pt idx="438" formatCode="0.0%">
                  <c:v>6.0745818094732444E-2</c:v>
                </c:pt>
                <c:pt idx="439" formatCode="0.0%">
                  <c:v>6.2061238699571107E-2</c:v>
                </c:pt>
                <c:pt idx="440" formatCode="0.0%">
                  <c:v>8.9988951750920879E-2</c:v>
                </c:pt>
                <c:pt idx="441" formatCode="0.0%">
                  <c:v>9.6060138738305059E-2</c:v>
                </c:pt>
                <c:pt idx="442" formatCode="0.0%">
                  <c:v>0.11720832398703479</c:v>
                </c:pt>
                <c:pt idx="443" formatCode="0.0%">
                  <c:v>0.11720832398703479</c:v>
                </c:pt>
                <c:pt idx="444" formatCode="0.0%">
                  <c:v>0.11720832398703479</c:v>
                </c:pt>
                <c:pt idx="445" formatCode="0.0%">
                  <c:v>0.12166050183835936</c:v>
                </c:pt>
                <c:pt idx="446" formatCode="0.0%">
                  <c:v>0.13542198222202687</c:v>
                </c:pt>
                <c:pt idx="447" formatCode="0.0%">
                  <c:v>0.12591044945693539</c:v>
                </c:pt>
                <c:pt idx="448" formatCode="0.0%">
                  <c:v>0.12682111777775915</c:v>
                </c:pt>
                <c:pt idx="449" formatCode="0.0%">
                  <c:v>0.1231783472216253</c:v>
                </c:pt>
                <c:pt idx="450" formatCode="0.0%">
                  <c:v>0.1231783472216253</c:v>
                </c:pt>
                <c:pt idx="451" formatCode="0.0%">
                  <c:v>0.1231783472216253</c:v>
                </c:pt>
                <c:pt idx="452" formatCode="0.0%">
                  <c:v>0.13248755248112873</c:v>
                </c:pt>
                <c:pt idx="453" formatCode="0.0%">
                  <c:v>0.13977309359339671</c:v>
                </c:pt>
                <c:pt idx="454" formatCode="0.0%">
                  <c:v>0.13896358902536704</c:v>
                </c:pt>
                <c:pt idx="455" formatCode="0.0%">
                  <c:v>0.12564353278610227</c:v>
                </c:pt>
                <c:pt idx="456" formatCode="0.0%">
                  <c:v>0.13552324324766005</c:v>
                </c:pt>
                <c:pt idx="457" formatCode="0.0%">
                  <c:v>0.13552324324766005</c:v>
                </c:pt>
                <c:pt idx="458" formatCode="0.0%">
                  <c:v>0.13552324324766005</c:v>
                </c:pt>
                <c:pt idx="459" formatCode="0.0%">
                  <c:v>0.15070130798896003</c:v>
                </c:pt>
                <c:pt idx="460" formatCode="0.0%">
                  <c:v>0.1519155648410046</c:v>
                </c:pt>
                <c:pt idx="461" formatCode="0.0%">
                  <c:v>0.12621394071531739</c:v>
                </c:pt>
                <c:pt idx="462" formatCode="0.0%">
                  <c:v>0.12499968386327254</c:v>
                </c:pt>
                <c:pt idx="463" formatCode="0.0%">
                  <c:v>0.13309472954357049</c:v>
                </c:pt>
                <c:pt idx="464" formatCode="0.0%">
                  <c:v>0.13309472954357049</c:v>
                </c:pt>
                <c:pt idx="465" formatCode="0.0%">
                  <c:v>0.13309472954357049</c:v>
                </c:pt>
                <c:pt idx="466" formatCode="0.0%">
                  <c:v>0.11164305303645917</c:v>
                </c:pt>
                <c:pt idx="467" formatCode="0.0%">
                  <c:v>0.10850619851713404</c:v>
                </c:pt>
                <c:pt idx="468" formatCode="0.0%">
                  <c:v>0.10840503476433995</c:v>
                </c:pt>
                <c:pt idx="469" formatCode="0.0%">
                  <c:v>0.10840503476433995</c:v>
                </c:pt>
                <c:pt idx="470" formatCode="0.0%">
                  <c:v>0.10840503476433995</c:v>
                </c:pt>
                <c:pt idx="471" formatCode="0.0%">
                  <c:v>0.10840503476433995</c:v>
                </c:pt>
                <c:pt idx="472" formatCode="0.0%">
                  <c:v>0.10840503476433995</c:v>
                </c:pt>
                <c:pt idx="473" formatCode="0.0%">
                  <c:v>0.10840503476433995</c:v>
                </c:pt>
                <c:pt idx="474" formatCode="0.0%">
                  <c:v>0.11437505799893045</c:v>
                </c:pt>
                <c:pt idx="475" formatCode="0.0%">
                  <c:v>0.11973800144391802</c:v>
                </c:pt>
                <c:pt idx="476" formatCode="0.0%">
                  <c:v>0.11346438967810669</c:v>
                </c:pt>
                <c:pt idx="477" formatCode="0.0%">
                  <c:v>8.7661601799625399E-2</c:v>
                </c:pt>
                <c:pt idx="478" formatCode="0.0%">
                  <c:v>8.7661601799625399E-2</c:v>
                </c:pt>
                <c:pt idx="479" formatCode="0.0%">
                  <c:v>8.7661601799625399E-2</c:v>
                </c:pt>
                <c:pt idx="480" formatCode="0.0%">
                  <c:v>6.7727770675779772E-2</c:v>
                </c:pt>
                <c:pt idx="481" formatCode="0.0%">
                  <c:v>7.4406134725605991E-2</c:v>
                </c:pt>
                <c:pt idx="482" formatCode="0.0%">
                  <c:v>7.9870241923387653E-2</c:v>
                </c:pt>
                <c:pt idx="483" formatCode="0.0%">
                  <c:v>8.3310587701094646E-2</c:v>
                </c:pt>
                <c:pt idx="484" formatCode="0.0%">
                  <c:v>8.5233185368375222E-2</c:v>
                </c:pt>
                <c:pt idx="485" formatCode="0.0%">
                  <c:v>6.9115270454483943E-2</c:v>
                </c:pt>
                <c:pt idx="486" formatCode="0.0%">
                  <c:v>6.9115270454483943E-2</c:v>
                </c:pt>
                <c:pt idx="487" formatCode="0.0%">
                  <c:v>6.9447943564633186E-2</c:v>
                </c:pt>
                <c:pt idx="488" formatCode="0.0%">
                  <c:v>7.5519130552017519E-2</c:v>
                </c:pt>
                <c:pt idx="489" formatCode="0.0%">
                  <c:v>6.1352995157174489E-2</c:v>
                </c:pt>
                <c:pt idx="490" formatCode="0.0%">
                  <c:v>6.2769579514806828E-2</c:v>
                </c:pt>
                <c:pt idx="491" formatCode="0.0%">
                  <c:v>4.4555824006975657E-2</c:v>
                </c:pt>
                <c:pt idx="492" formatCode="0.0%">
                  <c:v>4.4555824006975657E-2</c:v>
                </c:pt>
                <c:pt idx="493" formatCode="0.0%">
                  <c:v>4.4555824006975657E-2</c:v>
                </c:pt>
                <c:pt idx="494" formatCode="0.0%">
                  <c:v>1.1670017067492324E-2</c:v>
                </c:pt>
                <c:pt idx="495" formatCode="0.0%">
                  <c:v>5.4975690544749514E-3</c:v>
                </c:pt>
                <c:pt idx="496" formatCode="0.0%">
                  <c:v>1.0759348746668564E-2</c:v>
                </c:pt>
                <c:pt idx="497" formatCode="0.0%">
                  <c:v>9.0391758578152806E-3</c:v>
                </c:pt>
                <c:pt idx="498" formatCode="0.0%">
                  <c:v>9.0391758578152806E-3</c:v>
                </c:pt>
                <c:pt idx="499" formatCode="0.0%">
                  <c:v>9.0391758578152806E-3</c:v>
                </c:pt>
                <c:pt idx="500" formatCode="0.0%">
                  <c:v>9.0391758578152806E-3</c:v>
                </c:pt>
                <c:pt idx="501" formatCode="0.0%">
                  <c:v>2.9478923018469487E-2</c:v>
                </c:pt>
                <c:pt idx="502" formatCode="0.0%">
                  <c:v>3.0895604648941487E-2</c:v>
                </c:pt>
                <c:pt idx="503" formatCode="0.0%">
                  <c:v>3.1300356932956387E-2</c:v>
                </c:pt>
                <c:pt idx="504" formatCode="0.0%">
                  <c:v>7.8249190057704254E-3</c:v>
                </c:pt>
                <c:pt idx="505" formatCode="0.0%">
                  <c:v>1.1568853314698514E-2</c:v>
                </c:pt>
                <c:pt idx="506" formatCode="0.0%">
                  <c:v>1.1568853314698514E-2</c:v>
                </c:pt>
                <c:pt idx="507" formatCode="0.0%">
                  <c:v>1.1568853314698514E-2</c:v>
                </c:pt>
                <c:pt idx="508" formatCode="0.0%">
                  <c:v>7.5213304745496146E-3</c:v>
                </c:pt>
                <c:pt idx="509" formatCode="0.0%">
                  <c:v>-1.0186411723633739E-2</c:v>
                </c:pt>
                <c:pt idx="510" formatCode="0.0%">
                  <c:v>9.1403396106090901E-3</c:v>
                </c:pt>
                <c:pt idx="511" formatCode="0.0%">
                  <c:v>9.1403396106090901E-3</c:v>
                </c:pt>
                <c:pt idx="512" formatCode="0.0%">
                  <c:v>9.1403396106090901E-3</c:v>
                </c:pt>
                <c:pt idx="513" formatCode="0.0%">
                  <c:v>9.1403396106090901E-3</c:v>
                </c:pt>
                <c:pt idx="514" formatCode="0.0%">
                  <c:v>9.1403396106090901E-3</c:v>
                </c:pt>
                <c:pt idx="515" formatCode="0.0%">
                  <c:v>4.9817603699169266E-2</c:v>
                </c:pt>
                <c:pt idx="516" formatCode="0.0%">
                  <c:v>5.0792374821042333E-2</c:v>
                </c:pt>
                <c:pt idx="517" formatCode="0.0%">
                  <c:v>4.7996267057522031E-2</c:v>
                </c:pt>
                <c:pt idx="518" formatCode="0.0%">
                  <c:v>4.0002482402857142E-2</c:v>
                </c:pt>
                <c:pt idx="519" formatCode="0.0%">
                  <c:v>4.58713418846537E-2</c:v>
                </c:pt>
                <c:pt idx="520" formatCode="0.0%">
                  <c:v>4.58713418846537E-2</c:v>
                </c:pt>
                <c:pt idx="521" formatCode="0.0%">
                  <c:v>4.58713418846537E-2</c:v>
                </c:pt>
                <c:pt idx="522" formatCode="0.0%">
                  <c:v>4.58713418846537E-2</c:v>
                </c:pt>
                <c:pt idx="523" formatCode="0.0%">
                  <c:v>5.0323519735978123E-2</c:v>
                </c:pt>
                <c:pt idx="524" formatCode="0.0%">
                  <c:v>4.7996267057522031E-2</c:v>
                </c:pt>
                <c:pt idx="525" formatCode="0.0%">
                  <c:v>3.9496469093209183E-2</c:v>
                </c:pt>
                <c:pt idx="526" formatCode="0.0%">
                  <c:v>8.4319987953730899E-3</c:v>
                </c:pt>
                <c:pt idx="527" formatCode="0.0%">
                  <c:v>8.4319987953730899E-3</c:v>
                </c:pt>
                <c:pt idx="528" formatCode="0.0%">
                  <c:v>8.4319987953730899E-3</c:v>
                </c:pt>
                <c:pt idx="529" formatCode="0.0%">
                  <c:v>-2.5566901243360859E-2</c:v>
                </c:pt>
                <c:pt idx="530" formatCode="0.0%">
                  <c:v>-2.7185910379420478E-2</c:v>
                </c:pt>
                <c:pt idx="531" formatCode="0.0%">
                  <c:v>-2.162054215600577E-2</c:v>
                </c:pt>
                <c:pt idx="532" formatCode="0.0%">
                  <c:v>-5.3393353269077438E-2</c:v>
                </c:pt>
                <c:pt idx="533" formatCode="0.0%">
                  <c:v>-4.8839914392119536E-2</c:v>
                </c:pt>
                <c:pt idx="534" formatCode="0.0%">
                  <c:v>-4.8839914392119536E-2</c:v>
                </c:pt>
                <c:pt idx="535" formatCode="0.0%">
                  <c:v>-4.8839914392119536E-2</c:v>
                </c:pt>
                <c:pt idx="536" formatCode="0.0%">
                  <c:v>-4.2060386589499503E-2</c:v>
                </c:pt>
                <c:pt idx="537" formatCode="0.0%">
                  <c:v>-2.9614424083509762E-2</c:v>
                </c:pt>
                <c:pt idx="538" formatCode="0.0%">
                  <c:v>-3.6495115638923895E-2</c:v>
                </c:pt>
                <c:pt idx="539" formatCode="0.0%">
                  <c:v>-2.9513163057876709E-2</c:v>
                </c:pt>
                <c:pt idx="540" formatCode="0.0%">
                  <c:v>-6.4424774147056494E-3</c:v>
                </c:pt>
                <c:pt idx="541" formatCode="0.0%">
                  <c:v>-6.4424774147056494E-3</c:v>
                </c:pt>
                <c:pt idx="542" formatCode="0.0%">
                  <c:v>-6.4424774147056494E-3</c:v>
                </c:pt>
                <c:pt idx="543" formatCode="0.0%">
                  <c:v>-3.7104724522346545E-3</c:v>
                </c:pt>
                <c:pt idx="544" formatCode="0.0%">
                  <c:v>-2.698543105777702E-3</c:v>
                </c:pt>
                <c:pt idx="545" formatCode="0.0%">
                  <c:v>-1.6864775773459968E-2</c:v>
                </c:pt>
                <c:pt idx="546" formatCode="0.0%">
                  <c:v>-2.7227543154608753E-2</c:v>
                </c:pt>
                <c:pt idx="547" formatCode="0.0%">
                  <c:v>-2.8906083268274044E-2</c:v>
                </c:pt>
                <c:pt idx="548" formatCode="0.0%">
                  <c:v>-2.8906083268274044E-2</c:v>
                </c:pt>
                <c:pt idx="549" formatCode="0.0%">
                  <c:v>-2.8906083268274044E-2</c:v>
                </c:pt>
                <c:pt idx="550" formatCode="0.0%">
                  <c:v>-2.3239551292065244E-2</c:v>
                </c:pt>
                <c:pt idx="551" formatCode="0.0%">
                  <c:v>-1.6460023489445207E-2</c:v>
                </c:pt>
                <c:pt idx="552" formatCode="0.0%">
                  <c:v>6.0034850912838063E-3</c:v>
                </c:pt>
                <c:pt idx="553" formatCode="0.0%">
                  <c:v>2.3508899783879256E-2</c:v>
                </c:pt>
                <c:pt idx="554" formatCode="0.0%">
                  <c:v>2.5633824956747587E-2</c:v>
                </c:pt>
                <c:pt idx="555" formatCode="0.0%">
                  <c:v>2.5633824956747587E-2</c:v>
                </c:pt>
                <c:pt idx="556" formatCode="0.0%">
                  <c:v>2.5633824956747587E-2</c:v>
                </c:pt>
                <c:pt idx="557" formatCode="0.0%">
                  <c:v>2.2294642931834405E-2</c:v>
                </c:pt>
                <c:pt idx="558" formatCode="0.0%">
                  <c:v>1.8348381117318693E-2</c:v>
                </c:pt>
                <c:pt idx="559" formatCode="0.0%">
                  <c:v>7.9260827585643772E-3</c:v>
                </c:pt>
                <c:pt idx="560" formatCode="0.0%">
                  <c:v>6.406389191353412E-4</c:v>
                </c:pt>
                <c:pt idx="561" formatCode="0.0%">
                  <c:v>2.3104147499864353E-2</c:v>
                </c:pt>
                <c:pt idx="562" formatCode="0.0%">
                  <c:v>2.3104147499864353E-2</c:v>
                </c:pt>
                <c:pt idx="563" formatCode="0.0%">
                  <c:v>2.3104147499864353E-2</c:v>
                </c:pt>
                <c:pt idx="564" formatCode="0.0%">
                  <c:v>2.2497067710261547E-2</c:v>
                </c:pt>
                <c:pt idx="565" formatCode="0.0%">
                  <c:v>2.6544493277571347E-2</c:v>
                </c:pt>
                <c:pt idx="566" formatCode="0.0%">
                  <c:v>4.6883173958271129E-2</c:v>
                </c:pt>
                <c:pt idx="567" formatCode="0.0%">
                  <c:v>4.8603346847124695E-2</c:v>
                </c:pt>
                <c:pt idx="568" formatCode="0.0%">
                  <c:v>5.78113883538343E-2</c:v>
                </c:pt>
                <c:pt idx="569" formatCode="0.0%">
                  <c:v>5.78113883538343E-2</c:v>
                </c:pt>
                <c:pt idx="570" formatCode="0.0%">
                  <c:v>5.78113883538343E-2</c:v>
                </c:pt>
                <c:pt idx="571" formatCode="0.0%">
                  <c:v>4.7996267057522031E-2</c:v>
                </c:pt>
                <c:pt idx="572" formatCode="0.0%">
                  <c:v>4.5770080859020512E-2</c:v>
                </c:pt>
                <c:pt idx="573" formatCode="0.0%">
                  <c:v>5.7710224601040354E-2</c:v>
                </c:pt>
                <c:pt idx="574" formatCode="0.0%">
                  <c:v>7.0257448132663283E-2</c:v>
                </c:pt>
                <c:pt idx="575" formatCode="0.0%">
                  <c:v>9.2619792960598066E-2</c:v>
                </c:pt>
                <c:pt idx="576" formatCode="0.0%">
                  <c:v>9.2619792960598066E-2</c:v>
                </c:pt>
                <c:pt idx="577" formatCode="0.0%">
                  <c:v>9.3959239956725324E-2</c:v>
                </c:pt>
                <c:pt idx="578" formatCode="0.0%">
                  <c:v>8.978652697249373E-2</c:v>
                </c:pt>
                <c:pt idx="579" formatCode="0.0%">
                  <c:v>8.8572367393288401E-2</c:v>
                </c:pt>
                <c:pt idx="580" formatCode="0.0%">
                  <c:v>9.9500581788851433E-2</c:v>
                </c:pt>
                <c:pt idx="581" formatCode="0.0%">
                  <c:v>9.9601745541645387E-2</c:v>
                </c:pt>
                <c:pt idx="582" formatCode="0.0%">
                  <c:v>0.10476226420820595</c:v>
                </c:pt>
                <c:pt idx="583" formatCode="0.0%">
                  <c:v>0.10476226420820595</c:v>
                </c:pt>
                <c:pt idx="584" formatCode="0.0%">
                  <c:v>0.10476226420820595</c:v>
                </c:pt>
                <c:pt idx="585" formatCode="0.0%">
                  <c:v>0.10698835313386823</c:v>
                </c:pt>
                <c:pt idx="586" formatCode="0.0%">
                  <c:v>9.4441226875084675E-2</c:v>
                </c:pt>
                <c:pt idx="587" formatCode="0.0%">
                  <c:v>9.909582950483653E-2</c:v>
                </c:pt>
                <c:pt idx="588" formatCode="0.0%">
                  <c:v>0.11265488511007703</c:v>
                </c:pt>
                <c:pt idx="589" formatCode="0.0%">
                  <c:v>0.11730948773982859</c:v>
                </c:pt>
                <c:pt idx="590" formatCode="0.0%">
                  <c:v>0.11730948773982859</c:v>
                </c:pt>
                <c:pt idx="591" formatCode="0.0%">
                  <c:v>0.11730948773982859</c:v>
                </c:pt>
                <c:pt idx="592" formatCode="0.0%">
                  <c:v>0.13046379106105419</c:v>
                </c:pt>
                <c:pt idx="593" formatCode="0.0%">
                  <c:v>0.130767379592275</c:v>
                </c:pt>
                <c:pt idx="594" formatCode="0.0%">
                  <c:v>0.12651752924653833</c:v>
                </c:pt>
                <c:pt idx="595" formatCode="0.0%">
                  <c:v>0.12955312274023043</c:v>
                </c:pt>
                <c:pt idx="596" formatCode="0.0%">
                  <c:v>0.12692228153055324</c:v>
                </c:pt>
                <c:pt idx="597" formatCode="0.0%">
                  <c:v>0.12692228153055324</c:v>
                </c:pt>
                <c:pt idx="598" formatCode="0.0%">
                  <c:v>0.12692228153055324</c:v>
                </c:pt>
                <c:pt idx="599" formatCode="0.0%">
                  <c:v>0.11154179201082613</c:v>
                </c:pt>
                <c:pt idx="600" formatCode="0.0%">
                  <c:v>0.10415518441860329</c:v>
                </c:pt>
                <c:pt idx="601" formatCode="0.0%">
                  <c:v>0.10688718938107428</c:v>
                </c:pt>
                <c:pt idx="602" formatCode="0.0%">
                  <c:v>0.11741065149262254</c:v>
                </c:pt>
                <c:pt idx="603" formatCode="0.0%">
                  <c:v>0.10263733903533748</c:v>
                </c:pt>
                <c:pt idx="604" formatCode="0.0%">
                  <c:v>0.10263733903533748</c:v>
                </c:pt>
                <c:pt idx="605" formatCode="0.0%">
                  <c:v>0.10263733903533748</c:v>
                </c:pt>
                <c:pt idx="606" formatCode="0.0%">
                  <c:v>7.713813968807727E-2</c:v>
                </c:pt>
                <c:pt idx="607" formatCode="0.0%">
                  <c:v>6.499566844046939E-2</c:v>
                </c:pt>
                <c:pt idx="608" formatCode="0.0%">
                  <c:v>5.4599147384109585E-2</c:v>
                </c:pt>
                <c:pt idx="609" formatCode="0.0%">
                  <c:v>4.7895006031888843E-2</c:v>
                </c:pt>
                <c:pt idx="610" formatCode="0.0%">
                  <c:v>6.509683219326319E-2</c:v>
                </c:pt>
                <c:pt idx="611" formatCode="0.0%">
                  <c:v>6.509683219326319E-2</c:v>
                </c:pt>
                <c:pt idx="612" formatCode="0.0%">
                  <c:v>6.509683219326319E-2</c:v>
                </c:pt>
                <c:pt idx="613" formatCode="0.0%">
                  <c:v>5.8216140637849211E-2</c:v>
                </c:pt>
                <c:pt idx="614" formatCode="0.0%">
                  <c:v>5.5484135675377931E-2</c:v>
                </c:pt>
                <c:pt idx="615" formatCode="0.0%">
                  <c:v>4.8097430810315984E-2</c:v>
                </c:pt>
                <c:pt idx="616" formatCode="0.0%">
                  <c:v>6.5704009255705242E-2</c:v>
                </c:pt>
                <c:pt idx="617" formatCode="0.0%">
                  <c:v>7.804880800890103E-2</c:v>
                </c:pt>
                <c:pt idx="618" formatCode="0.0%">
                  <c:v>7.804880800890103E-2</c:v>
                </c:pt>
                <c:pt idx="619" formatCode="0.0%">
                  <c:v>7.804880800890103E-2</c:v>
                </c:pt>
                <c:pt idx="620" formatCode="0.0%">
                  <c:v>8.1286826281020269E-2</c:v>
                </c:pt>
                <c:pt idx="621" formatCode="0.0%">
                  <c:v>6.3376659304409624E-2</c:v>
                </c:pt>
                <c:pt idx="622" formatCode="0.0%">
                  <c:v>5.6799556280216594E-2</c:v>
                </c:pt>
                <c:pt idx="623" formatCode="0.0%">
                  <c:v>4.6579585427050034E-2</c:v>
                </c:pt>
                <c:pt idx="624" formatCode="0.0%">
                  <c:v>2.2395903957467739E-2</c:v>
                </c:pt>
                <c:pt idx="625" formatCode="0.0%">
                  <c:v>2.2395903957467739E-2</c:v>
                </c:pt>
                <c:pt idx="626" formatCode="0.0%">
                  <c:v>2.2395903957467739E-2</c:v>
                </c:pt>
                <c:pt idx="627" formatCode="0.0%">
                  <c:v>2.5431497451159829E-2</c:v>
                </c:pt>
                <c:pt idx="628" formatCode="0.0%">
                  <c:v>1.8145956338891552E-2</c:v>
                </c:pt>
                <c:pt idx="629" formatCode="0.0%">
                  <c:v>2.8669515723279061E-2</c:v>
                </c:pt>
                <c:pt idx="630" formatCode="0.0%">
                  <c:v>9.6462556474179451E-3</c:v>
                </c:pt>
                <c:pt idx="631" formatCode="0.0%">
                  <c:v>-1.9902995633810862E-3</c:v>
                </c:pt>
                <c:pt idx="632" formatCode="0.0%">
                  <c:v>-1.9902995633810862E-3</c:v>
                </c:pt>
                <c:pt idx="633" formatCode="0.0%">
                  <c:v>-1.9902995633810862E-3</c:v>
                </c:pt>
                <c:pt idx="634" formatCode="0.0%">
                  <c:v>3.4738076344005718E-3</c:v>
                </c:pt>
                <c:pt idx="635" formatCode="0.0%">
                  <c:v>6.0034850912838063E-3</c:v>
                </c:pt>
                <c:pt idx="636" formatCode="0.0%">
                  <c:v>4.2833122024303807E-3</c:v>
                </c:pt>
                <c:pt idx="637" formatCode="0.0%">
                  <c:v>-1.9900369267152201E-2</c:v>
                </c:pt>
                <c:pt idx="638" formatCode="0.0%">
                  <c:v>-2.7428703386125762E-2</c:v>
                </c:pt>
                <c:pt idx="639" formatCode="0.0%">
                  <c:v>-2.7428703386125762E-2</c:v>
                </c:pt>
                <c:pt idx="640" formatCode="0.0%">
                  <c:v>-2.7428703386125762E-2</c:v>
                </c:pt>
                <c:pt idx="641" formatCode="0.0%">
                  <c:v>-1.1704257106899547E-2</c:v>
                </c:pt>
                <c:pt idx="642" formatCode="0.0%">
                  <c:v>1.227709685709513E-2</c:v>
                </c:pt>
                <c:pt idx="643" formatCode="0.0%">
                  <c:v>8.5332598210064239E-3</c:v>
                </c:pt>
                <c:pt idx="644" formatCode="0.0%">
                  <c:v>1.9764965474951168E-2</c:v>
                </c:pt>
                <c:pt idx="645" formatCode="0.0%">
                  <c:v>3.0690553503856677E-3</c:v>
                </c:pt>
                <c:pt idx="646" formatCode="0.0%">
                  <c:v>3.0690553503856677E-3</c:v>
                </c:pt>
                <c:pt idx="647" formatCode="0.0%">
                  <c:v>3.0690553503856677E-3</c:v>
                </c:pt>
                <c:pt idx="648" formatCode="0.0%">
                  <c:v>-9.2757434028099793E-3</c:v>
                </c:pt>
                <c:pt idx="649" formatCode="0.0%">
                  <c:v>-2.5060985206552006E-2</c:v>
                </c:pt>
                <c:pt idx="650" formatCode="0.0%">
                  <c:v>-2.4656232922537099E-2</c:v>
                </c:pt>
                <c:pt idx="651" formatCode="0.0%">
                  <c:v>-3.8620040811792225E-2</c:v>
                </c:pt>
                <c:pt idx="652" formatCode="0.0%">
                  <c:v>-2.5566901243360859E-2</c:v>
                </c:pt>
                <c:pt idx="653" formatCode="0.0%">
                  <c:v>-2.5566901243360859E-2</c:v>
                </c:pt>
                <c:pt idx="654" formatCode="0.0%">
                  <c:v>-2.5566901243360859E-2</c:v>
                </c:pt>
                <c:pt idx="655" formatCode="0.0%">
                  <c:v>-1.5954107452636208E-2</c:v>
                </c:pt>
                <c:pt idx="656" formatCode="0.0%">
                  <c:v>-5.4306453410882223E-3</c:v>
                </c:pt>
                <c:pt idx="657" formatCode="0.0%">
                  <c:v>-1.0692327760442736E-2</c:v>
                </c:pt>
                <c:pt idx="658" formatCode="0.0%">
                  <c:v>-9.5793319340310747E-3</c:v>
                </c:pt>
                <c:pt idx="659" formatCode="0.0%">
                  <c:v>-2.4757396675331052E-2</c:v>
                </c:pt>
                <c:pt idx="660" formatCode="0.0%">
                  <c:v>-2.4757396675331052E-2</c:v>
                </c:pt>
                <c:pt idx="661" formatCode="0.0%">
                  <c:v>-2.4757396675331052E-2</c:v>
                </c:pt>
                <c:pt idx="662" formatCode="0.0%">
                  <c:v>-1.5751682674209205E-2</c:v>
                </c:pt>
                <c:pt idx="663" formatCode="0.0%">
                  <c:v>-1.7878747849539422E-3</c:v>
                </c:pt>
                <c:pt idx="664" formatCode="0.0%">
                  <c:v>-2.1926270689689885E-3</c:v>
                </c:pt>
                <c:pt idx="665" formatCode="0.0%">
                  <c:v>-3.4068839210135591E-3</c:v>
                </c:pt>
                <c:pt idx="666" formatCode="0.0%">
                  <c:v>4.382141407081974E-4</c:v>
                </c:pt>
                <c:pt idx="667" formatCode="0.0%">
                  <c:v>4.382141407081974E-4</c:v>
                </c:pt>
                <c:pt idx="668" formatCode="0.0%">
                  <c:v>4.382141407081974E-4</c:v>
                </c:pt>
                <c:pt idx="669" formatCode="0.0%">
                  <c:v>1.1073053653169183E-2</c:v>
                </c:pt>
                <c:pt idx="670" formatCode="0.0%">
                  <c:v>8.3308350425792804E-3</c:v>
                </c:pt>
                <c:pt idx="671" formatCode="0.0%">
                  <c:v>3.9798209440485262E-3</c:v>
                </c:pt>
                <c:pt idx="672" formatCode="0.0%">
                  <c:v>-1.312084146453202E-2</c:v>
                </c:pt>
                <c:pt idx="673" formatCode="0.0%">
                  <c:v>-1.6156434958224112E-2</c:v>
                </c:pt>
                <c:pt idx="674" formatCode="0.0%">
                  <c:v>-1.6156434958224112E-2</c:v>
                </c:pt>
                <c:pt idx="675" formatCode="0.0%">
                  <c:v>-1.6156434958224112E-2</c:v>
                </c:pt>
                <c:pt idx="676" formatCode="0.0%">
                  <c:v>-1.2007748365281116E-2</c:v>
                </c:pt>
                <c:pt idx="677" formatCode="0.0%">
                  <c:v>-3.5080476738075105E-3</c:v>
                </c:pt>
                <c:pt idx="678" formatCode="0.0%">
                  <c:v>-1.0995916291663689E-2</c:v>
                </c:pt>
                <c:pt idx="679" formatCode="0.0%">
                  <c:v>1.1062937277889659E-2</c:v>
                </c:pt>
                <c:pt idx="680" formatCode="0.0%">
                  <c:v>2.7151670340013395E-2</c:v>
                </c:pt>
                <c:pt idx="681" formatCode="0.0%">
                  <c:v>2.7151670340013395E-2</c:v>
                </c:pt>
                <c:pt idx="682" formatCode="0.0%">
                  <c:v>2.7151670340013395E-2</c:v>
                </c:pt>
                <c:pt idx="683" formatCode="0.0%">
                  <c:v>2.0270978784599408E-2</c:v>
                </c:pt>
                <c:pt idx="684" formatCode="0.0%">
                  <c:v>2.8973006981660773E-2</c:v>
                </c:pt>
                <c:pt idx="685" formatCode="0.0%">
                  <c:v>1.5312787623626605E-2</c:v>
                </c:pt>
                <c:pt idx="686" formatCode="0.0%">
                  <c:v>7.5213304745496146E-3</c:v>
                </c:pt>
                <c:pt idx="687" formatCode="0.0%">
                  <c:v>9.8486804258450886E-3</c:v>
                </c:pt>
                <c:pt idx="688" formatCode="0.0%">
                  <c:v>9.8486804258450886E-3</c:v>
                </c:pt>
                <c:pt idx="689" formatCode="0.0%">
                  <c:v>9.8486804258450886E-3</c:v>
                </c:pt>
                <c:pt idx="690" formatCode="0.0%">
                  <c:v>1.1164101030683611E-2</c:v>
                </c:pt>
                <c:pt idx="691" formatCode="0.0%">
                  <c:v>1.6527044475671316E-2</c:v>
                </c:pt>
                <c:pt idx="692" formatCode="0.0%">
                  <c:v>2.2497067710261547E-2</c:v>
                </c:pt>
                <c:pt idx="693" formatCode="0.0%">
                  <c:v>2.4824320388717923E-2</c:v>
                </c:pt>
                <c:pt idx="694" formatCode="0.0%">
                  <c:v>2.4318404351909066E-2</c:v>
                </c:pt>
                <c:pt idx="695" formatCode="0.0%">
                  <c:v>2.4318404351909066E-2</c:v>
                </c:pt>
                <c:pt idx="696" formatCode="0.0%">
                  <c:v>2.4318404351909066E-2</c:v>
                </c:pt>
                <c:pt idx="697" formatCode="0.0%">
                  <c:v>1.5818703660435317E-2</c:v>
                </c:pt>
                <c:pt idx="698" formatCode="0.0%">
                  <c:v>1.5919867413229271E-2</c:v>
                </c:pt>
                <c:pt idx="699" formatCode="0.0%">
                  <c:v>4.63873742967418E-2</c:v>
                </c:pt>
                <c:pt idx="700" formatCode="0.0%">
                  <c:v>3.2919366069015868E-2</c:v>
                </c:pt>
                <c:pt idx="701" formatCode="0.0%">
                  <c:v>2.8568254697645727E-2</c:v>
                </c:pt>
                <c:pt idx="702" formatCode="0.0%">
                  <c:v>2.8568254697645727E-2</c:v>
                </c:pt>
                <c:pt idx="703" formatCode="0.0%">
                  <c:v>2.8568254697645727E-2</c:v>
                </c:pt>
                <c:pt idx="704" formatCode="0.0%">
                  <c:v>2.1080386079789834E-2</c:v>
                </c:pt>
                <c:pt idx="705" formatCode="0.0%">
                  <c:v>6.0034850912838063E-3</c:v>
                </c:pt>
                <c:pt idx="706" formatCode="0.0%">
                  <c:v>1.3488824615319572E-3</c:v>
                </c:pt>
                <c:pt idx="707" formatCode="0.0%">
                  <c:v>2.0572232767679566E-3</c:v>
                </c:pt>
                <c:pt idx="708" formatCode="0.0%">
                  <c:v>2.1583870295617657E-3</c:v>
                </c:pt>
                <c:pt idx="709" formatCode="0.0%">
                  <c:v>2.1583870295617657E-3</c:v>
                </c:pt>
                <c:pt idx="710" formatCode="0.0%">
                  <c:v>2.1583870295617657E-3</c:v>
                </c:pt>
                <c:pt idx="711" formatCode="0.0%">
                  <c:v>-5.7361793290937161E-4</c:v>
                </c:pt>
                <c:pt idx="712" formatCode="0.0%">
                  <c:v>1.966380172215736E-2</c:v>
                </c:pt>
                <c:pt idx="713" formatCode="0.0%">
                  <c:v>1.8145956338891552E-2</c:v>
                </c:pt>
                <c:pt idx="714" formatCode="0.0%">
                  <c:v>-1.1805420859693499E-2</c:v>
                </c:pt>
                <c:pt idx="715" formatCode="0.0%">
                  <c:v>-2.7590662663435239E-2</c:v>
                </c:pt>
                <c:pt idx="716" formatCode="0.0%">
                  <c:v>-2.7590662663435239E-2</c:v>
                </c:pt>
                <c:pt idx="717" formatCode="0.0%">
                  <c:v>-2.7590662663435239E-2</c:v>
                </c:pt>
                <c:pt idx="718" formatCode="0.0%">
                  <c:v>-2.4554971896903907E-2</c:v>
                </c:pt>
                <c:pt idx="719" formatCode="0.0%">
                  <c:v>-3.1132172193936328E-2</c:v>
                </c:pt>
                <c:pt idx="720" formatCode="0.0%">
                  <c:v>-2.0305121551167104E-2</c:v>
                </c:pt>
                <c:pt idx="721" formatCode="0.0%">
                  <c:v>-3.3054769861216894E-2</c:v>
                </c:pt>
                <c:pt idx="722" formatCode="0.0%">
                  <c:v>-3.214410154039328E-2</c:v>
                </c:pt>
                <c:pt idx="723" formatCode="0.0%">
                  <c:v>-3.214410154039328E-2</c:v>
                </c:pt>
                <c:pt idx="724" formatCode="0.0%">
                  <c:v>-3.214410154039328E-2</c:v>
                </c:pt>
                <c:pt idx="725" formatCode="0.0%">
                  <c:v>-3.214410154039328E-2</c:v>
                </c:pt>
                <c:pt idx="726" formatCode="0.0%">
                  <c:v>-3.1031008441142517E-2</c:v>
                </c:pt>
                <c:pt idx="727" formatCode="0.0%">
                  <c:v>-3.5887938576481988E-2</c:v>
                </c:pt>
                <c:pt idx="728" formatCode="0.0%">
                  <c:v>-3.1031008441142517E-2</c:v>
                </c:pt>
                <c:pt idx="729" formatCode="0.0%">
                  <c:v>-3.6292690860496891E-2</c:v>
                </c:pt>
                <c:pt idx="730" formatCode="0.0%">
                  <c:v>-3.5726076572011746E-2</c:v>
                </c:pt>
                <c:pt idx="731" formatCode="0.0%">
                  <c:v>-3.5726076572011746E-2</c:v>
                </c:pt>
                <c:pt idx="732" formatCode="0.0%">
                  <c:v>-3.538202253967327E-2</c:v>
                </c:pt>
                <c:pt idx="733" formatCode="0.0%">
                  <c:v>-2.4453808144109957E-2</c:v>
                </c:pt>
                <c:pt idx="734" formatCode="0.0%">
                  <c:v>-2.3138387539271433E-2</c:v>
                </c:pt>
                <c:pt idx="735" formatCode="0.0%">
                  <c:v>-2.4453808144109957E-2</c:v>
                </c:pt>
                <c:pt idx="736" formatCode="0.0%">
                  <c:v>-2.6072817280169715E-2</c:v>
                </c:pt>
                <c:pt idx="737" formatCode="0.0%">
                  <c:v>-2.6072817280169715E-2</c:v>
                </c:pt>
                <c:pt idx="738" formatCode="0.0%">
                  <c:v>-2.6072817280169715E-2</c:v>
                </c:pt>
                <c:pt idx="739" formatCode="0.0%">
                  <c:v>-8.567402587574123E-3</c:v>
                </c:pt>
                <c:pt idx="740" formatCode="0.0%">
                  <c:v>-1.8281360131092727E-2</c:v>
                </c:pt>
                <c:pt idx="741" formatCode="0.0%">
                  <c:v>-7.2519819827354583E-3</c:v>
                </c:pt>
                <c:pt idx="742" formatCode="0.0%">
                  <c:v>-1.0795339697182271E-3</c:v>
                </c:pt>
                <c:pt idx="743" formatCode="0.0%">
                  <c:v>3.9798209440485262E-3</c:v>
                </c:pt>
                <c:pt idx="744" formatCode="0.0%">
                  <c:v>3.9798209440485262E-3</c:v>
                </c:pt>
                <c:pt idx="745" formatCode="0.0%">
                  <c:v>3.9798209440485262E-3</c:v>
                </c:pt>
                <c:pt idx="746" formatCode="0.0%">
                  <c:v>9.4439281418301838E-3</c:v>
                </c:pt>
                <c:pt idx="747" formatCode="0.0%">
                  <c:v>1.227709685709513E-2</c:v>
                </c:pt>
                <c:pt idx="748" formatCode="0.0%">
                  <c:v>1.2074769351507371E-2</c:v>
                </c:pt>
                <c:pt idx="749" formatCode="0.0%">
                  <c:v>-2.2937908217629398E-3</c:v>
                </c:pt>
                <c:pt idx="750" formatCode="0.0%">
                  <c:v>2.6644003392097206E-3</c:v>
                </c:pt>
                <c:pt idx="751" formatCode="0.0%">
                  <c:v>2.6644003392097206E-3</c:v>
                </c:pt>
                <c:pt idx="752" formatCode="0.0%">
                  <c:v>2.6644003392097206E-3</c:v>
                </c:pt>
                <c:pt idx="753" formatCode="0.0%">
                  <c:v>1.7437712796494795E-2</c:v>
                </c:pt>
                <c:pt idx="754" formatCode="0.0%">
                  <c:v>1.6021031166023221E-2</c:v>
                </c:pt>
                <c:pt idx="755" formatCode="0.0%">
                  <c:v>-2.0914633161748953E-3</c:v>
                </c:pt>
                <c:pt idx="756" formatCode="0.0%">
                  <c:v>1.5413951376420414E-2</c:v>
                </c:pt>
                <c:pt idx="757" formatCode="0.0%">
                  <c:v>2.1788726895025833E-2</c:v>
                </c:pt>
                <c:pt idx="758" formatCode="0.0%">
                  <c:v>2.1788726895025833E-2</c:v>
                </c:pt>
                <c:pt idx="759" formatCode="0.0%">
                  <c:v>2.1788726895025833E-2</c:v>
                </c:pt>
                <c:pt idx="760" formatCode="0.0%">
                  <c:v>1.5515115129214364E-2</c:v>
                </c:pt>
                <c:pt idx="761" formatCode="0.0%">
                  <c:v>2.4966046915468637E-2</c:v>
                </c:pt>
                <c:pt idx="762" formatCode="0.0%">
                  <c:v>2.1485138363804879E-2</c:v>
                </c:pt>
                <c:pt idx="763" formatCode="0.0%">
                  <c:v>4.6984337711065083E-2</c:v>
                </c:pt>
                <c:pt idx="764" formatCode="0.0%">
                  <c:v>5.4067454044906212E-2</c:v>
                </c:pt>
                <c:pt idx="765" formatCode="0.0%">
                  <c:v>5.4067454044906212E-2</c:v>
                </c:pt>
                <c:pt idx="766" formatCode="0.0%">
                  <c:v>5.4067454044906212E-2</c:v>
                </c:pt>
                <c:pt idx="767" formatCode="0.0%">
                  <c:v>4.101431447647471E-2</c:v>
                </c:pt>
                <c:pt idx="768" formatCode="0.0%">
                  <c:v>3.8788225550812287E-2</c:v>
                </c:pt>
                <c:pt idx="769" formatCode="0.0%">
                  <c:v>5.2200496441662241E-2</c:v>
                </c:pt>
                <c:pt idx="770" formatCode="0.0%">
                  <c:v>5.0767083882843733E-2</c:v>
                </c:pt>
                <c:pt idx="771" formatCode="0.0%">
                  <c:v>3.9812022183654677E-2</c:v>
                </c:pt>
                <c:pt idx="772" formatCode="0.0%">
                  <c:v>3.9812022183654677E-2</c:v>
                </c:pt>
                <c:pt idx="773" formatCode="0.0%">
                  <c:v>3.9812022183654677E-2</c:v>
                </c:pt>
                <c:pt idx="774" formatCode="0.0%">
                  <c:v>4.6876559405203862E-2</c:v>
                </c:pt>
                <c:pt idx="775" formatCode="0.0%">
                  <c:v>4.3702643934133929E-2</c:v>
                </c:pt>
                <c:pt idx="776" formatCode="0.0%">
                  <c:v>4.8002784337749918E-2</c:v>
                </c:pt>
                <c:pt idx="777" formatCode="0.0%">
                  <c:v>5.0767083882843733E-2</c:v>
                </c:pt>
                <c:pt idx="778" formatCode="0.0%">
                  <c:v>3.1518929002694734E-2</c:v>
                </c:pt>
                <c:pt idx="779" formatCode="0.0%">
                  <c:v>3.1518929002694734E-2</c:v>
                </c:pt>
                <c:pt idx="780" formatCode="0.0%">
                  <c:v>3.1518929002694734E-2</c:v>
                </c:pt>
                <c:pt idx="781" formatCode="0.0%">
                  <c:v>3.1006982049853919E-2</c:v>
                </c:pt>
                <c:pt idx="782" formatCode="0.0%">
                  <c:v>2.1280573582914714E-2</c:v>
                </c:pt>
                <c:pt idx="783" formatCode="0.0%">
                  <c:v>1.9437642370959195E-2</c:v>
                </c:pt>
                <c:pt idx="784" formatCode="0.0%">
                  <c:v>2.5683045013395401E-2</c:v>
                </c:pt>
                <c:pt idx="785" formatCode="0.0%">
                  <c:v>1.3908848735093357E-2</c:v>
                </c:pt>
                <c:pt idx="786" formatCode="0.0%">
                  <c:v>1.3908848735093357E-2</c:v>
                </c:pt>
                <c:pt idx="787" formatCode="0.0%">
                  <c:v>1.3908848735093357E-2</c:v>
                </c:pt>
                <c:pt idx="788" formatCode="0.0%">
                  <c:v>2.1792423262916288E-2</c:v>
                </c:pt>
                <c:pt idx="789" formatCode="0.0%">
                  <c:v>1.8198775490590721E-2</c:v>
                </c:pt>
                <c:pt idx="790" formatCode="0.0%">
                  <c:v>1.2885052102250825E-2</c:v>
                </c:pt>
                <c:pt idx="791" formatCode="0.0%">
                  <c:v>1.5649448920183887E-2</c:v>
                </c:pt>
                <c:pt idx="792" formatCode="0.0%">
                  <c:v>2.9266479137602486E-2</c:v>
                </c:pt>
                <c:pt idx="793" formatCode="0.0%">
                  <c:v>2.9266479137602486E-2</c:v>
                </c:pt>
                <c:pt idx="794" formatCode="0.0%">
                  <c:v>2.9266479137602486E-2</c:v>
                </c:pt>
                <c:pt idx="795" formatCode="0.0%">
                  <c:v>3.8071519271403245E-2</c:v>
                </c:pt>
                <c:pt idx="796" formatCode="0.0%">
                  <c:v>3.1621357302398678E-2</c:v>
                </c:pt>
                <c:pt idx="797" formatCode="0.0%">
                  <c:v>3.3464191241514812E-2</c:v>
                </c:pt>
                <c:pt idx="798" formatCode="0.0%">
                  <c:v>3.1928447655831749E-2</c:v>
                </c:pt>
                <c:pt idx="799" formatCode="0.0%">
                  <c:v>-8.6155526429905656E-3</c:v>
                </c:pt>
                <c:pt idx="800" formatCode="0.0%">
                  <c:v>-8.6155526429905656E-3</c:v>
                </c:pt>
                <c:pt idx="801" formatCode="0.0%">
                  <c:v>-8.6155526429905656E-3</c:v>
                </c:pt>
                <c:pt idx="802" formatCode="0.0%">
                  <c:v>-1.701107412365431E-2</c:v>
                </c:pt>
                <c:pt idx="803" formatCode="0.0%">
                  <c:v>-5.2369751181912247E-3</c:v>
                </c:pt>
                <c:pt idx="804" formatCode="0.0%">
                  <c:v>-7.48942498328347E-3</c:v>
                </c:pt>
                <c:pt idx="805" formatCode="0.0%">
                  <c:v>6.7419804866793243E-3</c:v>
                </c:pt>
                <c:pt idx="806" formatCode="0.0%">
                  <c:v>-1.1770013546211544E-4</c:v>
                </c:pt>
                <c:pt idx="807" formatCode="0.0%">
                  <c:v>-1.1770013546211544E-4</c:v>
                </c:pt>
                <c:pt idx="808" formatCode="0.0%">
                  <c:v>-1.1770013546211544E-4</c:v>
                </c:pt>
                <c:pt idx="809" formatCode="0.0%">
                  <c:v>-7.3207538800673438E-4</c:v>
                </c:pt>
                <c:pt idx="810" formatCode="0.0%">
                  <c:v>2.6465994096315625E-3</c:v>
                </c:pt>
                <c:pt idx="811" formatCode="0.0%">
                  <c:v>1.1451639543432464E-2</c:v>
                </c:pt>
                <c:pt idx="812" formatCode="0.0%">
                  <c:v>8.2777240723626733E-3</c:v>
                </c:pt>
                <c:pt idx="813" formatCode="0.0%">
                  <c:v>3.3633056890410274E-3</c:v>
                </c:pt>
                <c:pt idx="814" formatCode="0.0%">
                  <c:v>3.3633056890410274E-3</c:v>
                </c:pt>
                <c:pt idx="815" formatCode="0.0%">
                  <c:v>3.3633056890410274E-3</c:v>
                </c:pt>
                <c:pt idx="816" formatCode="0.0%">
                  <c:v>7.8682054192256608E-3</c:v>
                </c:pt>
                <c:pt idx="817" formatCode="0.0%">
                  <c:v>-2.7796686536913739E-3</c:v>
                </c:pt>
                <c:pt idx="818" formatCode="0.0%">
                  <c:v>7.6634460926570114E-3</c:v>
                </c:pt>
                <c:pt idx="819" formatCode="0.0%">
                  <c:v>1.4011277034797161E-2</c:v>
                </c:pt>
                <c:pt idx="820" formatCode="0.0%">
                  <c:v>2.8785270401956636E-2</c:v>
                </c:pt>
                <c:pt idx="821" formatCode="0.0%">
                  <c:v>2.8785270401956636E-2</c:v>
                </c:pt>
                <c:pt idx="822" formatCode="0.0%">
                  <c:v>2.8785270401956636E-2</c:v>
                </c:pt>
                <c:pt idx="823" formatCode="0.0%">
                  <c:v>2.6092563666532273E-2</c:v>
                </c:pt>
                <c:pt idx="824" formatCode="0.0%">
                  <c:v>2.4044873128008532E-2</c:v>
                </c:pt>
                <c:pt idx="825" formatCode="0.0%">
                  <c:v>1.882326711841472E-2</c:v>
                </c:pt>
                <c:pt idx="826" formatCode="0.0%">
                  <c:v>1.882326711841472E-2</c:v>
                </c:pt>
                <c:pt idx="827" formatCode="0.0%">
                  <c:v>1.882326711841472E-2</c:v>
                </c:pt>
                <c:pt idx="828" formatCode="0.0%">
                  <c:v>1.882326711841472E-2</c:v>
                </c:pt>
                <c:pt idx="829" formatCode="0.0%">
                  <c:v>1.882326711841472E-2</c:v>
                </c:pt>
                <c:pt idx="830" formatCode="0.0%">
                  <c:v>1.882326711841472E-2</c:v>
                </c:pt>
                <c:pt idx="831" formatCode="0.0%">
                  <c:v>2.7116457572214047E-2</c:v>
                </c:pt>
                <c:pt idx="832" formatCode="0.0%">
                  <c:v>2.4454391781145546E-2</c:v>
                </c:pt>
                <c:pt idx="833" formatCode="0.0%">
                  <c:v>2.4556820080849206E-2</c:v>
                </c:pt>
                <c:pt idx="834" formatCode="0.0%">
                  <c:v>3.1211741376422422E-2</c:v>
                </c:pt>
                <c:pt idx="835" formatCode="0.0%">
                  <c:v>3.1211741376422422E-2</c:v>
                </c:pt>
                <c:pt idx="836" formatCode="0.0%">
                  <c:v>3.1211741376422422E-2</c:v>
                </c:pt>
                <c:pt idx="837" formatCode="0.0%">
                  <c:v>3.6023828732879369E-2</c:v>
                </c:pt>
                <c:pt idx="838" formatCode="0.0%">
                  <c:v>3.4180897520923847E-2</c:v>
                </c:pt>
                <c:pt idx="839" formatCode="0.0%">
                  <c:v>3.213320698240011E-2</c:v>
                </c:pt>
                <c:pt idx="840" formatCode="0.0%">
                  <c:v>3.3668950568083174E-2</c:v>
                </c:pt>
                <c:pt idx="841" formatCode="0.0%">
                  <c:v>3.2542725635537124E-2</c:v>
                </c:pt>
                <c:pt idx="842" formatCode="0.0%">
                  <c:v>3.2542725635537124E-2</c:v>
                </c:pt>
                <c:pt idx="843" formatCode="0.0%">
                  <c:v>3.2542725635537124E-2</c:v>
                </c:pt>
                <c:pt idx="844" formatCode="0.0%">
                  <c:v>2.8345013531624802E-2</c:v>
                </c:pt>
                <c:pt idx="845" formatCode="0.0%">
                  <c:v>2.4761579407417855E-2</c:v>
                </c:pt>
                <c:pt idx="846" formatCode="0.0%">
                  <c:v>1.4318464661069469E-2</c:v>
                </c:pt>
                <c:pt idx="847" formatCode="0.0%">
                  <c:v>2.1587663936347638E-2</c:v>
                </c:pt>
                <c:pt idx="848" formatCode="0.0%">
                  <c:v>3.0392704070148539E-2</c:v>
                </c:pt>
                <c:pt idx="849" formatCode="0.0%">
                  <c:v>3.0392704070148539E-2</c:v>
                </c:pt>
                <c:pt idx="850" formatCode="0.0%">
                  <c:v>3.2563250204613328E-2</c:v>
                </c:pt>
                <c:pt idx="851" formatCode="0.0%">
                  <c:v>3.2563250204613328E-2</c:v>
                </c:pt>
                <c:pt idx="852" formatCode="0.0%">
                  <c:v>2.70140292725101E-2</c:v>
                </c:pt>
                <c:pt idx="853" formatCode="0.0%">
                  <c:v>2.7628307252215479E-2</c:v>
                </c:pt>
                <c:pt idx="854" formatCode="0.0%">
                  <c:v>2.2201941916053302E-2</c:v>
                </c:pt>
                <c:pt idx="855" formatCode="0.0%">
                  <c:v>2.2201941916053302E-2</c:v>
                </c:pt>
                <c:pt idx="856" formatCode="0.0%">
                  <c:v>2.2201941916053302E-2</c:v>
                </c:pt>
                <c:pt idx="857" formatCode="0.0%">
                  <c:v>2.2201941916053302E-2</c:v>
                </c:pt>
                <c:pt idx="858" formatCode="0.0%">
                  <c:v>3.8173850298267809E-2</c:v>
                </c:pt>
                <c:pt idx="859" formatCode="0.0%">
                  <c:v>3.8071519271403245E-2</c:v>
                </c:pt>
                <c:pt idx="860" formatCode="0.0%">
                  <c:v>3.9504931830221607E-2</c:v>
                </c:pt>
                <c:pt idx="861" formatCode="0.0%">
                  <c:v>4.5340815819520798E-2</c:v>
                </c:pt>
                <c:pt idx="862" formatCode="0.0%">
                  <c:v>4.8924249943727745E-2</c:v>
                </c:pt>
                <c:pt idx="863" formatCode="0.0%">
                  <c:v>4.8924249943727745E-2</c:v>
                </c:pt>
                <c:pt idx="864" formatCode="0.0%">
                  <c:v>4.8924249943727745E-2</c:v>
                </c:pt>
                <c:pt idx="865" formatCode="0.0%">
                  <c:v>5.2302924741366184E-2</c:v>
                </c:pt>
                <c:pt idx="866" formatCode="0.0%">
                  <c:v>5.4657705633323131E-2</c:v>
                </c:pt>
                <c:pt idx="867" formatCode="0.0%">
                  <c:v>5.7319674151552251E-2</c:v>
                </c:pt>
                <c:pt idx="868" formatCode="0.0%">
                  <c:v>5.7319674151552251E-2</c:v>
                </c:pt>
                <c:pt idx="869" formatCode="0.0%">
                  <c:v>5.7319674151552251E-2</c:v>
                </c:pt>
                <c:pt idx="870" formatCode="0.0%">
                  <c:v>5.7319674151552251E-2</c:v>
                </c:pt>
                <c:pt idx="871" formatCode="0.0%">
                  <c:v>5.7319674151552251E-2</c:v>
                </c:pt>
                <c:pt idx="872" formatCode="0.0%">
                  <c:v>7.7694151237086825E-2</c:v>
                </c:pt>
                <c:pt idx="873" formatCode="0.0%">
                  <c:v>7.3598770160039073E-2</c:v>
                </c:pt>
                <c:pt idx="874" formatCode="0.0%">
                  <c:v>5.4862464959891499E-2</c:v>
                </c:pt>
                <c:pt idx="875" formatCode="0.0%">
                  <c:v>6.3974692719964421E-2</c:v>
                </c:pt>
                <c:pt idx="876" formatCode="0.0%">
                  <c:v>8.404188490638774E-2</c:v>
                </c:pt>
                <c:pt idx="877" formatCode="0.0%">
                  <c:v>8.404188490638774E-2</c:v>
                </c:pt>
                <c:pt idx="878" formatCode="0.0%">
                  <c:v>8.404188490638774E-2</c:v>
                </c:pt>
                <c:pt idx="879" formatCode="0.0%">
                  <c:v>8.404188490638774E-2</c:v>
                </c:pt>
                <c:pt idx="880" formatCode="0.0%">
                  <c:v>8.004893212904364E-2</c:v>
                </c:pt>
                <c:pt idx="881" formatCode="0.0%">
                  <c:v>7.247254522749301E-2</c:v>
                </c:pt>
                <c:pt idx="882" formatCode="0.0%">
                  <c:v>7.4213048139744442E-2</c:v>
                </c:pt>
                <c:pt idx="883" formatCode="0.0%">
                  <c:v>8.8137265983435353E-2</c:v>
                </c:pt>
                <c:pt idx="884" formatCode="0.0%">
                  <c:v>8.8137265983435353E-2</c:v>
                </c:pt>
                <c:pt idx="885" formatCode="0.0%">
                  <c:v>8.8137265983435353E-2</c:v>
                </c:pt>
                <c:pt idx="886" formatCode="0.0%">
                  <c:v>8.8137265983435353E-2</c:v>
                </c:pt>
                <c:pt idx="887" formatCode="0.0%">
                  <c:v>9.561132185812142E-2</c:v>
                </c:pt>
                <c:pt idx="888" formatCode="0.0%">
                  <c:v>8.4349072532659899E-2</c:v>
                </c:pt>
                <c:pt idx="889" formatCode="0.0%">
                  <c:v>7.974184177561057E-2</c:v>
                </c:pt>
                <c:pt idx="890" formatCode="0.0%">
                  <c:v>8.5987244418046907E-2</c:v>
                </c:pt>
                <c:pt idx="891" formatCode="0.0%">
                  <c:v>8.5987244418046907E-2</c:v>
                </c:pt>
                <c:pt idx="892" formatCode="0.0%">
                  <c:v>8.5987244418046907E-2</c:v>
                </c:pt>
                <c:pt idx="893" formatCode="0.0%">
                  <c:v>8.9673009569118278E-2</c:v>
                </c:pt>
                <c:pt idx="894" formatCode="0.0%">
                  <c:v>9.9911462261737402E-2</c:v>
                </c:pt>
                <c:pt idx="895" formatCode="0.0%">
                  <c:v>9.8682809029487548E-2</c:v>
                </c:pt>
                <c:pt idx="896" formatCode="0.0%">
                  <c:v>9.5918509484393719E-2</c:v>
                </c:pt>
                <c:pt idx="897" formatCode="0.0%">
                  <c:v>0.10492830894476299</c:v>
                </c:pt>
                <c:pt idx="898" formatCode="0.0%">
                  <c:v>0.10492830894476299</c:v>
                </c:pt>
                <c:pt idx="899" formatCode="0.0%">
                  <c:v>0.10492830894476299</c:v>
                </c:pt>
                <c:pt idx="900" formatCode="0.0%">
                  <c:v>9.3256540966164606E-2</c:v>
                </c:pt>
                <c:pt idx="901" formatCode="0.0%">
                  <c:v>8.7113469350593109E-2</c:v>
                </c:pt>
                <c:pt idx="902" formatCode="0.0%">
                  <c:v>8.0765638408452953E-2</c:v>
                </c:pt>
                <c:pt idx="903" formatCode="0.0%">
                  <c:v>8.0356119755315938E-2</c:v>
                </c:pt>
                <c:pt idx="904" formatCode="0.0%">
                  <c:v>8.178943504129535E-2</c:v>
                </c:pt>
                <c:pt idx="905" formatCode="0.0%">
                  <c:v>8.178943504129535E-2</c:v>
                </c:pt>
                <c:pt idx="906" formatCode="0.0%">
                  <c:v>8.178943504129535E-2</c:v>
                </c:pt>
                <c:pt idx="907" formatCode="0.0%">
                  <c:v>8.1994291640703099E-2</c:v>
                </c:pt>
                <c:pt idx="908" formatCode="0.0%">
                  <c:v>7.3598770160039073E-2</c:v>
                </c:pt>
                <c:pt idx="909" formatCode="0.0%">
                  <c:v>8.7625416303433776E-2</c:v>
                </c:pt>
                <c:pt idx="910" formatCode="0.0%">
                  <c:v>8.6499191370887449E-2</c:v>
                </c:pt>
                <c:pt idx="911" formatCode="0.0%">
                  <c:v>9.6911567900041004E-2</c:v>
                </c:pt>
                <c:pt idx="912" formatCode="0.0%">
                  <c:v>9.6911567900041004E-2</c:v>
                </c:pt>
                <c:pt idx="913" formatCode="0.0%">
                  <c:v>9.6911567900041004E-2</c:v>
                </c:pt>
                <c:pt idx="914" formatCode="0.0%">
                  <c:v>9.8682809029487548E-2</c:v>
                </c:pt>
                <c:pt idx="915" formatCode="0.0%">
                  <c:v>9.9706702935169034E-2</c:v>
                </c:pt>
                <c:pt idx="916" formatCode="0.0%">
                  <c:v>9.6123268810962087E-2</c:v>
                </c:pt>
                <c:pt idx="917" formatCode="0.0%">
                  <c:v>7.8513188543360715E-2</c:v>
                </c:pt>
                <c:pt idx="918" formatCode="0.0%">
                  <c:v>7.6465498004836971E-2</c:v>
                </c:pt>
                <c:pt idx="919" formatCode="0.0%">
                  <c:v>7.6465498004836971E-2</c:v>
                </c:pt>
                <c:pt idx="920" formatCode="0.0%">
                  <c:v>7.6465498004836971E-2</c:v>
                </c:pt>
                <c:pt idx="921" formatCode="0.0%">
                  <c:v>7.2370116927789219E-2</c:v>
                </c:pt>
                <c:pt idx="922" formatCode="0.0%">
                  <c:v>7.810366989022384E-2</c:v>
                </c:pt>
                <c:pt idx="923" formatCode="0.0%">
                  <c:v>8.4246741505795197E-2</c:v>
                </c:pt>
                <c:pt idx="924" formatCode="0.0%">
                  <c:v>8.946825024254991E-2</c:v>
                </c:pt>
                <c:pt idx="925" formatCode="0.0%">
                  <c:v>9.1311181454505286E-2</c:v>
                </c:pt>
                <c:pt idx="926" formatCode="0.0%">
                  <c:v>9.1311181454505286E-2</c:v>
                </c:pt>
                <c:pt idx="927" formatCode="0.0%">
                  <c:v>9.1311181454505286E-2</c:v>
                </c:pt>
                <c:pt idx="928" formatCode="0.0%">
                  <c:v>8.9263490915981555E-2</c:v>
                </c:pt>
                <c:pt idx="929" formatCode="0.0%">
                  <c:v>9.2437406387051488E-2</c:v>
                </c:pt>
                <c:pt idx="930" formatCode="0.0%">
                  <c:v>0.10595210557760509</c:v>
                </c:pt>
                <c:pt idx="931" formatCode="0.0%">
                  <c:v>0.10103768719428359</c:v>
                </c:pt>
                <c:pt idx="932" formatCode="0.0%">
                  <c:v>0.10318770875967204</c:v>
                </c:pt>
                <c:pt idx="933" formatCode="0.0%">
                  <c:v>0.10318770875967204</c:v>
                </c:pt>
                <c:pt idx="934" formatCode="0.0%">
                  <c:v>0.10318770875967204</c:v>
                </c:pt>
                <c:pt idx="935" formatCode="0.0%">
                  <c:v>0.10759027746299196</c:v>
                </c:pt>
                <c:pt idx="936" formatCode="0.0%">
                  <c:v>0.11700959557649825</c:v>
                </c:pt>
                <c:pt idx="937" formatCode="0.0%">
                  <c:v>0.10922835207553988</c:v>
                </c:pt>
                <c:pt idx="938" formatCode="0.0%">
                  <c:v>0.12796465727568745</c:v>
                </c:pt>
                <c:pt idx="939" formatCode="0.0%">
                  <c:v>0.12223120158609206</c:v>
                </c:pt>
                <c:pt idx="940" formatCode="0.0%">
                  <c:v>0.12223120158609206</c:v>
                </c:pt>
                <c:pt idx="941" formatCode="0.0%">
                  <c:v>0.12223120158609206</c:v>
                </c:pt>
                <c:pt idx="942" formatCode="0.0%">
                  <c:v>0.12579411114122238</c:v>
                </c:pt>
                <c:pt idx="943" formatCode="0.0%">
                  <c:v>0.12468841077775281</c:v>
                </c:pt>
                <c:pt idx="944" formatCode="0.0%">
                  <c:v>0.10830698374240129</c:v>
                </c:pt>
                <c:pt idx="945" formatCode="0.0%">
                  <c:v>0.10093525889457994</c:v>
                </c:pt>
                <c:pt idx="946" formatCode="0.0%">
                  <c:v>0.10656638355731048</c:v>
                </c:pt>
                <c:pt idx="947" formatCode="0.0%">
                  <c:v>0.10656638355731048</c:v>
                </c:pt>
                <c:pt idx="948" formatCode="0.0%">
                  <c:v>0.10656638355731048</c:v>
                </c:pt>
                <c:pt idx="949" formatCode="0.0%">
                  <c:v>0.10646405253044591</c:v>
                </c:pt>
                <c:pt idx="950" formatCode="0.0%">
                  <c:v>0.10369965571251299</c:v>
                </c:pt>
                <c:pt idx="951" formatCode="0.0%">
                  <c:v>0.10564491795133278</c:v>
                </c:pt>
                <c:pt idx="952" formatCode="0.0%">
                  <c:v>0.10933078037524367</c:v>
                </c:pt>
                <c:pt idx="953" formatCode="0.0%">
                  <c:v>9.9297184282032019E-2</c:v>
                </c:pt>
                <c:pt idx="954" formatCode="0.0%">
                  <c:v>9.9297184282032019E-2</c:v>
                </c:pt>
                <c:pt idx="955" formatCode="0.0%">
                  <c:v>9.9297184282032019E-2</c:v>
                </c:pt>
                <c:pt idx="956" formatCode="0.0%">
                  <c:v>0.10861407409583436</c:v>
                </c:pt>
                <c:pt idx="957" formatCode="0.0%">
                  <c:v>9.7454253070076782E-2</c:v>
                </c:pt>
                <c:pt idx="958" formatCode="0.0%">
                  <c:v>9.9399515308896721E-2</c:v>
                </c:pt>
                <c:pt idx="959" formatCode="0.0%">
                  <c:v>9.2846925040188211E-2</c:v>
                </c:pt>
                <c:pt idx="960" formatCode="0.0%">
                  <c:v>8.1482344687862279E-2</c:v>
                </c:pt>
                <c:pt idx="961" formatCode="0.0%">
                  <c:v>8.1482344687862279E-2</c:v>
                </c:pt>
                <c:pt idx="962" formatCode="0.0%">
                  <c:v>8.1482344687862279E-2</c:v>
                </c:pt>
                <c:pt idx="963" formatCode="0.0%">
                  <c:v>8.62943347714797E-2</c:v>
                </c:pt>
                <c:pt idx="964" formatCode="0.0%">
                  <c:v>9.7044734416939782E-2</c:v>
                </c:pt>
                <c:pt idx="965" formatCode="0.0%">
                  <c:v>0.10154963414712455</c:v>
                </c:pt>
                <c:pt idx="966" formatCode="0.0%">
                  <c:v>0.10062816854114671</c:v>
                </c:pt>
                <c:pt idx="967" formatCode="0.0%">
                  <c:v>9.2949353339892155E-2</c:v>
                </c:pt>
                <c:pt idx="968" formatCode="0.0%">
                  <c:v>9.2949353339892155E-2</c:v>
                </c:pt>
                <c:pt idx="969" formatCode="0.0%">
                  <c:v>9.2949353339892155E-2</c:v>
                </c:pt>
                <c:pt idx="970" formatCode="0.0%">
                  <c:v>0.10369965571251299</c:v>
                </c:pt>
                <c:pt idx="971" formatCode="0.0%">
                  <c:v>0.11465471741170205</c:v>
                </c:pt>
                <c:pt idx="972" formatCode="0.0%">
                  <c:v>0.11424519875856504</c:v>
                </c:pt>
                <c:pt idx="973" formatCode="0.0%">
                  <c:v>0.12140185335886031</c:v>
                </c:pt>
                <c:pt idx="974" formatCode="0.0%">
                  <c:v>0.12878379185480043</c:v>
                </c:pt>
                <c:pt idx="975" formatCode="0.0%">
                  <c:v>0.12878379185480043</c:v>
                </c:pt>
                <c:pt idx="976" formatCode="0.0%">
                  <c:v>0.12878379185480043</c:v>
                </c:pt>
                <c:pt idx="977" formatCode="0.0%">
                  <c:v>0.12991001678734662</c:v>
                </c:pt>
                <c:pt idx="978" formatCode="0.0%">
                  <c:v>0.13328859431214582</c:v>
                </c:pt>
                <c:pt idx="979" formatCode="0.0%">
                  <c:v>0.12888612288166512</c:v>
                </c:pt>
                <c:pt idx="980" formatCode="0.0%">
                  <c:v>0.12458598247804886</c:v>
                </c:pt>
                <c:pt idx="981" formatCode="0.0%">
                  <c:v>0.12663367301657275</c:v>
                </c:pt>
                <c:pt idx="982" formatCode="0.0%">
                  <c:v>0.12663367301657275</c:v>
                </c:pt>
                <c:pt idx="983" formatCode="0.0%">
                  <c:v>0.12663367301657275</c:v>
                </c:pt>
                <c:pt idx="984" formatCode="0.0%">
                  <c:v>0.12857893525539282</c:v>
                </c:pt>
                <c:pt idx="985" formatCode="0.0%">
                  <c:v>0.12724795099627825</c:v>
                </c:pt>
                <c:pt idx="986" formatCode="0.0%">
                  <c:v>0.12632648539030059</c:v>
                </c:pt>
                <c:pt idx="987" formatCode="0.0%">
                  <c:v>0.140353131533695</c:v>
                </c:pt>
                <c:pt idx="988" formatCode="0.0%">
                  <c:v>0.13410772889125894</c:v>
                </c:pt>
                <c:pt idx="989" formatCode="0.0%">
                  <c:v>0.13410772889125894</c:v>
                </c:pt>
                <c:pt idx="990" formatCode="0.0%">
                  <c:v>0.13410772889125894</c:v>
                </c:pt>
                <c:pt idx="991" formatCode="0.0%">
                  <c:v>0.12212877328638826</c:v>
                </c:pt>
                <c:pt idx="992" formatCode="0.0%">
                  <c:v>0.11301664279915428</c:v>
                </c:pt>
                <c:pt idx="993" formatCode="0.0%">
                  <c:v>0.11680483624992988</c:v>
                </c:pt>
                <c:pt idx="994" formatCode="0.0%">
                  <c:v>9.7761343423509853E-2</c:v>
                </c:pt>
                <c:pt idx="995" formatCode="0.0%">
                  <c:v>9.5406562531553052E-2</c:v>
                </c:pt>
                <c:pt idx="996" formatCode="0.0%">
                  <c:v>9.5406562531553052E-2</c:v>
                </c:pt>
                <c:pt idx="997" formatCode="0.0%">
                  <c:v>9.5406562531553052E-2</c:v>
                </c:pt>
                <c:pt idx="998" formatCode="0.0%">
                  <c:v>9.2744594013323647E-2</c:v>
                </c:pt>
                <c:pt idx="999" formatCode="0.0%">
                  <c:v>8.8137265983435353E-2</c:v>
                </c:pt>
                <c:pt idx="1000" formatCode="0.0%">
                  <c:v>8.9775437868822222E-2</c:v>
                </c:pt>
                <c:pt idx="1001" formatCode="0.0%">
                  <c:v>9.3461300292732974E-2</c:v>
                </c:pt>
                <c:pt idx="1002" formatCode="0.0%">
                  <c:v>0.10093525889457994</c:v>
                </c:pt>
                <c:pt idx="1003" formatCode="0.0%">
                  <c:v>9.3133588097384312E-2</c:v>
                </c:pt>
                <c:pt idx="1004" formatCode="0.0%">
                  <c:v>9.3133588097384312E-2</c:v>
                </c:pt>
                <c:pt idx="1005" formatCode="0.0%">
                  <c:v>9.5816081184689775E-2</c:v>
                </c:pt>
                <c:pt idx="1006" formatCode="0.0%">
                  <c:v>8.7727747330298478E-2</c:v>
                </c:pt>
                <c:pt idx="1007" formatCode="0.0%">
                  <c:v>8.4656260158932212E-2</c:v>
                </c:pt>
                <c:pt idx="1008" formatCode="0.0%">
                  <c:v>8.3120516573249148E-2</c:v>
                </c:pt>
                <c:pt idx="1009" formatCode="0.0%">
                  <c:v>8.9775437868822222E-2</c:v>
                </c:pt>
                <c:pt idx="1010" formatCode="0.0%">
                  <c:v>8.9775437868822222E-2</c:v>
                </c:pt>
                <c:pt idx="1011" formatCode="0.0%">
                  <c:v>8.9775437868822222E-2</c:v>
                </c:pt>
                <c:pt idx="1012" formatCode="0.0%">
                  <c:v>9.6225599837826789E-2</c:v>
                </c:pt>
                <c:pt idx="1013" formatCode="0.0%">
                  <c:v>0.11301664279915428</c:v>
                </c:pt>
                <c:pt idx="1014" formatCode="0.0%">
                  <c:v>0.11311897382601899</c:v>
                </c:pt>
                <c:pt idx="1015" formatCode="0.0%">
                  <c:v>0.12243596091266042</c:v>
                </c:pt>
                <c:pt idx="1016" formatCode="0.0%">
                  <c:v>0.11885252678845376</c:v>
                </c:pt>
                <c:pt idx="1017" formatCode="0.0%">
                  <c:v>0.11885252678845376</c:v>
                </c:pt>
                <c:pt idx="1018" formatCode="0.0%">
                  <c:v>0.11885252678845376</c:v>
                </c:pt>
                <c:pt idx="1019" formatCode="0.0%">
                  <c:v>0.12141206700697893</c:v>
                </c:pt>
                <c:pt idx="1020" formatCode="0.0%">
                  <c:v>0.11670240795022593</c:v>
                </c:pt>
                <c:pt idx="1021" formatCode="0.0%">
                  <c:v>0.11260702687317831</c:v>
                </c:pt>
                <c:pt idx="1022" formatCode="0.0%">
                  <c:v>0.10103768719428359</c:v>
                </c:pt>
                <c:pt idx="1023" formatCode="0.0%">
                  <c:v>8.4656260158932212E-2</c:v>
                </c:pt>
                <c:pt idx="1024" formatCode="0.0%">
                  <c:v>8.4656260158932212E-2</c:v>
                </c:pt>
                <c:pt idx="1025" formatCode="0.0%">
                  <c:v>8.4656260158932212E-2</c:v>
                </c:pt>
                <c:pt idx="1026" formatCode="0.0%">
                  <c:v>7.8820376169632875E-2</c:v>
                </c:pt>
                <c:pt idx="1027" formatCode="0.0%">
                  <c:v>8.9058731589412896E-2</c:v>
                </c:pt>
                <c:pt idx="1028" formatCode="0.0%">
                  <c:v>7.9639413475906903E-2</c:v>
                </c:pt>
                <c:pt idx="1029" formatCode="0.0%">
                  <c:v>7.1653507921219273E-2</c:v>
                </c:pt>
                <c:pt idx="1030" formatCode="0.0%">
                  <c:v>6.4896158325942255E-2</c:v>
                </c:pt>
                <c:pt idx="1031" formatCode="0.0%">
                  <c:v>6.4896158325942255E-2</c:v>
                </c:pt>
                <c:pt idx="1032" formatCode="0.0%">
                  <c:v>6.4896158325942255E-2</c:v>
                </c:pt>
                <c:pt idx="1033" formatCode="0.0%">
                  <c:v>6.5408008005943832E-2</c:v>
                </c:pt>
                <c:pt idx="1034" formatCode="0.0%">
                  <c:v>7.8287904647715859E-2</c:v>
                </c:pt>
                <c:pt idx="1035" formatCode="0.0%">
                  <c:v>8.6089575444911623E-2</c:v>
                </c:pt>
                <c:pt idx="1036" formatCode="0.0%">
                  <c:v>0.10083292786771537</c:v>
                </c:pt>
                <c:pt idx="1037" formatCode="0.0%">
                  <c:v>0.10369965571251299</c:v>
                </c:pt>
                <c:pt idx="1038" formatCode="0.0%">
                  <c:v>0.10369965571251299</c:v>
                </c:pt>
                <c:pt idx="1039" formatCode="0.0%">
                  <c:v>0.10369965571251299</c:v>
                </c:pt>
                <c:pt idx="1040" formatCode="0.0%">
                  <c:v>0.10544015862476443</c:v>
                </c:pt>
                <c:pt idx="1041" formatCode="0.0%">
                  <c:v>0.1148594767382707</c:v>
                </c:pt>
                <c:pt idx="1042" formatCode="0.0%">
                  <c:v>0.11281188347258592</c:v>
                </c:pt>
                <c:pt idx="1043" formatCode="0.0%">
                  <c:v>0.11741911422963526</c:v>
                </c:pt>
                <c:pt idx="1044" formatCode="0.0%">
                  <c:v>0.11363092077885995</c:v>
                </c:pt>
                <c:pt idx="1045" formatCode="0.0%">
                  <c:v>0.11363092077885995</c:v>
                </c:pt>
                <c:pt idx="1046" formatCode="0.0%">
                  <c:v>0.11363092077885995</c:v>
                </c:pt>
                <c:pt idx="1047" formatCode="0.0%">
                  <c:v>0.12294781059266199</c:v>
                </c:pt>
                <c:pt idx="1048" formatCode="0.0%">
                  <c:v>0.13267431633244045</c:v>
                </c:pt>
                <c:pt idx="1049" formatCode="0.0%">
                  <c:v>0.13451724754439581</c:v>
                </c:pt>
                <c:pt idx="1050" formatCode="0.0%">
                  <c:v>0.12898855118136893</c:v>
                </c:pt>
                <c:pt idx="1051" formatCode="0.0%">
                  <c:v>0.13113857274675739</c:v>
                </c:pt>
                <c:pt idx="1052" formatCode="0.0%">
                  <c:v>0.13113857274675739</c:v>
                </c:pt>
                <c:pt idx="1053" formatCode="0.0%">
                  <c:v>0.13113857274675739</c:v>
                </c:pt>
                <c:pt idx="1054" formatCode="0.0%">
                  <c:v>0.13134333207332588</c:v>
                </c:pt>
                <c:pt idx="1055" formatCode="0.0%">
                  <c:v>0.1318552790261667</c:v>
                </c:pt>
                <c:pt idx="1056" formatCode="0.0%">
                  <c:v>0.14414132498447046</c:v>
                </c:pt>
                <c:pt idx="1057" formatCode="0.0%">
                  <c:v>0.14393656565790194</c:v>
                </c:pt>
                <c:pt idx="1058" formatCode="0.0%">
                  <c:v>0.14055789086026366</c:v>
                </c:pt>
                <c:pt idx="1059" formatCode="0.0%">
                  <c:v>0.14055789086026366</c:v>
                </c:pt>
                <c:pt idx="1060" formatCode="0.0%">
                  <c:v>0.14055789086026366</c:v>
                </c:pt>
                <c:pt idx="1061" formatCode="0.0%">
                  <c:v>0.14158178476594516</c:v>
                </c:pt>
                <c:pt idx="1062" formatCode="0.0%">
                  <c:v>0.13421005991812351</c:v>
                </c:pt>
                <c:pt idx="1063" formatCode="0.0%">
                  <c:v>0.14332228767819657</c:v>
                </c:pt>
                <c:pt idx="1064" formatCode="0.0%">
                  <c:v>0.14607637357517178</c:v>
                </c:pt>
                <c:pt idx="1065" formatCode="0.0%">
                  <c:v>0.15366307139768026</c:v>
                </c:pt>
                <c:pt idx="1066" formatCode="0.0%">
                  <c:v>0.15366307139768026</c:v>
                </c:pt>
                <c:pt idx="1067" formatCode="0.0%">
                  <c:v>0.15366307139768026</c:v>
                </c:pt>
                <c:pt idx="1068" formatCode="0.0%">
                  <c:v>0.14751999978210889</c:v>
                </c:pt>
                <c:pt idx="1069" formatCode="0.0%">
                  <c:v>0.15141062153258816</c:v>
                </c:pt>
                <c:pt idx="1070" formatCode="0.0%">
                  <c:v>0.15693931789561502</c:v>
                </c:pt>
                <c:pt idx="1071" formatCode="0.0%">
                  <c:v>0.15775845247472817</c:v>
                </c:pt>
                <c:pt idx="1072" formatCode="0.0%">
                  <c:v>0.16226335220491264</c:v>
                </c:pt>
                <c:pt idx="1073" formatCode="0.0%">
                  <c:v>0.16226335220491264</c:v>
                </c:pt>
                <c:pt idx="1074" formatCode="0.0%">
                  <c:v>0.16226335220491264</c:v>
                </c:pt>
                <c:pt idx="1075" formatCode="0.0%">
                  <c:v>0.17526610444262589</c:v>
                </c:pt>
                <c:pt idx="1076" formatCode="0.0%">
                  <c:v>0.17649466040203635</c:v>
                </c:pt>
                <c:pt idx="1077" formatCode="0.0%">
                  <c:v>0.18038528215251573</c:v>
                </c:pt>
                <c:pt idx="1078" formatCode="0.0%">
                  <c:v>0.17833759161399201</c:v>
                </c:pt>
                <c:pt idx="1079" formatCode="0.0%">
                  <c:v>0.18468542255613188</c:v>
                </c:pt>
                <c:pt idx="1080" formatCode="0.0%">
                  <c:v>0.18468542255613188</c:v>
                </c:pt>
                <c:pt idx="1081" formatCode="0.0%">
                  <c:v>0.18468542255613188</c:v>
                </c:pt>
                <c:pt idx="1082" formatCode="0.0%">
                  <c:v>0.18427590390299486</c:v>
                </c:pt>
                <c:pt idx="1083" formatCode="0.0%">
                  <c:v>0.1855044598624056</c:v>
                </c:pt>
                <c:pt idx="1084" formatCode="0.0%">
                  <c:v>0.18888313466004419</c:v>
                </c:pt>
                <c:pt idx="1085" formatCode="0.0%">
                  <c:v>0.18048771045221954</c:v>
                </c:pt>
                <c:pt idx="1086" formatCode="0.0%">
                  <c:v>0.18663068479495196</c:v>
                </c:pt>
                <c:pt idx="1087" formatCode="0.0%">
                  <c:v>0.18663068479495196</c:v>
                </c:pt>
                <c:pt idx="1088" formatCode="0.0%">
                  <c:v>0.18663068479495196</c:v>
                </c:pt>
                <c:pt idx="1089" formatCode="0.0%">
                  <c:v>0.18663068479495196</c:v>
                </c:pt>
                <c:pt idx="1090" formatCode="0.0%">
                  <c:v>0.18663068479495196</c:v>
                </c:pt>
                <c:pt idx="1091" formatCode="0.0%">
                  <c:v>0.18181869471133411</c:v>
                </c:pt>
                <c:pt idx="1092" formatCode="0.0%">
                  <c:v>0.18622116614181494</c:v>
                </c:pt>
                <c:pt idx="1093" formatCode="0.0%">
                  <c:v>0.18775690972749801</c:v>
                </c:pt>
                <c:pt idx="1094" formatCode="0.0%">
                  <c:v>0.18775690972749801</c:v>
                </c:pt>
                <c:pt idx="1095" formatCode="0.0%">
                  <c:v>0.18949750991258868</c:v>
                </c:pt>
                <c:pt idx="1096" formatCode="0.0%">
                  <c:v>0.18949750991258868</c:v>
                </c:pt>
                <c:pt idx="1097" formatCode="0.0%">
                  <c:v>0.18396871627672254</c:v>
                </c:pt>
                <c:pt idx="1098" formatCode="0.0%">
                  <c:v>0.17987333519967477</c:v>
                </c:pt>
                <c:pt idx="1099" formatCode="0.0%">
                  <c:v>0.1773137949811496</c:v>
                </c:pt>
                <c:pt idx="1100" formatCode="0.0%">
                  <c:v>0.17516367614292178</c:v>
                </c:pt>
                <c:pt idx="1101" formatCode="0.0%">
                  <c:v>0.17516367614292178</c:v>
                </c:pt>
                <c:pt idx="1102" formatCode="0.0%">
                  <c:v>0.17516367614292178</c:v>
                </c:pt>
                <c:pt idx="1103" formatCode="0.0%">
                  <c:v>0.18069246977878792</c:v>
                </c:pt>
                <c:pt idx="1104" formatCode="0.0%">
                  <c:v>0.18970226923915717</c:v>
                </c:pt>
                <c:pt idx="1105" formatCode="0.0%">
                  <c:v>0.19359279371679719</c:v>
                </c:pt>
                <c:pt idx="1106" formatCode="0.0%">
                  <c:v>0.19420716896934181</c:v>
                </c:pt>
                <c:pt idx="1107" formatCode="0.0%">
                  <c:v>0.19932634667923183</c:v>
                </c:pt>
                <c:pt idx="1108" formatCode="0.0%">
                  <c:v>0.19932634667923183</c:v>
                </c:pt>
                <c:pt idx="1109" formatCode="0.0%">
                  <c:v>0.19932634667923183</c:v>
                </c:pt>
                <c:pt idx="1110" formatCode="0.0%">
                  <c:v>0.20116927789118705</c:v>
                </c:pt>
                <c:pt idx="1111" formatCode="0.0%">
                  <c:v>0.20761943986019177</c:v>
                </c:pt>
                <c:pt idx="1112" formatCode="0.0%">
                  <c:v>0.19174995977768106</c:v>
                </c:pt>
                <c:pt idx="1113" formatCode="0.0%">
                  <c:v>0.20301211183030346</c:v>
                </c:pt>
                <c:pt idx="1114" formatCode="0.0%">
                  <c:v>0.20874566479273796</c:v>
                </c:pt>
                <c:pt idx="1115" formatCode="0.0%">
                  <c:v>0.20874566479273796</c:v>
                </c:pt>
                <c:pt idx="1116" formatCode="0.0%">
                  <c:v>0.20874566479273796</c:v>
                </c:pt>
                <c:pt idx="1117" formatCode="0.0%">
                  <c:v>0.21908644851222164</c:v>
                </c:pt>
                <c:pt idx="1118" formatCode="0.0%">
                  <c:v>0.21980315479163109</c:v>
                </c:pt>
                <c:pt idx="1119" formatCode="0.0%">
                  <c:v>0.22543427945436151</c:v>
                </c:pt>
                <c:pt idx="1120" formatCode="0.0%">
                  <c:v>0.23311309465561636</c:v>
                </c:pt>
                <c:pt idx="1121" formatCode="0.0%">
                  <c:v>0.23690128810639166</c:v>
                </c:pt>
                <c:pt idx="1122" formatCode="0.0%">
                  <c:v>0.23690128810639166</c:v>
                </c:pt>
                <c:pt idx="1123" formatCode="0.0%">
                  <c:v>0.23690128810639166</c:v>
                </c:pt>
                <c:pt idx="1124" formatCode="0.0%">
                  <c:v>0.24253241276912235</c:v>
                </c:pt>
                <c:pt idx="1125" formatCode="0.0%">
                  <c:v>0.24591108756676092</c:v>
                </c:pt>
                <c:pt idx="1126" formatCode="0.0%">
                  <c:v>0.22970368164078267</c:v>
                </c:pt>
                <c:pt idx="1127" formatCode="0.0%">
                  <c:v>0.23741313778639309</c:v>
                </c:pt>
                <c:pt idx="1128" formatCode="0.0%">
                  <c:v>0.25133745290292309</c:v>
                </c:pt>
                <c:pt idx="1129" formatCode="0.0%">
                  <c:v>0.25133745290292309</c:v>
                </c:pt>
                <c:pt idx="1130" formatCode="0.0%">
                  <c:v>0.25133745290292309</c:v>
                </c:pt>
                <c:pt idx="1131" formatCode="0.0%">
                  <c:v>0.25932335845761073</c:v>
                </c:pt>
                <c:pt idx="1132" formatCode="0.0%">
                  <c:v>0.26178056764927149</c:v>
                </c:pt>
                <c:pt idx="1133" formatCode="0.0%">
                  <c:v>0.26915219522425388</c:v>
                </c:pt>
                <c:pt idx="1134" formatCode="0.0%">
                  <c:v>0.27386185428100673</c:v>
                </c:pt>
                <c:pt idx="1135" formatCode="0.0%">
                  <c:v>0.27416904190727931</c:v>
                </c:pt>
                <c:pt idx="1136" formatCode="0.0%">
                  <c:v>0.27416904190727931</c:v>
                </c:pt>
                <c:pt idx="1137" formatCode="0.0%">
                  <c:v>0.27416904190727931</c:v>
                </c:pt>
                <c:pt idx="1138" formatCode="0.0%">
                  <c:v>0.28266689441480763</c:v>
                </c:pt>
                <c:pt idx="1139" formatCode="0.0%">
                  <c:v>0.27181416374248285</c:v>
                </c:pt>
                <c:pt idx="1140" formatCode="0.0%">
                  <c:v>0.28154066948226131</c:v>
                </c:pt>
                <c:pt idx="1141" formatCode="0.0%">
                  <c:v>0.2867622754918554</c:v>
                </c:pt>
                <c:pt idx="1142" formatCode="0.0%">
                  <c:v>0.28788850042440145</c:v>
                </c:pt>
                <c:pt idx="1143" formatCode="0.0%">
                  <c:v>0.28788850042440145</c:v>
                </c:pt>
                <c:pt idx="1144" formatCode="0.0%">
                  <c:v>0.28788850042440145</c:v>
                </c:pt>
                <c:pt idx="1145" formatCode="0.0%">
                  <c:v>0.28655751616528674</c:v>
                </c:pt>
                <c:pt idx="1146" formatCode="0.0%">
                  <c:v>0.27232611069532381</c:v>
                </c:pt>
                <c:pt idx="1147" formatCode="0.0%">
                  <c:v>0.26997132980336686</c:v>
                </c:pt>
                <c:pt idx="1148" formatCode="0.0%">
                  <c:v>0.29526012799938373</c:v>
                </c:pt>
                <c:pt idx="1149" formatCode="0.0%">
                  <c:v>0.30160795894152359</c:v>
                </c:pt>
                <c:pt idx="1150" formatCode="0.0%">
                  <c:v>0.30160795894152359</c:v>
                </c:pt>
                <c:pt idx="1151" formatCode="0.0%">
                  <c:v>0.30160795894152359</c:v>
                </c:pt>
                <c:pt idx="1152" formatCode="0.0%">
                  <c:v>0.29669354055820207</c:v>
                </c:pt>
                <c:pt idx="1153" formatCode="0.0%">
                  <c:v>0.29382681271340461</c:v>
                </c:pt>
                <c:pt idx="1154" formatCode="0.0%">
                  <c:v>0.29055046894263059</c:v>
                </c:pt>
                <c:pt idx="1155" formatCode="0.0%">
                  <c:v>0.29988788332550942</c:v>
                </c:pt>
                <c:pt idx="1156" formatCode="0.0%">
                  <c:v>0.30754627123052669</c:v>
                </c:pt>
                <c:pt idx="1157" formatCode="0.0%">
                  <c:v>0.30754627123052669</c:v>
                </c:pt>
                <c:pt idx="1158" formatCode="0.0%">
                  <c:v>0.30754627123052669</c:v>
                </c:pt>
                <c:pt idx="1159" formatCode="0.0%">
                  <c:v>0.31440595185266829</c:v>
                </c:pt>
                <c:pt idx="1160" formatCode="0.0%">
                  <c:v>0.30048173400897754</c:v>
                </c:pt>
                <c:pt idx="1161" formatCode="0.0%">
                  <c:v>0.30867249616307274</c:v>
                </c:pt>
                <c:pt idx="1162" formatCode="0.0%">
                  <c:v>0.31819414530344348</c:v>
                </c:pt>
                <c:pt idx="1163" formatCode="0.0%">
                  <c:v>0.32423478861931132</c:v>
                </c:pt>
                <c:pt idx="1164" formatCode="0.0%">
                  <c:v>0.32423478861931132</c:v>
                </c:pt>
                <c:pt idx="1165" formatCode="0.0%">
                  <c:v>0.32423478861931132</c:v>
                </c:pt>
                <c:pt idx="1166" formatCode="0.0%">
                  <c:v>0.30478187441259391</c:v>
                </c:pt>
                <c:pt idx="1167" formatCode="0.0%">
                  <c:v>0.31972988888912679</c:v>
                </c:pt>
                <c:pt idx="1168" formatCode="0.0%">
                  <c:v>0.31870609225628443</c:v>
                </c:pt>
                <c:pt idx="1169" formatCode="0.0%">
                  <c:v>0.3196275578622621</c:v>
                </c:pt>
                <c:pt idx="1170" formatCode="0.0%">
                  <c:v>0.31184631436130361</c:v>
                </c:pt>
                <c:pt idx="1171" formatCode="0.0%">
                  <c:v>0.31184631436130361</c:v>
                </c:pt>
                <c:pt idx="1172" formatCode="0.0%">
                  <c:v>0.31184631436130361</c:v>
                </c:pt>
                <c:pt idx="1173" formatCode="0.0%">
                  <c:v>0.31604412373805502</c:v>
                </c:pt>
                <c:pt idx="1174" formatCode="0.0%">
                  <c:v>0.31461071117923667</c:v>
                </c:pt>
                <c:pt idx="1175" formatCode="0.0%">
                  <c:v>0.31942279853569344</c:v>
                </c:pt>
                <c:pt idx="1176" formatCode="0.0%">
                  <c:v>0.34194729718661676</c:v>
                </c:pt>
                <c:pt idx="1177" formatCode="0.0%">
                  <c:v>0.33856862238897834</c:v>
                </c:pt>
                <c:pt idx="1178" formatCode="0.0%">
                  <c:v>0.33856862238897834</c:v>
                </c:pt>
                <c:pt idx="1179" formatCode="0.0%">
                  <c:v>0.33856862238897834</c:v>
                </c:pt>
                <c:pt idx="1180" formatCode="0.0%">
                  <c:v>0.33856862238897834</c:v>
                </c:pt>
                <c:pt idx="1181" formatCode="0.0%">
                  <c:v>0.3391829003686837</c:v>
                </c:pt>
                <c:pt idx="1182" formatCode="0.0%">
                  <c:v>0.33539470691790824</c:v>
                </c:pt>
                <c:pt idx="1183" formatCode="0.0%">
                  <c:v>0.34389255942543656</c:v>
                </c:pt>
                <c:pt idx="1184" formatCode="0.0%">
                  <c:v>0.34389255942543656</c:v>
                </c:pt>
                <c:pt idx="1185" formatCode="0.0%">
                  <c:v>0.34389255942543656</c:v>
                </c:pt>
                <c:pt idx="1186" formatCode="0.0%">
                  <c:v>0.34243871957038097</c:v>
                </c:pt>
                <c:pt idx="1187" formatCode="0.0%">
                  <c:v>0.34243871957038097</c:v>
                </c:pt>
                <c:pt idx="1188" formatCode="0.0%">
                  <c:v>0.33211836314713422</c:v>
                </c:pt>
                <c:pt idx="1189" formatCode="0.0%">
                  <c:v>0.33641850355075037</c:v>
                </c:pt>
                <c:pt idx="1190" formatCode="0.0%">
                  <c:v>0.33488275996506756</c:v>
                </c:pt>
                <c:pt idx="1191" formatCode="0.0%">
                  <c:v>0.32658966678410761</c:v>
                </c:pt>
                <c:pt idx="1192" formatCode="0.0%">
                  <c:v>0.32658966678410761</c:v>
                </c:pt>
                <c:pt idx="1193" formatCode="0.0%">
                  <c:v>0.32658966678410761</c:v>
                </c:pt>
                <c:pt idx="1194" formatCode="0.0%">
                  <c:v>0.33150408516742913</c:v>
                </c:pt>
                <c:pt idx="1195" formatCode="0.0%">
                  <c:v>0.31993474548853468</c:v>
                </c:pt>
                <c:pt idx="1196" formatCode="0.0%">
                  <c:v>0.33027552920801811</c:v>
                </c:pt>
                <c:pt idx="1197" formatCode="0.0%">
                  <c:v>0.33365420400565682</c:v>
                </c:pt>
                <c:pt idx="1198" formatCode="0.0%">
                  <c:v>0.33733996915672831</c:v>
                </c:pt>
                <c:pt idx="1199" formatCode="0.0%">
                  <c:v>0.33733996915672831</c:v>
                </c:pt>
                <c:pt idx="1200" formatCode="0.0%">
                  <c:v>0.33733996915672831</c:v>
                </c:pt>
                <c:pt idx="1201" formatCode="0.0%">
                  <c:v>0.33570179727134131</c:v>
                </c:pt>
                <c:pt idx="1202" formatCode="0.0%">
                  <c:v>0.31235826131414457</c:v>
                </c:pt>
                <c:pt idx="1203" formatCode="0.0%">
                  <c:v>0.3117439833344392</c:v>
                </c:pt>
                <c:pt idx="1204" formatCode="0.0%">
                  <c:v>0.30897958651650581</c:v>
                </c:pt>
                <c:pt idx="1205" formatCode="0.0%">
                  <c:v>0.29198388150144894</c:v>
                </c:pt>
                <c:pt idx="1206" formatCode="0.0%">
                  <c:v>0.29198388150144894</c:v>
                </c:pt>
                <c:pt idx="1207" formatCode="0.0%">
                  <c:v>0.29198388150144894</c:v>
                </c:pt>
                <c:pt idx="1208" formatCode="0.0%">
                  <c:v>0.28788850042440145</c:v>
                </c:pt>
                <c:pt idx="1209" formatCode="0.0%">
                  <c:v>0.30416759643288827</c:v>
                </c:pt>
                <c:pt idx="1210" formatCode="0.0%">
                  <c:v>0.30529382136543431</c:v>
                </c:pt>
                <c:pt idx="1211" formatCode="0.0%">
                  <c:v>0.29116474692233624</c:v>
                </c:pt>
                <c:pt idx="1212" formatCode="0.0%">
                  <c:v>0.32310856368676527</c:v>
                </c:pt>
                <c:pt idx="1213" formatCode="0.0%">
                  <c:v>0.32310856368676527</c:v>
                </c:pt>
                <c:pt idx="1214" formatCode="0.0%">
                  <c:v>0.32310856368676527</c:v>
                </c:pt>
                <c:pt idx="1215" formatCode="0.0%">
                  <c:v>0.32310856368676527</c:v>
                </c:pt>
                <c:pt idx="1216" formatCode="0.0%">
                  <c:v>0.31059723383281634</c:v>
                </c:pt>
                <c:pt idx="1217" formatCode="0.0%">
                  <c:v>0.31059723383281634</c:v>
                </c:pt>
                <c:pt idx="1218" formatCode="0.0%">
                  <c:v>0.31143679570816685</c:v>
                </c:pt>
                <c:pt idx="1219" formatCode="0.0%">
                  <c:v>0.32126572974764911</c:v>
                </c:pt>
                <c:pt idx="1220" formatCode="0.0%">
                  <c:v>0.32126572974764911</c:v>
                </c:pt>
                <c:pt idx="1221" formatCode="0.0%">
                  <c:v>0.32126572974764911</c:v>
                </c:pt>
                <c:pt idx="1222" formatCode="0.0%">
                  <c:v>0.3335517757059529</c:v>
                </c:pt>
                <c:pt idx="1223" formatCode="0.0%">
                  <c:v>0.34389255942543656</c:v>
                </c:pt>
                <c:pt idx="1224" formatCode="0.0%">
                  <c:v>0.34379013112573259</c:v>
                </c:pt>
                <c:pt idx="1225" formatCode="0.0%">
                  <c:v>0.34379013112573259</c:v>
                </c:pt>
                <c:pt idx="1226" formatCode="0.0%">
                  <c:v>0.34379013112573259</c:v>
                </c:pt>
                <c:pt idx="1227" formatCode="0.0%">
                  <c:v>0.34379013112573259</c:v>
                </c:pt>
                <c:pt idx="1228" formatCode="0.0%">
                  <c:v>0.34379013112573259</c:v>
                </c:pt>
                <c:pt idx="1229" formatCode="0.0%">
                  <c:v>0.34716880592337135</c:v>
                </c:pt>
                <c:pt idx="1230" formatCode="0.0%">
                  <c:v>0.34553073131082357</c:v>
                </c:pt>
                <c:pt idx="1231" formatCode="0.0%">
                  <c:v>0.3571000709897183</c:v>
                </c:pt>
                <c:pt idx="1232" formatCode="0.0%">
                  <c:v>0.36795280166204292</c:v>
                </c:pt>
                <c:pt idx="1233" formatCode="0.0%">
                  <c:v>0.36324314260528978</c:v>
                </c:pt>
                <c:pt idx="1234" formatCode="0.0%">
                  <c:v>0.36324314260528978</c:v>
                </c:pt>
                <c:pt idx="1235" formatCode="0.0%">
                  <c:v>0.36324314260528978</c:v>
                </c:pt>
                <c:pt idx="1236" formatCode="0.0%">
                  <c:v>0.36324314260528978</c:v>
                </c:pt>
                <c:pt idx="1237" formatCode="0.0%">
                  <c:v>0.36559792349724629</c:v>
                </c:pt>
                <c:pt idx="1238" formatCode="0.0%">
                  <c:v>0.36877183896831667</c:v>
                </c:pt>
                <c:pt idx="1239" formatCode="0.0%">
                  <c:v>0.37286722004536416</c:v>
                </c:pt>
                <c:pt idx="1240" formatCode="0.0%">
                  <c:v>0.36774804233547459</c:v>
                </c:pt>
                <c:pt idx="1241" formatCode="0.0%">
                  <c:v>0.36774804233547459</c:v>
                </c:pt>
                <c:pt idx="1242" formatCode="0.0%">
                  <c:v>0.36774804233547459</c:v>
                </c:pt>
                <c:pt idx="1243" formatCode="0.0%">
                  <c:v>0.36928378592115735</c:v>
                </c:pt>
                <c:pt idx="1244" formatCode="0.0%">
                  <c:v>0.36416460821126717</c:v>
                </c:pt>
                <c:pt idx="1245" formatCode="0.0%">
                  <c:v>0.36508607381724489</c:v>
                </c:pt>
                <c:pt idx="1246" formatCode="0.0%">
                  <c:v>0.35290235888580584</c:v>
                </c:pt>
                <c:pt idx="1247" formatCode="0.0%">
                  <c:v>0.35619912995281683</c:v>
                </c:pt>
                <c:pt idx="1248" formatCode="0.0%">
                  <c:v>0.35619912995281683</c:v>
                </c:pt>
                <c:pt idx="1249" formatCode="0.0%">
                  <c:v>0.35619912995281683</c:v>
                </c:pt>
                <c:pt idx="1250" formatCode="0.0%">
                  <c:v>0.34901173713532641</c:v>
                </c:pt>
                <c:pt idx="1251" formatCode="0.0%">
                  <c:v>0.34788551220278036</c:v>
                </c:pt>
                <c:pt idx="1252" formatCode="0.0%">
                  <c:v>0.34788551220278036</c:v>
                </c:pt>
                <c:pt idx="1253" formatCode="0.0%">
                  <c:v>0.37225294206565906</c:v>
                </c:pt>
                <c:pt idx="1254" formatCode="0.0%">
                  <c:v>0.37860077300779893</c:v>
                </c:pt>
                <c:pt idx="1255" formatCode="0.0%">
                  <c:v>0.37860077300779893</c:v>
                </c:pt>
                <c:pt idx="1256" formatCode="0.0%">
                  <c:v>0.37860077300779893</c:v>
                </c:pt>
                <c:pt idx="1257" formatCode="0.0%">
                  <c:v>0.3845389880239628</c:v>
                </c:pt>
                <c:pt idx="1258" formatCode="0.0%">
                  <c:v>0.38515326600366817</c:v>
                </c:pt>
                <c:pt idx="1259" formatCode="0.0%">
                  <c:v>0.39139876591894335</c:v>
                </c:pt>
                <c:pt idx="1260" formatCode="0.0%">
                  <c:v>0.39406073443717277</c:v>
                </c:pt>
                <c:pt idx="1261" formatCode="0.0%">
                  <c:v>0.40368481187724714</c:v>
                </c:pt>
                <c:pt idx="1262" formatCode="0.0%">
                  <c:v>0.40368481187724714</c:v>
                </c:pt>
                <c:pt idx="1263" formatCode="0.0%">
                  <c:v>0.40368481187724714</c:v>
                </c:pt>
                <c:pt idx="1264" formatCode="0.0%">
                  <c:v>0.39928234044676658</c:v>
                </c:pt>
                <c:pt idx="1265" formatCode="0.0%">
                  <c:v>0.4089064178868409</c:v>
                </c:pt>
                <c:pt idx="1266" formatCode="0.0%">
                  <c:v>0.41279703963732006</c:v>
                </c:pt>
                <c:pt idx="1267" formatCode="0.0%">
                  <c:v>0.41842816430005086</c:v>
                </c:pt>
                <c:pt idx="1268" formatCode="0.0%">
                  <c:v>0.41310412999075341</c:v>
                </c:pt>
                <c:pt idx="1269" formatCode="0.0%">
                  <c:v>0.41310412999075341</c:v>
                </c:pt>
                <c:pt idx="1270" formatCode="0.0%">
                  <c:v>0.41310412999075341</c:v>
                </c:pt>
                <c:pt idx="1271" formatCode="0.0%">
                  <c:v>0.40696115564802116</c:v>
                </c:pt>
                <c:pt idx="1272" formatCode="0.0%">
                  <c:v>0.40859923026056888</c:v>
                </c:pt>
                <c:pt idx="1273" formatCode="0.0%">
                  <c:v>0.41330888931732174</c:v>
                </c:pt>
                <c:pt idx="1274" formatCode="0.0%">
                  <c:v>0.41371840797045878</c:v>
                </c:pt>
                <c:pt idx="1275" formatCode="0.0%">
                  <c:v>0.41863292362661925</c:v>
                </c:pt>
                <c:pt idx="1276" formatCode="0.0%">
                  <c:v>0.41863292362661925</c:v>
                </c:pt>
                <c:pt idx="1277" formatCode="0.0%">
                  <c:v>0.40696115564802116</c:v>
                </c:pt>
                <c:pt idx="1278" formatCode="0.0%">
                  <c:v>0.39969185909990357</c:v>
                </c:pt>
                <c:pt idx="1279" formatCode="0.0%">
                  <c:v>0.40245625591783635</c:v>
                </c:pt>
                <c:pt idx="1280" formatCode="0.0%">
                  <c:v>0.40685872734831718</c:v>
                </c:pt>
                <c:pt idx="1281" formatCode="0.0%">
                  <c:v>0.41371840797045878</c:v>
                </c:pt>
                <c:pt idx="1282" formatCode="0.0%">
                  <c:v>0.41382083627016242</c:v>
                </c:pt>
                <c:pt idx="1283" formatCode="0.0%">
                  <c:v>0.41382083627016242</c:v>
                </c:pt>
                <c:pt idx="1284" formatCode="0.0%">
                  <c:v>0.41382083627016242</c:v>
                </c:pt>
                <c:pt idx="1285" formatCode="0.0%">
                  <c:v>0.41781378904750655</c:v>
                </c:pt>
                <c:pt idx="1286" formatCode="0.0%">
                  <c:v>0.42098770451857631</c:v>
                </c:pt>
                <c:pt idx="1287" formatCode="0.0%">
                  <c:v>0.42170441079798565</c:v>
                </c:pt>
                <c:pt idx="1288" formatCode="0.0%">
                  <c:v>0.42272820743082773</c:v>
                </c:pt>
                <c:pt idx="1289" formatCode="0.0%">
                  <c:v>0.42887127904639927</c:v>
                </c:pt>
                <c:pt idx="1290" formatCode="0.0%">
                  <c:v>0.42887127904639927</c:v>
                </c:pt>
                <c:pt idx="1291" formatCode="0.0%">
                  <c:v>0.42887127904639927</c:v>
                </c:pt>
                <c:pt idx="1292" formatCode="0.0%">
                  <c:v>0.42354734200994104</c:v>
                </c:pt>
                <c:pt idx="1293" formatCode="0.0%">
                  <c:v>0.42375210133650965</c:v>
                </c:pt>
                <c:pt idx="1294" formatCode="0.0%">
                  <c:v>0.39887272452079031</c:v>
                </c:pt>
                <c:pt idx="1295" formatCode="0.0%">
                  <c:v>0.39211547219835269</c:v>
                </c:pt>
                <c:pt idx="1296" formatCode="0.0%">
                  <c:v>0.38023884762034671</c:v>
                </c:pt>
                <c:pt idx="1297" formatCode="0.0%">
                  <c:v>0.38023884762034671</c:v>
                </c:pt>
                <c:pt idx="1298" formatCode="0.0%">
                  <c:v>0.38023884762034671</c:v>
                </c:pt>
                <c:pt idx="1299" formatCode="0.0%">
                  <c:v>0.3882248504478733</c:v>
                </c:pt>
                <c:pt idx="1300" formatCode="0.0%">
                  <c:v>0.39600599667599257</c:v>
                </c:pt>
                <c:pt idx="1301" formatCode="0.0%">
                  <c:v>0.37471015125731955</c:v>
                </c:pt>
                <c:pt idx="1302" formatCode="0.0%">
                  <c:v>0.36293595497901721</c:v>
                </c:pt>
                <c:pt idx="1303" formatCode="0.0%">
                  <c:v>0.35454053077119257</c:v>
                </c:pt>
                <c:pt idx="1304" formatCode="0.0%">
                  <c:v>0.35454053077119257</c:v>
                </c:pt>
                <c:pt idx="1305" formatCode="0.0%">
                  <c:v>0.35454053077119257</c:v>
                </c:pt>
                <c:pt idx="1306" formatCode="0.0%">
                  <c:v>0.36385742058499515</c:v>
                </c:pt>
                <c:pt idx="1307" formatCode="0.0%">
                  <c:v>0.36150263969303809</c:v>
                </c:pt>
                <c:pt idx="1308" formatCode="0.0%">
                  <c:v>0.37724926417960775</c:v>
                </c:pt>
                <c:pt idx="1309" formatCode="0.0%">
                  <c:v>0.37225294206565906</c:v>
                </c:pt>
                <c:pt idx="1310" formatCode="0.0%">
                  <c:v>0.31901327988255701</c:v>
                </c:pt>
                <c:pt idx="1311" formatCode="0.0%">
                  <c:v>0.31901327988255701</c:v>
                </c:pt>
                <c:pt idx="1312" formatCode="0.0%">
                  <c:v>0.31901327988255701</c:v>
                </c:pt>
                <c:pt idx="1313" formatCode="0.0%">
                  <c:v>0.28287165374137602</c:v>
                </c:pt>
                <c:pt idx="1314" formatCode="0.0%">
                  <c:v>0.30764860225739116</c:v>
                </c:pt>
                <c:pt idx="1315" formatCode="0.0%">
                  <c:v>0.32403002929274294</c:v>
                </c:pt>
                <c:pt idx="1316" formatCode="0.0%">
                  <c:v>0.32331332301333388</c:v>
                </c:pt>
                <c:pt idx="1317" formatCode="0.0%">
                  <c:v>0.33242555077340652</c:v>
                </c:pt>
                <c:pt idx="1318" formatCode="0.0%">
                  <c:v>0.33242555077340652</c:v>
                </c:pt>
                <c:pt idx="1319" formatCode="0.0%">
                  <c:v>0.33242555077340652</c:v>
                </c:pt>
                <c:pt idx="1320" formatCode="0.0%">
                  <c:v>0.33897814104211504</c:v>
                </c:pt>
                <c:pt idx="1321" formatCode="0.0%">
                  <c:v>0.34460926570484618</c:v>
                </c:pt>
                <c:pt idx="1322" formatCode="0.0%">
                  <c:v>0.3454283030111196</c:v>
                </c:pt>
                <c:pt idx="1323" formatCode="0.0%">
                  <c:v>0.37245770139222711</c:v>
                </c:pt>
                <c:pt idx="1324" formatCode="0.0%">
                  <c:v>0.378907863361232</c:v>
                </c:pt>
                <c:pt idx="1325" formatCode="0.0%">
                  <c:v>0.378907863361232</c:v>
                </c:pt>
                <c:pt idx="1326" formatCode="0.0%">
                  <c:v>0.378907863361232</c:v>
                </c:pt>
                <c:pt idx="1327" formatCode="0.0%">
                  <c:v>0.37901029166093564</c:v>
                </c:pt>
                <c:pt idx="1328" formatCode="0.0%">
                  <c:v>0.37911262268780033</c:v>
                </c:pt>
                <c:pt idx="1329" formatCode="0.0%">
                  <c:v>0.37655308246927516</c:v>
                </c:pt>
                <c:pt idx="1330" formatCode="0.0%">
                  <c:v>0.38351519139112045</c:v>
                </c:pt>
                <c:pt idx="1331" formatCode="0.0%">
                  <c:v>0.36877183896831667</c:v>
                </c:pt>
                <c:pt idx="1332" formatCode="0.0%">
                  <c:v>0.36877183896831667</c:v>
                </c:pt>
                <c:pt idx="1333" formatCode="0.0%">
                  <c:v>0.36877183896831667</c:v>
                </c:pt>
                <c:pt idx="1334" formatCode="0.0%">
                  <c:v>0.37061477018027178</c:v>
                </c:pt>
                <c:pt idx="1335" formatCode="0.0%">
                  <c:v>0.37194575443938649</c:v>
                </c:pt>
                <c:pt idx="1336" formatCode="0.0%">
                  <c:v>0.37163866408595342</c:v>
                </c:pt>
                <c:pt idx="1337" formatCode="0.0%">
                  <c:v>0.38965816573385242</c:v>
                </c:pt>
                <c:pt idx="1338" formatCode="0.0%">
                  <c:v>0.38863436910101029</c:v>
                </c:pt>
                <c:pt idx="1339" formatCode="0.0%">
                  <c:v>0.3944804667384284</c:v>
                </c:pt>
                <c:pt idx="1340" formatCode="0.0%">
                  <c:v>0.3944804667384284</c:v>
                </c:pt>
                <c:pt idx="1341" formatCode="0.0%">
                  <c:v>0.39518695936971882</c:v>
                </c:pt>
                <c:pt idx="1342" formatCode="0.0%">
                  <c:v>0.37634832314270683</c:v>
                </c:pt>
                <c:pt idx="1343" formatCode="0.0%">
                  <c:v>0.36314071430558559</c:v>
                </c:pt>
                <c:pt idx="1344" formatCode="0.0%">
                  <c:v>0.35771444624226262</c:v>
                </c:pt>
                <c:pt idx="1345" formatCode="0.0%">
                  <c:v>0.33682802220388736</c:v>
                </c:pt>
                <c:pt idx="1346" formatCode="0.0%">
                  <c:v>0.33682802220388736</c:v>
                </c:pt>
                <c:pt idx="1347" formatCode="0.0%">
                  <c:v>0.33682802220388736</c:v>
                </c:pt>
                <c:pt idx="1348" formatCode="0.0%">
                  <c:v>0.35136661530012275</c:v>
                </c:pt>
                <c:pt idx="1349" formatCode="0.0%">
                  <c:v>0.35617860538374058</c:v>
                </c:pt>
                <c:pt idx="1350" formatCode="0.0%">
                  <c:v>0.34993320274130413</c:v>
                </c:pt>
                <c:pt idx="1351" formatCode="0.0%">
                  <c:v>0.38105798219945941</c:v>
                </c:pt>
                <c:pt idx="1352" formatCode="0.0%">
                  <c:v>0.39211547219835269</c:v>
                </c:pt>
                <c:pt idx="1353" formatCode="0.0%">
                  <c:v>0.39211547219835269</c:v>
                </c:pt>
                <c:pt idx="1354" formatCode="0.0%">
                  <c:v>0.39211547219835269</c:v>
                </c:pt>
                <c:pt idx="1355" formatCode="0.0%">
                  <c:v>0.38525569430337187</c:v>
                </c:pt>
                <c:pt idx="1356" formatCode="0.0%">
                  <c:v>0.39436792206344479</c:v>
                </c:pt>
                <c:pt idx="1357" formatCode="0.0%">
                  <c:v>0.38546045362994052</c:v>
                </c:pt>
                <c:pt idx="1358" formatCode="0.0%">
                  <c:v>0.40245625591783635</c:v>
                </c:pt>
                <c:pt idx="1359" formatCode="0.0%">
                  <c:v>0.39272975017805806</c:v>
                </c:pt>
                <c:pt idx="1360" formatCode="0.0%">
                  <c:v>0.39272975017805806</c:v>
                </c:pt>
                <c:pt idx="1361" formatCode="0.0%">
                  <c:v>0.39272975017805806</c:v>
                </c:pt>
                <c:pt idx="1362" formatCode="0.0%">
                  <c:v>0.40173954963842734</c:v>
                </c:pt>
                <c:pt idx="1363" formatCode="0.0%">
                  <c:v>0.40020380605274425</c:v>
                </c:pt>
                <c:pt idx="1364" formatCode="0.0%">
                  <c:v>0.40378724017695106</c:v>
                </c:pt>
                <c:pt idx="1365" formatCode="0.0%">
                  <c:v>0.41095410842536467</c:v>
                </c:pt>
                <c:pt idx="1366" formatCode="0.0%">
                  <c:v>0.41289937066418475</c:v>
                </c:pt>
                <c:pt idx="1367" formatCode="0.0%">
                  <c:v>0.41289937066418475</c:v>
                </c:pt>
                <c:pt idx="1368" formatCode="0.0%">
                  <c:v>0.41289937066418475</c:v>
                </c:pt>
                <c:pt idx="1369" formatCode="0.0%">
                  <c:v>0.40515917630137949</c:v>
                </c:pt>
                <c:pt idx="1370" formatCode="0.0%">
                  <c:v>0.39969185909990357</c:v>
                </c:pt>
                <c:pt idx="1371" formatCode="0.0%">
                  <c:v>0.40552774308920247</c:v>
                </c:pt>
                <c:pt idx="1372" formatCode="0.0%">
                  <c:v>0.40399199950351972</c:v>
                </c:pt>
                <c:pt idx="1373" formatCode="0.0%">
                  <c:v>0.41187557403134234</c:v>
                </c:pt>
                <c:pt idx="1374" formatCode="0.0%">
                  <c:v>0.41187557403134234</c:v>
                </c:pt>
                <c:pt idx="1375" formatCode="0.0%">
                  <c:v>0.41187557403134234</c:v>
                </c:pt>
                <c:pt idx="1376" formatCode="0.0%">
                  <c:v>0.41361607694359409</c:v>
                </c:pt>
                <c:pt idx="1377" formatCode="0.0%">
                  <c:v>0.41453754254957176</c:v>
                </c:pt>
                <c:pt idx="1378" formatCode="0.0%">
                  <c:v>0.42262587640396332</c:v>
                </c:pt>
                <c:pt idx="1379" formatCode="0.0%">
                  <c:v>0.42794981344042154</c:v>
                </c:pt>
                <c:pt idx="1380" formatCode="0.0%">
                  <c:v>0.43736913155392787</c:v>
                </c:pt>
                <c:pt idx="1381" formatCode="0.0%">
                  <c:v>0.43736913155392787</c:v>
                </c:pt>
                <c:pt idx="1382" formatCode="0.0%">
                  <c:v>0.43736913155392787</c:v>
                </c:pt>
                <c:pt idx="1383" formatCode="0.0%">
                  <c:v>0.45057674039104856</c:v>
                </c:pt>
                <c:pt idx="1384" formatCode="0.0%">
                  <c:v>0.44586708133429537</c:v>
                </c:pt>
                <c:pt idx="1385" formatCode="0.0%">
                  <c:v>0.44340977486979566</c:v>
                </c:pt>
                <c:pt idx="1386" formatCode="0.0%">
                  <c:v>0.45354579926271071</c:v>
                </c:pt>
                <c:pt idx="1387" formatCode="0.0%">
                  <c:v>0.45160053702389091</c:v>
                </c:pt>
                <c:pt idx="1388" formatCode="0.0%">
                  <c:v>0.45160053702389091</c:v>
                </c:pt>
                <c:pt idx="1389" formatCode="0.0%">
                  <c:v>0.45160053702389091</c:v>
                </c:pt>
                <c:pt idx="1390" formatCode="0.0%">
                  <c:v>0.45180529635045957</c:v>
                </c:pt>
                <c:pt idx="1391" formatCode="0.0%">
                  <c:v>0.45303394958270926</c:v>
                </c:pt>
                <c:pt idx="1392" formatCode="0.0%">
                  <c:v>0.4498600341116395</c:v>
                </c:pt>
                <c:pt idx="1393" formatCode="0.0%">
                  <c:v>0.44085023465127021</c:v>
                </c:pt>
                <c:pt idx="1394" formatCode="0.0%">
                  <c:v>0.44945051545850245</c:v>
                </c:pt>
                <c:pt idx="1395" formatCode="0.0%">
                  <c:v>0.44945051545850245</c:v>
                </c:pt>
                <c:pt idx="1396" formatCode="0.0%">
                  <c:v>0.44945051545850245</c:v>
                </c:pt>
                <c:pt idx="1397" formatCode="0.0%">
                  <c:v>0.44269316586322532</c:v>
                </c:pt>
                <c:pt idx="1398" formatCode="0.0%">
                  <c:v>0.44607184066086403</c:v>
                </c:pt>
                <c:pt idx="1399" formatCode="0.0%">
                  <c:v>0.44259073756352163</c:v>
                </c:pt>
                <c:pt idx="1400" formatCode="0.0%">
                  <c:v>0.40699179659237672</c:v>
                </c:pt>
                <c:pt idx="1401" formatCode="0.0%">
                  <c:v>0.42467356694248737</c:v>
                </c:pt>
                <c:pt idx="1402" formatCode="0.0%">
                  <c:v>0.42467356694248737</c:v>
                </c:pt>
                <c:pt idx="1403" formatCode="0.0%">
                  <c:v>0.42467356694248737</c:v>
                </c:pt>
                <c:pt idx="1404" formatCode="0.0%">
                  <c:v>0.41996390788573396</c:v>
                </c:pt>
                <c:pt idx="1405" formatCode="0.0%">
                  <c:v>0.42467356694248737</c:v>
                </c:pt>
                <c:pt idx="1406" formatCode="0.0%">
                  <c:v>0.46081509581082825</c:v>
                </c:pt>
                <c:pt idx="1407" formatCode="0.0%">
                  <c:v>0.47054160155060687</c:v>
                </c:pt>
                <c:pt idx="1408" formatCode="0.0%">
                  <c:v>0.48170142257636483</c:v>
                </c:pt>
                <c:pt idx="1409" formatCode="0.0%">
                  <c:v>0.48170142257636483</c:v>
                </c:pt>
                <c:pt idx="1410" formatCode="0.0%">
                  <c:v>0.48170142257636483</c:v>
                </c:pt>
                <c:pt idx="1411" formatCode="0.0%">
                  <c:v>0.49470417481407764</c:v>
                </c:pt>
                <c:pt idx="1412" formatCode="0.0%">
                  <c:v>0.48917547845105103</c:v>
                </c:pt>
                <c:pt idx="1413" formatCode="0.0%">
                  <c:v>0.48620632230654903</c:v>
                </c:pt>
                <c:pt idx="1414" formatCode="0.0%">
                  <c:v>0.48917547845105103</c:v>
                </c:pt>
                <c:pt idx="1415" formatCode="0.0%">
                  <c:v>0.46685573912669609</c:v>
                </c:pt>
                <c:pt idx="1416" formatCode="0.0%">
                  <c:v>0.46685573912669609</c:v>
                </c:pt>
                <c:pt idx="1417" formatCode="0.0%">
                  <c:v>0.46685573912669609</c:v>
                </c:pt>
                <c:pt idx="1418" formatCode="0.0%">
                  <c:v>0.46091752411053222</c:v>
                </c:pt>
                <c:pt idx="1419" formatCode="0.0%">
                  <c:v>0.4596888708782822</c:v>
                </c:pt>
                <c:pt idx="1420" formatCode="0.0%">
                  <c:v>0.46849391101208282</c:v>
                </c:pt>
                <c:pt idx="1421" formatCode="0.0%">
                  <c:v>0.47463698262765464</c:v>
                </c:pt>
                <c:pt idx="1422" formatCode="0.0%">
                  <c:v>0.49951626217053446</c:v>
                </c:pt>
                <c:pt idx="1423" formatCode="0.0%">
                  <c:v>0.49951626217053446</c:v>
                </c:pt>
                <c:pt idx="1424" formatCode="0.0%">
                  <c:v>0.49951626217053446</c:v>
                </c:pt>
                <c:pt idx="1425" formatCode="0.0%">
                  <c:v>0.49695662467917001</c:v>
                </c:pt>
                <c:pt idx="1426" formatCode="0.0%">
                  <c:v>0.50084724642964917</c:v>
                </c:pt>
                <c:pt idx="1427" formatCode="0.0%">
                  <c:v>0.48661584095968607</c:v>
                </c:pt>
                <c:pt idx="1428" formatCode="0.0%">
                  <c:v>0.49234939392212085</c:v>
                </c:pt>
                <c:pt idx="1429" formatCode="0.0%">
                  <c:v>0.49501136244034993</c:v>
                </c:pt>
                <c:pt idx="1430" formatCode="0.0%">
                  <c:v>0.49654710602603302</c:v>
                </c:pt>
                <c:pt idx="1431" formatCode="0.0%">
                  <c:v>0.49654710602603302</c:v>
                </c:pt>
                <c:pt idx="1432" formatCode="0.0%">
                  <c:v>0.51344048001422549</c:v>
                </c:pt>
                <c:pt idx="1433" formatCode="0.0%">
                  <c:v>0.51036899284285908</c:v>
                </c:pt>
                <c:pt idx="1434" formatCode="0.0%">
                  <c:v>0.52808140413732529</c:v>
                </c:pt>
                <c:pt idx="1435" formatCode="0.0%">
                  <c:v>0.5206073482626391</c:v>
                </c:pt>
                <c:pt idx="1436" formatCode="0.0%">
                  <c:v>0.52470272933968654</c:v>
                </c:pt>
                <c:pt idx="1437" formatCode="0.0%">
                  <c:v>0.52470272933968654</c:v>
                </c:pt>
                <c:pt idx="1438" formatCode="0.0%">
                  <c:v>0.52470272933968654</c:v>
                </c:pt>
                <c:pt idx="1439" formatCode="0.0%">
                  <c:v>0.51559050157961361</c:v>
                </c:pt>
                <c:pt idx="1440" formatCode="0.0%">
                  <c:v>0.51866208602381902</c:v>
                </c:pt>
                <c:pt idx="1441" formatCode="0.0%">
                  <c:v>0.5246003010399829</c:v>
                </c:pt>
                <c:pt idx="1442" formatCode="0.0%">
                  <c:v>0.52664799157850661</c:v>
                </c:pt>
                <c:pt idx="1443" formatCode="0.0%">
                  <c:v>0.51733110176470465</c:v>
                </c:pt>
                <c:pt idx="1444" formatCode="0.0%">
                  <c:v>0.51733110176470465</c:v>
                </c:pt>
                <c:pt idx="1445" formatCode="0.0%">
                  <c:v>0.51733110176470465</c:v>
                </c:pt>
                <c:pt idx="1446" formatCode="0.0%">
                  <c:v>0.525726525972529</c:v>
                </c:pt>
                <c:pt idx="1447" formatCode="0.0%">
                  <c:v>0.51743343279156906</c:v>
                </c:pt>
                <c:pt idx="1448" formatCode="0.0%">
                  <c:v>0.52644323225193834</c:v>
                </c:pt>
                <c:pt idx="1449" formatCode="0.0%">
                  <c:v>0.48907305015134683</c:v>
                </c:pt>
                <c:pt idx="1450" formatCode="0.0%">
                  <c:v>0.48579680365341232</c:v>
                </c:pt>
                <c:pt idx="1451" formatCode="0.0%">
                  <c:v>0.48579680365341232</c:v>
                </c:pt>
                <c:pt idx="1452" formatCode="0.0%">
                  <c:v>0.48579680365341232</c:v>
                </c:pt>
                <c:pt idx="1453" formatCode="0.0%">
                  <c:v>0.48968742540389171</c:v>
                </c:pt>
                <c:pt idx="1454" formatCode="0.0%">
                  <c:v>0.48968742540389171</c:v>
                </c:pt>
                <c:pt idx="1455" formatCode="0.0%">
                  <c:v>0.48968742540389171</c:v>
                </c:pt>
                <c:pt idx="1456" formatCode="0.0%">
                  <c:v>0.48968742540389171</c:v>
                </c:pt>
                <c:pt idx="1457" formatCode="0.0%">
                  <c:v>0.49378270920809997</c:v>
                </c:pt>
                <c:pt idx="1458" formatCode="0.0%">
                  <c:v>0.49378270920809997</c:v>
                </c:pt>
                <c:pt idx="1459" formatCode="0.0%">
                  <c:v>0.49378270920809997</c:v>
                </c:pt>
                <c:pt idx="1460" formatCode="0.0%">
                  <c:v>0.48620632230654903</c:v>
                </c:pt>
                <c:pt idx="1461" formatCode="0.0%">
                  <c:v>0.48892976725916865</c:v>
                </c:pt>
                <c:pt idx="1462" formatCode="0.0%">
                  <c:v>0.48892976725916865</c:v>
                </c:pt>
                <c:pt idx="1463" formatCode="0.0%">
                  <c:v>0.50668313041894864</c:v>
                </c:pt>
                <c:pt idx="1464" formatCode="0.0%">
                  <c:v>0.51067608319629187</c:v>
                </c:pt>
                <c:pt idx="1465" formatCode="0.0%">
                  <c:v>0.51067608319629187</c:v>
                </c:pt>
                <c:pt idx="1466" formatCode="0.0%">
                  <c:v>0.51067608319629187</c:v>
                </c:pt>
                <c:pt idx="1467" formatCode="0.0%">
                  <c:v>0.52685275090507533</c:v>
                </c:pt>
                <c:pt idx="1468" formatCode="0.0%">
                  <c:v>0.51896917637725215</c:v>
                </c:pt>
                <c:pt idx="1469" formatCode="0.0%">
                  <c:v>0.51815013907097807</c:v>
                </c:pt>
                <c:pt idx="1470" formatCode="0.0%">
                  <c:v>0.51702391413843207</c:v>
                </c:pt>
                <c:pt idx="1471" formatCode="0.0%">
                  <c:v>0.5070926490720854</c:v>
                </c:pt>
                <c:pt idx="1472" formatCode="0.0%">
                  <c:v>0.5070926490720854</c:v>
                </c:pt>
                <c:pt idx="1473" formatCode="0.0%">
                  <c:v>0.5070926490720854</c:v>
                </c:pt>
                <c:pt idx="1474" formatCode="0.0%">
                  <c:v>0.50125676508278616</c:v>
                </c:pt>
                <c:pt idx="1475" formatCode="0.0%">
                  <c:v>0.49531855006662229</c:v>
                </c:pt>
                <c:pt idx="1476" formatCode="0.0%">
                  <c:v>0.51753586109127303</c:v>
                </c:pt>
                <c:pt idx="1477" formatCode="0.0%">
                  <c:v>0.52756945718448434</c:v>
                </c:pt>
                <c:pt idx="1478" formatCode="0.0%">
                  <c:v>0.53842218785680895</c:v>
                </c:pt>
                <c:pt idx="1479" formatCode="0.0%">
                  <c:v>0.53842218785680895</c:v>
                </c:pt>
                <c:pt idx="1480" formatCode="0.0%">
                  <c:v>0.53842218785680895</c:v>
                </c:pt>
                <c:pt idx="1481" formatCode="0.0%">
                  <c:v>0.5287981104167343</c:v>
                </c:pt>
                <c:pt idx="1482" formatCode="0.0%">
                  <c:v>0.5345315661063299</c:v>
                </c:pt>
                <c:pt idx="1483" formatCode="0.0%">
                  <c:v>0.55398457758588648</c:v>
                </c:pt>
                <c:pt idx="1484" formatCode="0.0%">
                  <c:v>0.55398457758588648</c:v>
                </c:pt>
                <c:pt idx="1485" formatCode="0.0%">
                  <c:v>0.54692004036433728</c:v>
                </c:pt>
                <c:pt idx="1486" formatCode="0.0%">
                  <c:v>0.54692004036433728</c:v>
                </c:pt>
                <c:pt idx="1487" formatCode="0.0%">
                  <c:v>0.54692004036433728</c:v>
                </c:pt>
                <c:pt idx="1488" formatCode="0.0%">
                  <c:v>0.51364523934079387</c:v>
                </c:pt>
                <c:pt idx="1489" formatCode="0.0%">
                  <c:v>0.53023142570271375</c:v>
                </c:pt>
                <c:pt idx="1490" formatCode="0.0%">
                  <c:v>0.53146007893496372</c:v>
                </c:pt>
                <c:pt idx="1491" formatCode="0.0%">
                  <c:v>0.53289349149378185</c:v>
                </c:pt>
                <c:pt idx="1492" formatCode="0.0%">
                  <c:v>0.53675327775422688</c:v>
                </c:pt>
                <c:pt idx="1493" formatCode="0.0%">
                  <c:v>0.53675327775422688</c:v>
                </c:pt>
                <c:pt idx="1494" formatCode="0.0%">
                  <c:v>0.53675327775422688</c:v>
                </c:pt>
                <c:pt idx="1495" formatCode="0.0%">
                  <c:v>0.53330301014691883</c:v>
                </c:pt>
                <c:pt idx="1496" formatCode="0.0%">
                  <c:v>0.53279106319407821</c:v>
                </c:pt>
                <c:pt idx="1497" formatCode="0.0%">
                  <c:v>0.53151027172000342</c:v>
                </c:pt>
                <c:pt idx="1498" formatCode="0.0%">
                  <c:v>0.55339053235674018</c:v>
                </c:pt>
                <c:pt idx="1499" formatCode="0.0%">
                  <c:v>0.5445317003428477</c:v>
                </c:pt>
                <c:pt idx="1500" formatCode="0.0%">
                  <c:v>0.5445317003428477</c:v>
                </c:pt>
                <c:pt idx="1501" formatCode="0.0%">
                  <c:v>0.5445317003428477</c:v>
                </c:pt>
                <c:pt idx="1502" formatCode="0.0%">
                  <c:v>0.56118198950581699</c:v>
                </c:pt>
                <c:pt idx="1503" formatCode="0.0%">
                  <c:v>0.56000790633637221</c:v>
                </c:pt>
                <c:pt idx="1504" formatCode="0.0%">
                  <c:v>0.54559897793482381</c:v>
                </c:pt>
                <c:pt idx="1505" formatCode="0.0%">
                  <c:v>0.55093565771322062</c:v>
                </c:pt>
                <c:pt idx="1506" formatCode="0.0%">
                  <c:v>0.54805385257834305</c:v>
                </c:pt>
                <c:pt idx="1507" formatCode="0.0%">
                  <c:v>0.54805385257834305</c:v>
                </c:pt>
                <c:pt idx="1508" formatCode="0.0%">
                  <c:v>0.54805385257834305</c:v>
                </c:pt>
                <c:pt idx="1509" formatCode="0.0%">
                  <c:v>0.55328382405211018</c:v>
                </c:pt>
                <c:pt idx="1510" formatCode="0.0%">
                  <c:v>0.5526433796786534</c:v>
                </c:pt>
                <c:pt idx="1511" formatCode="0.0%">
                  <c:v>0.55136258820457895</c:v>
                </c:pt>
                <c:pt idx="1512" formatCode="0.0%">
                  <c:v>0.54634613061291015</c:v>
                </c:pt>
                <c:pt idx="1513" formatCode="0.0%">
                  <c:v>0.54880100525642972</c:v>
                </c:pt>
                <c:pt idx="1514" formatCode="0.0%">
                  <c:v>0.54880100525642972</c:v>
                </c:pt>
                <c:pt idx="1515" formatCode="0.0%">
                  <c:v>0.54880100525642972</c:v>
                </c:pt>
                <c:pt idx="1516" formatCode="0.0%">
                  <c:v>0.52201099533265483</c:v>
                </c:pt>
                <c:pt idx="1517" formatCode="0.0%">
                  <c:v>0.50461355349159898</c:v>
                </c:pt>
                <c:pt idx="1518" formatCode="0.0%">
                  <c:v>0.52606688363697718</c:v>
                </c:pt>
                <c:pt idx="1519" formatCode="0.0%">
                  <c:v>0.52894868877185441</c:v>
                </c:pt>
                <c:pt idx="1520" formatCode="0.0%">
                  <c:v>0.51661031002604774</c:v>
                </c:pt>
                <c:pt idx="1521" formatCode="0.0%">
                  <c:v>0.51661031002604774</c:v>
                </c:pt>
                <c:pt idx="1522" formatCode="0.0%">
                  <c:v>0.51661031002604774</c:v>
                </c:pt>
                <c:pt idx="1523" formatCode="0.0%">
                  <c:v>0.50621456715240187</c:v>
                </c:pt>
                <c:pt idx="1524" formatCode="0.0%">
                  <c:v>0.45572986632182816</c:v>
                </c:pt>
                <c:pt idx="1525" formatCode="0.0%">
                  <c:v>0.44569704841133045</c:v>
                </c:pt>
                <c:pt idx="1526" formatCode="0.0%">
                  <c:v>0.4403603686329336</c:v>
                </c:pt>
                <c:pt idx="1527" formatCode="0.0%">
                  <c:v>0.41260978942181226</c:v>
                </c:pt>
                <c:pt idx="1528" formatCode="0.0%">
                  <c:v>0.41260978942181226</c:v>
                </c:pt>
                <c:pt idx="1529" formatCode="0.0%">
                  <c:v>0.41260978942181226</c:v>
                </c:pt>
                <c:pt idx="1530" formatCode="0.0%">
                  <c:v>0.39724029173291769</c:v>
                </c:pt>
                <c:pt idx="1531" formatCode="0.0%">
                  <c:v>0.37941591940050384</c:v>
                </c:pt>
                <c:pt idx="1532" formatCode="0.0%">
                  <c:v>0.38763430704093904</c:v>
                </c:pt>
                <c:pt idx="1533" formatCode="0.0%">
                  <c:v>0.38069671087457835</c:v>
                </c:pt>
                <c:pt idx="1534" formatCode="0.0%">
                  <c:v>0.39969516637643693</c:v>
                </c:pt>
                <c:pt idx="1535" formatCode="0.0%">
                  <c:v>0.39969516637643693</c:v>
                </c:pt>
                <c:pt idx="1536" formatCode="0.0%">
                  <c:v>0.39969516637643693</c:v>
                </c:pt>
                <c:pt idx="1537" formatCode="0.0%">
                  <c:v>0.39873459708909109</c:v>
                </c:pt>
                <c:pt idx="1538" formatCode="0.0%">
                  <c:v>0.38656702944896293</c:v>
                </c:pt>
                <c:pt idx="1539" formatCode="0.0%">
                  <c:v>0.40908763718631691</c:v>
                </c:pt>
                <c:pt idx="1540" formatCode="0.0%">
                  <c:v>0.41986770504774085</c:v>
                </c:pt>
                <c:pt idx="1541" formatCode="0.0%">
                  <c:v>0.40439140178137706</c:v>
                </c:pt>
                <c:pt idx="1542" formatCode="0.0%">
                  <c:v>0.40439140178137706</c:v>
                </c:pt>
                <c:pt idx="1543" formatCode="0.0%">
                  <c:v>0.40439140178137706</c:v>
                </c:pt>
                <c:pt idx="1544" formatCode="0.0%">
                  <c:v>0.43416982787182007</c:v>
                </c:pt>
                <c:pt idx="1545" formatCode="0.0%">
                  <c:v>0.4327823280931159</c:v>
                </c:pt>
                <c:pt idx="1546" formatCode="0.0%">
                  <c:v>0.42338985728323592</c:v>
                </c:pt>
                <c:pt idx="1547" formatCode="0.0%">
                  <c:v>0.41389058089588671</c:v>
                </c:pt>
                <c:pt idx="1548" formatCode="0.0%">
                  <c:v>0.38976895949772994</c:v>
                </c:pt>
                <c:pt idx="1549" formatCode="0.0%">
                  <c:v>0.38976895949772994</c:v>
                </c:pt>
                <c:pt idx="1550" formatCode="0.0%">
                  <c:v>0.38976895949772994</c:v>
                </c:pt>
                <c:pt idx="1551" formatCode="0.0%">
                  <c:v>0.37756938909349713</c:v>
                </c:pt>
                <c:pt idx="1552" formatCode="0.0%">
                  <c:v>0.37866876672241689</c:v>
                </c:pt>
                <c:pt idx="1553" formatCode="0.0%">
                  <c:v>0.37706775306161433</c:v>
                </c:pt>
                <c:pt idx="1554" formatCode="0.0%">
                  <c:v>0.30737118011992182</c:v>
                </c:pt>
                <c:pt idx="1555" formatCode="0.0%">
                  <c:v>0.25998179830632423</c:v>
                </c:pt>
                <c:pt idx="1556" formatCode="0.0%">
                  <c:v>0.25998179830632423</c:v>
                </c:pt>
                <c:pt idx="1557" formatCode="0.0%">
                  <c:v>0.25998179830632423</c:v>
                </c:pt>
                <c:pt idx="1558" formatCode="0.0%">
                  <c:v>0.23468609373872254</c:v>
                </c:pt>
                <c:pt idx="1559" formatCode="0.0%">
                  <c:v>0.27140221326836539</c:v>
                </c:pt>
                <c:pt idx="1560" formatCode="0.0%">
                  <c:v>0.20373358447883461</c:v>
                </c:pt>
                <c:pt idx="1561" formatCode="0.0%">
                  <c:v>0.26425110321990614</c:v>
                </c:pt>
                <c:pt idx="1562" formatCode="0.0%">
                  <c:v>0.23884869034767447</c:v>
                </c:pt>
                <c:pt idx="1563" formatCode="0.0%">
                  <c:v>0.23884869034767447</c:v>
                </c:pt>
                <c:pt idx="1564" formatCode="0.0%">
                  <c:v>0.23884869034767447</c:v>
                </c:pt>
                <c:pt idx="1565" formatCode="0.0%">
                  <c:v>0.27535129599521896</c:v>
                </c:pt>
                <c:pt idx="1566" formatCode="0.0%">
                  <c:v>0.27780617063873819</c:v>
                </c:pt>
                <c:pt idx="1567" formatCode="0.0%">
                  <c:v>0.25571249339274232</c:v>
                </c:pt>
                <c:pt idx="1568" formatCode="0.0%">
                  <c:v>0.25571249339274232</c:v>
                </c:pt>
                <c:pt idx="1569" formatCode="0.0%">
                  <c:v>0.25571249339274232</c:v>
                </c:pt>
                <c:pt idx="1570" formatCode="0.0%">
                  <c:v>0.25571249339274232</c:v>
                </c:pt>
                <c:pt idx="1571" formatCode="0.0%">
                  <c:v>0.25571249339274232</c:v>
                </c:pt>
                <c:pt idx="1572" formatCode="0.0%">
                  <c:v>0.25571249339274232</c:v>
                </c:pt>
                <c:pt idx="1573" formatCode="0.0%">
                  <c:v>0.23650052400878493</c:v>
                </c:pt>
                <c:pt idx="1574" formatCode="0.0%">
                  <c:v>0.28965351609213769</c:v>
                </c:pt>
                <c:pt idx="1575" formatCode="0.0%">
                  <c:v>0.28527750287392595</c:v>
                </c:pt>
                <c:pt idx="1576" formatCode="0.0%">
                  <c:v>0.29776519542794316</c:v>
                </c:pt>
                <c:pt idx="1577" formatCode="0.0%">
                  <c:v>0.29776519542794316</c:v>
                </c:pt>
                <c:pt idx="1578" formatCode="0.0%">
                  <c:v>0.29776519542794316</c:v>
                </c:pt>
                <c:pt idx="1579" formatCode="0.0%">
                  <c:v>0.30374231957979675</c:v>
                </c:pt>
                <c:pt idx="1580" formatCode="0.0%">
                  <c:v>0.30427595837578508</c:v>
                </c:pt>
                <c:pt idx="1581" formatCode="0.0%">
                  <c:v>0.31636882047538817</c:v>
                </c:pt>
                <c:pt idx="1582" formatCode="0.0%">
                  <c:v>0.31636882047538817</c:v>
                </c:pt>
                <c:pt idx="1583" formatCode="0.0%">
                  <c:v>0.31636882047538817</c:v>
                </c:pt>
                <c:pt idx="1584" formatCode="0.0%">
                  <c:v>0.31636882047538817</c:v>
                </c:pt>
                <c:pt idx="1585" formatCode="0.0%">
                  <c:v>0.31636882047538817</c:v>
                </c:pt>
                <c:pt idx="1586" formatCode="0.0%">
                  <c:v>0.31636882047538817</c:v>
                </c:pt>
                <c:pt idx="1587" formatCode="0.0%">
                  <c:v>0.3385372032619085</c:v>
                </c:pt>
                <c:pt idx="1588" formatCode="0.0%">
                  <c:v>0.33085245441746136</c:v>
                </c:pt>
                <c:pt idx="1589" formatCode="0.0%">
                  <c:v>0.34600853549709626</c:v>
                </c:pt>
                <c:pt idx="1590" formatCode="0.0%">
                  <c:v>0.35764236706839708</c:v>
                </c:pt>
                <c:pt idx="1591" formatCode="0.0%">
                  <c:v>0.35764236706839708</c:v>
                </c:pt>
                <c:pt idx="1592" formatCode="0.0%">
                  <c:v>0.35764236706839708</c:v>
                </c:pt>
                <c:pt idx="1593" formatCode="0.0%">
                  <c:v>0.40150959664649977</c:v>
                </c:pt>
                <c:pt idx="1594" formatCode="0.0%">
                  <c:v>0.40407117959464872</c:v>
                </c:pt>
                <c:pt idx="1595" formatCode="0.0%">
                  <c:v>0.41196944232119476</c:v>
                </c:pt>
                <c:pt idx="1596" formatCode="0.0%">
                  <c:v>0.41378387259125704</c:v>
                </c:pt>
                <c:pt idx="1597" formatCode="0.0%">
                  <c:v>0.42435042657058203</c:v>
                </c:pt>
                <c:pt idx="1598" formatCode="0.0%">
                  <c:v>0.42435042657058203</c:v>
                </c:pt>
                <c:pt idx="1599" formatCode="0.0%">
                  <c:v>0.42435042657058203</c:v>
                </c:pt>
                <c:pt idx="1600" formatCode="0.0%">
                  <c:v>0.41687909433539405</c:v>
                </c:pt>
                <c:pt idx="1601" formatCode="0.0%">
                  <c:v>0.41997441335237029</c:v>
                </c:pt>
                <c:pt idx="1602" formatCode="0.0%">
                  <c:v>0.40577890156008123</c:v>
                </c:pt>
                <c:pt idx="1603" formatCode="0.0%">
                  <c:v>0.39681336124155936</c:v>
                </c:pt>
                <c:pt idx="1604" formatCode="0.0%">
                  <c:v>0.3826178494492703</c:v>
                </c:pt>
                <c:pt idx="1605" formatCode="0.0%">
                  <c:v>0.3826178494492703</c:v>
                </c:pt>
                <c:pt idx="1606" formatCode="0.0%">
                  <c:v>0.3826178494492703</c:v>
                </c:pt>
                <c:pt idx="1607" formatCode="0.0%">
                  <c:v>0.39104975097180444</c:v>
                </c:pt>
                <c:pt idx="1608" formatCode="0.0%">
                  <c:v>0.40385776298538928</c:v>
                </c:pt>
                <c:pt idx="1609" formatCode="0.0%">
                  <c:v>0.40396447129001872</c:v>
                </c:pt>
                <c:pt idx="1610" formatCode="0.0%">
                  <c:v>0.40396447129001872</c:v>
                </c:pt>
                <c:pt idx="1611" formatCode="0.0%">
                  <c:v>0.40396447129001872</c:v>
                </c:pt>
                <c:pt idx="1612" formatCode="0.0%">
                  <c:v>0.39798744441100409</c:v>
                </c:pt>
                <c:pt idx="1613" formatCode="0.0%">
                  <c:v>0.39798744441100409</c:v>
                </c:pt>
                <c:pt idx="1614" formatCode="0.0%">
                  <c:v>0.3840054465008137</c:v>
                </c:pt>
                <c:pt idx="1615" formatCode="0.0%">
                  <c:v>0.40033551347705471</c:v>
                </c:pt>
                <c:pt idx="1616" formatCode="0.0%">
                  <c:v>0.40396447129001872</c:v>
                </c:pt>
                <c:pt idx="1617" formatCode="0.0%">
                  <c:v>0.40396447129001872</c:v>
                </c:pt>
                <c:pt idx="1618" formatCode="0.0%">
                  <c:v>0.42008112165699996</c:v>
                </c:pt>
                <c:pt idx="1619" formatCode="0.0%">
                  <c:v>0.42008112165699996</c:v>
                </c:pt>
                <c:pt idx="1620" formatCode="0.0%">
                  <c:v>0.42008112165699996</c:v>
                </c:pt>
                <c:pt idx="1621" formatCode="0.0%">
                  <c:v>0.42008112165699996</c:v>
                </c:pt>
                <c:pt idx="1622" formatCode="0.0%">
                  <c:v>0.41954748286101223</c:v>
                </c:pt>
                <c:pt idx="1623" formatCode="0.0%">
                  <c:v>0.42392349607922369</c:v>
                </c:pt>
                <c:pt idx="1624" formatCode="0.0%">
                  <c:v>0.40567219325545184</c:v>
                </c:pt>
                <c:pt idx="1625" formatCode="0.0%">
                  <c:v>0.39318440342859534</c:v>
                </c:pt>
                <c:pt idx="1626" formatCode="0.0%">
                  <c:v>0.39318440342859534</c:v>
                </c:pt>
                <c:pt idx="1627" formatCode="0.0%">
                  <c:v>0.39318440342859534</c:v>
                </c:pt>
                <c:pt idx="1628" formatCode="0.0%">
                  <c:v>0.40022880517242498</c:v>
                </c:pt>
                <c:pt idx="1629" formatCode="0.0%">
                  <c:v>0.3990547220029802</c:v>
                </c:pt>
                <c:pt idx="1630" formatCode="0.0%">
                  <c:v>0.39766722222427575</c:v>
                </c:pt>
                <c:pt idx="1631" formatCode="0.0%">
                  <c:v>0.38336500212735702</c:v>
                </c:pt>
                <c:pt idx="1632" formatCode="0.0%">
                  <c:v>0.38880839021038355</c:v>
                </c:pt>
                <c:pt idx="1633" formatCode="0.0%">
                  <c:v>0.38880839021038355</c:v>
                </c:pt>
                <c:pt idx="1634" formatCode="0.0%">
                  <c:v>0.38880839021038355</c:v>
                </c:pt>
                <c:pt idx="1635" formatCode="0.0%">
                  <c:v>0.38112364136593641</c:v>
                </c:pt>
                <c:pt idx="1636" formatCode="0.0%">
                  <c:v>0.39574598637674457</c:v>
                </c:pt>
                <c:pt idx="1637" formatCode="0.0%">
                  <c:v>0.40375095740792005</c:v>
                </c:pt>
                <c:pt idx="1638" formatCode="0.0%">
                  <c:v>0.39809415271563409</c:v>
                </c:pt>
                <c:pt idx="1639" formatCode="0.0%">
                  <c:v>0.41303671991317031</c:v>
                </c:pt>
                <c:pt idx="1640" formatCode="0.0%">
                  <c:v>0.41303671991317031</c:v>
                </c:pt>
                <c:pt idx="1641" formatCode="0.0%">
                  <c:v>0.41303671991317031</c:v>
                </c:pt>
                <c:pt idx="1642" formatCode="0.0%">
                  <c:v>0.41226826448329379</c:v>
                </c:pt>
                <c:pt idx="1643" formatCode="0.0%">
                  <c:v>0.40364424910329061</c:v>
                </c:pt>
                <c:pt idx="1644" formatCode="0.0%">
                  <c:v>0.40898092888168747</c:v>
                </c:pt>
                <c:pt idx="1645" formatCode="0.0%">
                  <c:v>0.42338985728323592</c:v>
                </c:pt>
                <c:pt idx="1646" formatCode="0.0%">
                  <c:v>0.41228966450792315</c:v>
                </c:pt>
                <c:pt idx="1647" formatCode="0.0%">
                  <c:v>0.41228966450792315</c:v>
                </c:pt>
                <c:pt idx="1648" formatCode="0.0%">
                  <c:v>0.41228966450792315</c:v>
                </c:pt>
                <c:pt idx="1649" formatCode="0.0%">
                  <c:v>0.41848010799619717</c:v>
                </c:pt>
                <c:pt idx="1650" formatCode="0.0%">
                  <c:v>0.42008112165699996</c:v>
                </c:pt>
                <c:pt idx="1651" formatCode="0.0%">
                  <c:v>0.42392349607922369</c:v>
                </c:pt>
                <c:pt idx="1652" formatCode="0.0%">
                  <c:v>0.430540967331695</c:v>
                </c:pt>
                <c:pt idx="1653" formatCode="0.0%">
                  <c:v>0.42680530121410098</c:v>
                </c:pt>
                <c:pt idx="1654" formatCode="0.0%">
                  <c:v>0.42680530121410098</c:v>
                </c:pt>
                <c:pt idx="1655" formatCode="0.0%">
                  <c:v>0.42680530121410098</c:v>
                </c:pt>
                <c:pt idx="1656" formatCode="0.0%">
                  <c:v>0.42338985728323592</c:v>
                </c:pt>
                <c:pt idx="1657" formatCode="0.0%">
                  <c:v>0.43715834131132736</c:v>
                </c:pt>
                <c:pt idx="1658" formatCode="0.0%">
                  <c:v>0.43801229956688303</c:v>
                </c:pt>
                <c:pt idx="1659" formatCode="0.0%">
                  <c:v>0.44815192305484969</c:v>
                </c:pt>
                <c:pt idx="1660" formatCode="0.0%">
                  <c:v>0.44260172939435394</c:v>
                </c:pt>
                <c:pt idx="1661" formatCode="0.0%">
                  <c:v>0.44260172939435394</c:v>
                </c:pt>
                <c:pt idx="1662" formatCode="0.0%">
                  <c:v>0.44260172939435394</c:v>
                </c:pt>
                <c:pt idx="1663" formatCode="0.0%">
                  <c:v>0.444416256937256</c:v>
                </c:pt>
                <c:pt idx="1664" formatCode="0.0%">
                  <c:v>0.43320925858447396</c:v>
                </c:pt>
                <c:pt idx="1665" formatCode="0.0%">
                  <c:v>0.4423883127850945</c:v>
                </c:pt>
                <c:pt idx="1666" formatCode="0.0%">
                  <c:v>0.45135385310361642</c:v>
                </c:pt>
                <c:pt idx="1667" formatCode="0.0%">
                  <c:v>0.45775781047398906</c:v>
                </c:pt>
                <c:pt idx="1668" formatCode="0.0%">
                  <c:v>0.45775781047398906</c:v>
                </c:pt>
                <c:pt idx="1669" formatCode="0.0%">
                  <c:v>0.45775781047398906</c:v>
                </c:pt>
                <c:pt idx="1670" formatCode="0.0%">
                  <c:v>0.46843117003078305</c:v>
                </c:pt>
                <c:pt idx="1671" formatCode="0.0%">
                  <c:v>0.48091886258480004</c:v>
                </c:pt>
                <c:pt idx="1672" formatCode="0.0%">
                  <c:v>0.48561509798973984</c:v>
                </c:pt>
                <c:pt idx="1673" formatCode="0.0%">
                  <c:v>0.48374726493094328</c:v>
                </c:pt>
                <c:pt idx="1674" formatCode="0.0%">
                  <c:v>0.47088594740146333</c:v>
                </c:pt>
                <c:pt idx="1675" formatCode="0.0%">
                  <c:v>0.47088594740146333</c:v>
                </c:pt>
                <c:pt idx="1676" formatCode="0.0%">
                  <c:v>0.47088594740146333</c:v>
                </c:pt>
                <c:pt idx="1677" formatCode="0.0%">
                  <c:v>0.45935882413479218</c:v>
                </c:pt>
                <c:pt idx="1678" formatCode="0.0%">
                  <c:v>0.45743768556009995</c:v>
                </c:pt>
                <c:pt idx="1679" formatCode="0.0%">
                  <c:v>0.44953942283355386</c:v>
                </c:pt>
                <c:pt idx="1680" formatCode="0.0%">
                  <c:v>0.46394835123510264</c:v>
                </c:pt>
                <c:pt idx="1681" formatCode="0.0%">
                  <c:v>0.45989246293078023</c:v>
                </c:pt>
                <c:pt idx="1682" formatCode="0.0%">
                  <c:v>0.45989246293078023</c:v>
                </c:pt>
                <c:pt idx="1683" formatCode="0.0%">
                  <c:v>0.45989246293078023</c:v>
                </c:pt>
                <c:pt idx="1684" formatCode="0.0%">
                  <c:v>0.46512243440454737</c:v>
                </c:pt>
                <c:pt idx="1685" formatCode="0.0%">
                  <c:v>0.46256085145639814</c:v>
                </c:pt>
                <c:pt idx="1686" formatCode="0.0%">
                  <c:v>0.46757730904806694</c:v>
                </c:pt>
                <c:pt idx="1687" formatCode="0.0%">
                  <c:v>0.47664955767121853</c:v>
                </c:pt>
                <c:pt idx="1688" formatCode="0.0%">
                  <c:v>0.47216673887553751</c:v>
                </c:pt>
                <c:pt idx="1689" formatCode="0.0%">
                  <c:v>0.47216673887553751</c:v>
                </c:pt>
                <c:pt idx="1690" formatCode="0.0%">
                  <c:v>0.47216673887553751</c:v>
                </c:pt>
                <c:pt idx="1691" formatCode="0.0%">
                  <c:v>0.47579569668850186</c:v>
                </c:pt>
                <c:pt idx="1692" formatCode="0.0%">
                  <c:v>0.47408797472306929</c:v>
                </c:pt>
                <c:pt idx="1693" formatCode="0.0%">
                  <c:v>0.45380872774713565</c:v>
                </c:pt>
                <c:pt idx="1694" formatCode="0.0%">
                  <c:v>0.46394835123510264</c:v>
                </c:pt>
                <c:pt idx="1695" formatCode="0.0%">
                  <c:v>0.4682176561486841</c:v>
                </c:pt>
                <c:pt idx="1696" formatCode="0.0%">
                  <c:v>0.4682176561486841</c:v>
                </c:pt>
                <c:pt idx="1697" formatCode="0.0%">
                  <c:v>0.4682176561486841</c:v>
                </c:pt>
                <c:pt idx="1698" formatCode="0.0%">
                  <c:v>0.46971196150485783</c:v>
                </c:pt>
                <c:pt idx="1699" formatCode="0.0%">
                  <c:v>0.46843117003078305</c:v>
                </c:pt>
                <c:pt idx="1700" formatCode="0.0%">
                  <c:v>0.47835727963665109</c:v>
                </c:pt>
                <c:pt idx="1701" formatCode="0.0%">
                  <c:v>0.47173980838417973</c:v>
                </c:pt>
                <c:pt idx="1702" formatCode="0.0%">
                  <c:v>0.46042619899960724</c:v>
                </c:pt>
                <c:pt idx="1703" formatCode="0.0%">
                  <c:v>0.46042619899960724</c:v>
                </c:pt>
                <c:pt idx="1704" formatCode="0.0%">
                  <c:v>0.4609598377955953</c:v>
                </c:pt>
                <c:pt idx="1705" formatCode="0.0%">
                  <c:v>0.46042619899960724</c:v>
                </c:pt>
                <c:pt idx="1706" formatCode="0.0%">
                  <c:v>0.44484318742861406</c:v>
                </c:pt>
                <c:pt idx="1707" formatCode="0.0%">
                  <c:v>0.45327508895114788</c:v>
                </c:pt>
                <c:pt idx="1708" formatCode="0.0%">
                  <c:v>0.45733087998263128</c:v>
                </c:pt>
                <c:pt idx="1709" formatCode="0.0%">
                  <c:v>0.44655090939404685</c:v>
                </c:pt>
                <c:pt idx="1710" formatCode="0.0%">
                  <c:v>0.44655090939404685</c:v>
                </c:pt>
                <c:pt idx="1711" formatCode="0.0%">
                  <c:v>0.44655090939404685</c:v>
                </c:pt>
                <c:pt idx="1712" formatCode="0.0%">
                  <c:v>0.45412894993386432</c:v>
                </c:pt>
                <c:pt idx="1713" formatCode="0.0%">
                  <c:v>0.45391543605176565</c:v>
                </c:pt>
                <c:pt idx="1714" formatCode="0.0%">
                  <c:v>0.45263464457769087</c:v>
                </c:pt>
                <c:pt idx="1715" formatCode="0.0%">
                  <c:v>0.45775781047398906</c:v>
                </c:pt>
                <c:pt idx="1716" formatCode="0.0%">
                  <c:v>0.4621339209650398</c:v>
                </c:pt>
                <c:pt idx="1717" formatCode="0.0%">
                  <c:v>0.4621339209650398</c:v>
                </c:pt>
                <c:pt idx="1718" formatCode="0.0%">
                  <c:v>0.4621339209650398</c:v>
                </c:pt>
                <c:pt idx="1719" formatCode="0.0%">
                  <c:v>0.46063961560886668</c:v>
                </c:pt>
                <c:pt idx="1720" formatCode="0.0%">
                  <c:v>0.45156736698571509</c:v>
                </c:pt>
                <c:pt idx="1721" formatCode="0.0%">
                  <c:v>0.45178078359497476</c:v>
                </c:pt>
                <c:pt idx="1722" formatCode="0.0%">
                  <c:v>0.47088594740146333</c:v>
                </c:pt>
                <c:pt idx="1723" formatCode="0.0%">
                  <c:v>0.46971196150485783</c:v>
                </c:pt>
                <c:pt idx="1724" formatCode="0.0%">
                  <c:v>0.46971196150485783</c:v>
                </c:pt>
                <c:pt idx="1725" formatCode="0.0%">
                  <c:v>0.46971196150485783</c:v>
                </c:pt>
                <c:pt idx="1726" formatCode="0.0%">
                  <c:v>0.46939173931812916</c:v>
                </c:pt>
                <c:pt idx="1727" formatCode="0.0%">
                  <c:v>0.46853787833541277</c:v>
                </c:pt>
                <c:pt idx="1728" formatCode="0.0%">
                  <c:v>0.46586948980979459</c:v>
                </c:pt>
                <c:pt idx="1729" formatCode="0.0%">
                  <c:v>0.4621339209650398</c:v>
                </c:pt>
                <c:pt idx="1730" formatCode="0.0%">
                  <c:v>0.45797132435608801</c:v>
                </c:pt>
                <c:pt idx="1731" formatCode="0.0%">
                  <c:v>0.45797132435608801</c:v>
                </c:pt>
                <c:pt idx="1732" formatCode="0.0%">
                  <c:v>0.45797132435608801</c:v>
                </c:pt>
                <c:pt idx="1733" formatCode="0.0%">
                  <c:v>0.47035230860547528</c:v>
                </c:pt>
                <c:pt idx="1734" formatCode="0.0%">
                  <c:v>0.47515525231504485</c:v>
                </c:pt>
                <c:pt idx="1735" formatCode="0.0%">
                  <c:v>0.47387446084097062</c:v>
                </c:pt>
                <c:pt idx="1736" formatCode="0.0%">
                  <c:v>0.48337373722831956</c:v>
                </c:pt>
                <c:pt idx="1737" formatCode="0.0%">
                  <c:v>0.49532779098634877</c:v>
                </c:pt>
                <c:pt idx="1738" formatCode="0.0%">
                  <c:v>0.49532779098634877</c:v>
                </c:pt>
                <c:pt idx="1739" formatCode="0.0%">
                  <c:v>0.49532779098634877</c:v>
                </c:pt>
                <c:pt idx="1740" formatCode="0.0%">
                  <c:v>0.4958615270551755</c:v>
                </c:pt>
                <c:pt idx="1741" formatCode="0.0%">
                  <c:v>0.50130481786536307</c:v>
                </c:pt>
                <c:pt idx="1742" formatCode="0.0%">
                  <c:v>0.50557422005178443</c:v>
                </c:pt>
                <c:pt idx="1743" formatCode="0.0%">
                  <c:v>0.51037716376135422</c:v>
                </c:pt>
                <c:pt idx="1744" formatCode="0.0%">
                  <c:v>0.51187137184468778</c:v>
                </c:pt>
                <c:pt idx="1745" formatCode="0.0%">
                  <c:v>0.51187137184468778</c:v>
                </c:pt>
                <c:pt idx="1746" formatCode="0.0%">
                  <c:v>0.51187137184468778</c:v>
                </c:pt>
                <c:pt idx="1747" formatCode="0.0%">
                  <c:v>0.48518816749838178</c:v>
                </c:pt>
                <c:pt idx="1748" formatCode="0.0%">
                  <c:v>0.47761012695856436</c:v>
                </c:pt>
                <c:pt idx="1749" formatCode="0.0%">
                  <c:v>0.49233927754684148</c:v>
                </c:pt>
                <c:pt idx="1750" formatCode="0.0%">
                  <c:v>0.48561509798973984</c:v>
                </c:pt>
                <c:pt idx="1751" formatCode="0.0%">
                  <c:v>0.47376775253634063</c:v>
                </c:pt>
                <c:pt idx="1752" formatCode="0.0%">
                  <c:v>0.47376775253634063</c:v>
                </c:pt>
                <c:pt idx="1753" formatCode="0.0%">
                  <c:v>0.47376775253634063</c:v>
                </c:pt>
                <c:pt idx="1754" formatCode="0.0%">
                  <c:v>0.50077117906937529</c:v>
                </c:pt>
                <c:pt idx="1755" formatCode="0.0%">
                  <c:v>0.50909637228727944</c:v>
                </c:pt>
                <c:pt idx="1756" formatCode="0.0%">
                  <c:v>0.50461355349159898</c:v>
                </c:pt>
                <c:pt idx="1757" formatCode="0.0%">
                  <c:v>0.50343947032215397</c:v>
                </c:pt>
                <c:pt idx="1758" formatCode="0.0%">
                  <c:v>0.51614077403110914</c:v>
                </c:pt>
                <c:pt idx="1759" formatCode="0.0%">
                  <c:v>0.51614077403110914</c:v>
                </c:pt>
                <c:pt idx="1760" formatCode="0.0%">
                  <c:v>0.51614077403110914</c:v>
                </c:pt>
                <c:pt idx="1761" formatCode="0.0%">
                  <c:v>0.52980254975457086</c:v>
                </c:pt>
                <c:pt idx="1762" formatCode="0.0%">
                  <c:v>0.52670732801043385</c:v>
                </c:pt>
                <c:pt idx="1763" formatCode="0.0%">
                  <c:v>0.52948232756784253</c:v>
                </c:pt>
                <c:pt idx="1764" formatCode="0.0%">
                  <c:v>0.52724096680642163</c:v>
                </c:pt>
                <c:pt idx="1765" formatCode="0.0%">
                  <c:v>0.52760379449673078</c:v>
                </c:pt>
                <c:pt idx="1766" formatCode="0.0%">
                  <c:v>0.52760379449673078</c:v>
                </c:pt>
                <c:pt idx="1767" formatCode="0.0%">
                  <c:v>0.52760379449673078</c:v>
                </c:pt>
                <c:pt idx="1768" formatCode="0.0%">
                  <c:v>0.53513922953296766</c:v>
                </c:pt>
                <c:pt idx="1769" formatCode="0.0%">
                  <c:v>0.52692074461969352</c:v>
                </c:pt>
                <c:pt idx="1770" formatCode="0.0%">
                  <c:v>0.51966292626660449</c:v>
                </c:pt>
                <c:pt idx="1771" formatCode="0.0%">
                  <c:v>0.49810288781659667</c:v>
                </c:pt>
                <c:pt idx="1772" formatCode="0.0%">
                  <c:v>0.47248696106226618</c:v>
                </c:pt>
                <c:pt idx="1773" formatCode="0.0%">
                  <c:v>0.47248696106226618</c:v>
                </c:pt>
                <c:pt idx="1774" formatCode="0.0%">
                  <c:v>0.47248696106226618</c:v>
                </c:pt>
                <c:pt idx="1775" formatCode="0.0%">
                  <c:v>0.5040799146956112</c:v>
                </c:pt>
                <c:pt idx="1776" formatCode="0.0%">
                  <c:v>0.50440013688233931</c:v>
                </c:pt>
                <c:pt idx="1777" formatCode="0.0%">
                  <c:v>0.510910802557342</c:v>
                </c:pt>
                <c:pt idx="1778" formatCode="0.0%">
                  <c:v>0.49116519437739642</c:v>
                </c:pt>
                <c:pt idx="1779" formatCode="0.0%">
                  <c:v>0.48390737602430733</c:v>
                </c:pt>
                <c:pt idx="1780" formatCode="0.0%">
                  <c:v>0.48390737602430733</c:v>
                </c:pt>
                <c:pt idx="1781" formatCode="0.0%">
                  <c:v>0.48390737602430733</c:v>
                </c:pt>
                <c:pt idx="1782" formatCode="0.0%">
                  <c:v>0.48113237646689894</c:v>
                </c:pt>
                <c:pt idx="1783" formatCode="0.0%">
                  <c:v>0.44932590895145524</c:v>
                </c:pt>
                <c:pt idx="1784" formatCode="0.0%">
                  <c:v>0.46320119855701591</c:v>
                </c:pt>
                <c:pt idx="1785" formatCode="0.0%">
                  <c:v>0.48945747241196386</c:v>
                </c:pt>
                <c:pt idx="1786" formatCode="0.0%">
                  <c:v>0.44559024283386151</c:v>
                </c:pt>
                <c:pt idx="1787" formatCode="0.0%">
                  <c:v>0.44559024283386151</c:v>
                </c:pt>
                <c:pt idx="1788" formatCode="0.0%">
                  <c:v>0.44559024283386151</c:v>
                </c:pt>
                <c:pt idx="1789" formatCode="0.0%">
                  <c:v>0.46960515592738861</c:v>
                </c:pt>
                <c:pt idx="1790" formatCode="0.0%">
                  <c:v>0.47003208641874694</c:v>
                </c:pt>
                <c:pt idx="1791" formatCode="0.0%">
                  <c:v>0.49415370781690371</c:v>
                </c:pt>
                <c:pt idx="1792" formatCode="0.0%">
                  <c:v>0.49362006902091593</c:v>
                </c:pt>
                <c:pt idx="1793" formatCode="0.0%">
                  <c:v>0.49692880464715161</c:v>
                </c:pt>
                <c:pt idx="1794" formatCode="0.0%">
                  <c:v>0.49692880464715161</c:v>
                </c:pt>
                <c:pt idx="1795" formatCode="0.0%">
                  <c:v>0.49792137669860265</c:v>
                </c:pt>
                <c:pt idx="1796" formatCode="0.0%">
                  <c:v>0.49084506946350731</c:v>
                </c:pt>
                <c:pt idx="1797" formatCode="0.0%">
                  <c:v>0.50034424857801729</c:v>
                </c:pt>
                <c:pt idx="1798" formatCode="0.0%">
                  <c:v>0.49191234705548309</c:v>
                </c:pt>
                <c:pt idx="1799" formatCode="0.0%">
                  <c:v>0.49297972192029815</c:v>
                </c:pt>
                <c:pt idx="1800" formatCode="0.0%">
                  <c:v>0.50162504005209174</c:v>
                </c:pt>
                <c:pt idx="1801" formatCode="0.0%">
                  <c:v>0.50162504005209174</c:v>
                </c:pt>
                <c:pt idx="1802" formatCode="0.0%">
                  <c:v>0.50162504005209174</c:v>
                </c:pt>
                <c:pt idx="1803" formatCode="0.0%">
                  <c:v>0.49735573513850995</c:v>
                </c:pt>
                <c:pt idx="1804" formatCode="0.0%">
                  <c:v>0.49522108268171877</c:v>
                </c:pt>
                <c:pt idx="1805" formatCode="0.0%">
                  <c:v>0.48881712531134608</c:v>
                </c:pt>
                <c:pt idx="1806" formatCode="0.0%">
                  <c:v>0.48529487580301178</c:v>
                </c:pt>
                <c:pt idx="1807" formatCode="0.0%">
                  <c:v>0.48508145919375212</c:v>
                </c:pt>
                <c:pt idx="1808" formatCode="0.0%">
                  <c:v>0.48508145919375212</c:v>
                </c:pt>
                <c:pt idx="1809" formatCode="0.0%">
                  <c:v>0.48508145919375212</c:v>
                </c:pt>
                <c:pt idx="1810" formatCode="0.0%">
                  <c:v>0.47654284936658853</c:v>
                </c:pt>
                <c:pt idx="1811" formatCode="0.0%">
                  <c:v>0.46885810052214139</c:v>
                </c:pt>
                <c:pt idx="1812" formatCode="0.0%">
                  <c:v>0.45957233801689085</c:v>
                </c:pt>
                <c:pt idx="1813" formatCode="0.0%">
                  <c:v>0.47632933548448991</c:v>
                </c:pt>
                <c:pt idx="1814" formatCode="0.0%">
                  <c:v>0.47995829329745393</c:v>
                </c:pt>
                <c:pt idx="1815" formatCode="0.0%">
                  <c:v>0.47995829329745393</c:v>
                </c:pt>
                <c:pt idx="1816" formatCode="0.0%">
                  <c:v>0.47995829329745393</c:v>
                </c:pt>
                <c:pt idx="1817" formatCode="0.0%">
                  <c:v>0.48251987624560316</c:v>
                </c:pt>
                <c:pt idx="1818" formatCode="0.0%">
                  <c:v>0.48753633383727135</c:v>
                </c:pt>
                <c:pt idx="1819" formatCode="0.0%">
                  <c:v>0.48753633383727135</c:v>
                </c:pt>
                <c:pt idx="1820" formatCode="0.0%">
                  <c:v>0.48753633383727135</c:v>
                </c:pt>
                <c:pt idx="1821" formatCode="0.0%">
                  <c:v>0.48753633383727135</c:v>
                </c:pt>
                <c:pt idx="1822" formatCode="0.0%">
                  <c:v>0.48753633383727135</c:v>
                </c:pt>
                <c:pt idx="1823" formatCode="0.0%">
                  <c:v>0.48753633383727135</c:v>
                </c:pt>
                <c:pt idx="1824" formatCode="0.0%">
                  <c:v>0.49137870825949503</c:v>
                </c:pt>
                <c:pt idx="1825" formatCode="0.0%">
                  <c:v>0.49554130486844739</c:v>
                </c:pt>
                <c:pt idx="1826" formatCode="0.0%">
                  <c:v>0.48639425343193182</c:v>
                </c:pt>
              </c:numCache>
            </c:numRef>
          </c:val>
          <c:smooth val="0"/>
          <c:extLst>
            <c:ext xmlns:c16="http://schemas.microsoft.com/office/drawing/2014/chart" uri="{C3380CC4-5D6E-409C-BE32-E72D297353CC}">
              <c16:uniqueId val="{00000000-C592-43EE-8D08-8400729D0F8F}"/>
            </c:ext>
          </c:extLst>
        </c:ser>
        <c:dLbls>
          <c:showLegendKey val="0"/>
          <c:showVal val="0"/>
          <c:showCatName val="0"/>
          <c:showSerName val="0"/>
          <c:showPercent val="0"/>
          <c:showBubbleSize val="0"/>
        </c:dLbls>
        <c:smooth val="0"/>
        <c:axId val="1166933024"/>
        <c:axId val="1166951744"/>
      </c:lineChart>
      <c:dateAx>
        <c:axId val="1166933024"/>
        <c:scaling>
          <c:orientation val="minMax"/>
        </c:scaling>
        <c:delete val="0"/>
        <c:axPos val="b"/>
        <c:numFmt formatCode="mmm\.yy" sourceLinked="0"/>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a-DK"/>
          </a:p>
        </c:txPr>
        <c:crossAx val="1166951744"/>
        <c:crosses val="autoZero"/>
        <c:auto val="1"/>
        <c:lblOffset val="100"/>
        <c:baseTimeUnit val="days"/>
        <c:majorUnit val="1"/>
        <c:majorTimeUnit val="years"/>
      </c:dateAx>
      <c:valAx>
        <c:axId val="1166951744"/>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a-DK"/>
          </a:p>
        </c:txPr>
        <c:crossAx val="1166933024"/>
        <c:crosses val="autoZero"/>
        <c:crossBetween val="between"/>
      </c:valAx>
      <c:spPr>
        <a:noFill/>
        <a:ln w="25400">
          <a:noFill/>
        </a:ln>
        <a:effectLst/>
      </c:spPr>
    </c:plotArea>
    <c:legend>
      <c:legendPos val="b"/>
      <c:layout>
        <c:manualLayout>
          <c:xMode val="edge"/>
          <c:yMode val="edge"/>
          <c:x val="1.6662930992067615E-2"/>
          <c:y val="0.74486429062645765"/>
          <c:w val="0.9631129320589833"/>
          <c:h val="0.2551357093735423"/>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da-DK"/>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pPr>
      <a:endParaRPr lang="da-DK"/>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a:extLst>
              <a:ext uri="{FF2B5EF4-FFF2-40B4-BE49-F238E27FC236}">
                <a16:creationId xmlns:a16="http://schemas.microsoft.com/office/drawing/2014/main" id="{73855378-74F7-3AB3-28DD-6FC3CA2EBBE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Pladsholder til dato 2">
            <a:extLst>
              <a:ext uri="{FF2B5EF4-FFF2-40B4-BE49-F238E27FC236}">
                <a16:creationId xmlns:a16="http://schemas.microsoft.com/office/drawing/2014/main" id="{2FDF47E9-17AE-015F-4A36-16273EAA4FA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DB84BCD-E444-434A-BF73-9E9D793ED477}" type="datetimeFigureOut">
              <a:rPr lang="da-DK" smtClean="0"/>
              <a:t>16-03-2026</a:t>
            </a:fld>
            <a:endParaRPr lang="da-DK"/>
          </a:p>
        </p:txBody>
      </p:sp>
      <p:sp>
        <p:nvSpPr>
          <p:cNvPr id="4" name="Pladsholder til sidefod 3">
            <a:extLst>
              <a:ext uri="{FF2B5EF4-FFF2-40B4-BE49-F238E27FC236}">
                <a16:creationId xmlns:a16="http://schemas.microsoft.com/office/drawing/2014/main" id="{2FD568A9-0CE7-2054-34CF-2A00A9E3798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5" name="Pladsholder til slidenummer 4">
            <a:extLst>
              <a:ext uri="{FF2B5EF4-FFF2-40B4-BE49-F238E27FC236}">
                <a16:creationId xmlns:a16="http://schemas.microsoft.com/office/drawing/2014/main" id="{8B95DEE7-D6EF-8505-D14B-30D4053118A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896FF8C-BF2D-4F0C-A2EF-AA66F8D02933}" type="slidenum">
              <a:rPr lang="da-DK" smtClean="0"/>
              <a:t>‹nr.›</a:t>
            </a:fld>
            <a:endParaRPr lang="da-DK"/>
          </a:p>
        </p:txBody>
      </p:sp>
    </p:spTree>
    <p:extLst>
      <p:ext uri="{BB962C8B-B14F-4D97-AF65-F5344CB8AC3E}">
        <p14:creationId xmlns:p14="http://schemas.microsoft.com/office/powerpoint/2010/main" val="25964888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C745DD3-7531-48E3-84AA-DB745955F088}" type="datetimeFigureOut">
              <a:rPr lang="da-DK" smtClean="0"/>
              <a:t>16-03-2026</a:t>
            </a:fld>
            <a:endParaRPr lang="da-DK"/>
          </a:p>
        </p:txBody>
      </p:sp>
      <p:sp>
        <p:nvSpPr>
          <p:cNvPr id="4" name="Pladsholder til slidebille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7" name="Pladsholder til sli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CE1D8FB-513D-42AF-A981-D594E44D452D}" type="slidenum">
              <a:rPr lang="da-DK" smtClean="0"/>
              <a:t>‹nr.›</a:t>
            </a:fld>
            <a:endParaRPr lang="da-DK"/>
          </a:p>
        </p:txBody>
      </p:sp>
    </p:spTree>
    <p:extLst>
      <p:ext uri="{BB962C8B-B14F-4D97-AF65-F5344CB8AC3E}">
        <p14:creationId xmlns:p14="http://schemas.microsoft.com/office/powerpoint/2010/main" val="236187147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1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1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921986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DCE1D8FB-513D-42AF-A981-D594E44D452D}" type="slidenum">
              <a:rPr lang="da-DK" smtClean="0"/>
              <a:t>3</a:t>
            </a:fld>
            <a:endParaRPr lang="da-DK"/>
          </a:p>
        </p:txBody>
      </p:sp>
    </p:spTree>
    <p:extLst>
      <p:ext uri="{BB962C8B-B14F-4D97-AF65-F5344CB8AC3E}">
        <p14:creationId xmlns:p14="http://schemas.microsoft.com/office/powerpoint/2010/main" val="32866304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DCE1D8FB-513D-42AF-A981-D594E44D452D}" type="slidenum">
              <a:rPr lang="da-DK" smtClean="0"/>
              <a:t>4</a:t>
            </a:fld>
            <a:endParaRPr lang="da-DK"/>
          </a:p>
        </p:txBody>
      </p:sp>
    </p:spTree>
    <p:extLst>
      <p:ext uri="{BB962C8B-B14F-4D97-AF65-F5344CB8AC3E}">
        <p14:creationId xmlns:p14="http://schemas.microsoft.com/office/powerpoint/2010/main" val="1026245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DCE1D8FB-513D-42AF-A981-D594E44D452D}" type="slidenum">
              <a:rPr lang="da-DK" smtClean="0"/>
              <a:t>5</a:t>
            </a:fld>
            <a:endParaRPr lang="da-DK"/>
          </a:p>
        </p:txBody>
      </p:sp>
    </p:spTree>
    <p:extLst>
      <p:ext uri="{BB962C8B-B14F-4D97-AF65-F5344CB8AC3E}">
        <p14:creationId xmlns:p14="http://schemas.microsoft.com/office/powerpoint/2010/main" val="2392780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8EA745-1143-092B-60E1-2D9226CAB4B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AD4EA5F-B9F7-A79A-E371-754CB6D575E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8581A0-668A-9A23-D0E2-E2990F992880}"/>
              </a:ext>
            </a:extLst>
          </p:cNvPr>
          <p:cNvSpPr>
            <a:spLocks noGrp="1"/>
          </p:cNvSpPr>
          <p:nvPr>
            <p:ph type="body" idx="1"/>
          </p:nvPr>
        </p:nvSpPr>
        <p:spPr/>
        <p:txBody>
          <a:bodyPr/>
          <a:lstStyle/>
          <a:p>
            <a:endParaRPr lang="en-DK"/>
          </a:p>
        </p:txBody>
      </p:sp>
      <p:sp>
        <p:nvSpPr>
          <p:cNvPr id="4" name="Slide Number Placeholder 3">
            <a:extLst>
              <a:ext uri="{FF2B5EF4-FFF2-40B4-BE49-F238E27FC236}">
                <a16:creationId xmlns:a16="http://schemas.microsoft.com/office/drawing/2014/main" id="{7932C45B-107B-2771-D844-BD294320A77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177131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DCE1D8FB-513D-42AF-A981-D594E44D452D}" type="slidenum">
              <a:rPr lang="da-DK" smtClean="0"/>
              <a:t>7</a:t>
            </a:fld>
            <a:endParaRPr lang="da-DK"/>
          </a:p>
        </p:txBody>
      </p:sp>
    </p:spTree>
    <p:extLst>
      <p:ext uri="{BB962C8B-B14F-4D97-AF65-F5344CB8AC3E}">
        <p14:creationId xmlns:p14="http://schemas.microsoft.com/office/powerpoint/2010/main" val="6298333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AC445D-5701-9371-AA79-394D2B58A6EC}"/>
            </a:ext>
          </a:extLst>
        </p:cNvPr>
        <p:cNvGrpSpPr/>
        <p:nvPr/>
      </p:nvGrpSpPr>
      <p:grpSpPr>
        <a:xfrm>
          <a:off x="0" y="0"/>
          <a:ext cx="0" cy="0"/>
          <a:chOff x="0" y="0"/>
          <a:chExt cx="0" cy="0"/>
        </a:xfrm>
      </p:grpSpPr>
      <p:sp>
        <p:nvSpPr>
          <p:cNvPr id="2" name="Notes Placeholder 1">
            <a:extLst>
              <a:ext uri="{FF2B5EF4-FFF2-40B4-BE49-F238E27FC236}">
                <a16:creationId xmlns:a16="http://schemas.microsoft.com/office/drawing/2014/main" id="{B2AABFDB-B46D-BFBB-758F-91967D0A94F4}"/>
              </a:ext>
            </a:extLst>
          </p:cNvPr>
          <p:cNvSpPr>
            <a:spLocks noGrp="1"/>
          </p:cNvSpPr>
          <p:nvPr>
            <p:ph type="body" idx="1"/>
          </p:nvPr>
        </p:nvSpPr>
        <p:spPr/>
        <p:txBody>
          <a:bodyPr/>
          <a:lstStyle/>
          <a:p>
            <a:endParaRPr lang="da-DK"/>
          </a:p>
        </p:txBody>
      </p:sp>
    </p:spTree>
    <p:extLst>
      <p:ext uri="{BB962C8B-B14F-4D97-AF65-F5344CB8AC3E}">
        <p14:creationId xmlns:p14="http://schemas.microsoft.com/office/powerpoint/2010/main" val="24958408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5.xml"/><Relationship Id="rId4" Type="http://schemas.openxmlformats.org/officeDocument/2006/relationships/image" Target="../media/image10.svg"/></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4.xml"/><Relationship Id="rId4" Type="http://schemas.openxmlformats.org/officeDocument/2006/relationships/image" Target="../media/image11.emf"/></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15.xml"/><Relationship Id="rId4" Type="http://schemas.openxmlformats.org/officeDocument/2006/relationships/image" Target="../media/image11.emf"/></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1.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13.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13.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13.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7.jpe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11.emf"/></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3.xml"/><Relationship Id="rId4" Type="http://schemas.openxmlformats.org/officeDocument/2006/relationships/image" Target="../media/image10.sv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8.xml"/><Relationship Id="rId4" Type="http://schemas.openxmlformats.org/officeDocument/2006/relationships/image" Target="../media/image1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1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0.sv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jpeg"/><Relationship Id="rId1" Type="http://schemas.openxmlformats.org/officeDocument/2006/relationships/slideMaster" Target="../slideMasters/slideMaster4.xml"/><Relationship Id="rId4" Type="http://schemas.openxmlformats.org/officeDocument/2006/relationships/image" Target="../media/image13.sv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5.jpeg"/><Relationship Id="rId1" Type="http://schemas.openxmlformats.org/officeDocument/2006/relationships/slideMaster" Target="../slideMasters/slideMaster4.xml"/><Relationship Id="rId4" Type="http://schemas.openxmlformats.org/officeDocument/2006/relationships/image" Target="../media/image13.sv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6.jpeg"/><Relationship Id="rId1" Type="http://schemas.openxmlformats.org/officeDocument/2006/relationships/slideMaster" Target="../slideMasters/slideMaster4.xml"/><Relationship Id="rId4" Type="http://schemas.openxmlformats.org/officeDocument/2006/relationships/image" Target="../media/image13.sv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4.xml"/><Relationship Id="rId4" Type="http://schemas.openxmlformats.org/officeDocument/2006/relationships/image" Target="../media/image7.jpe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4.xml"/><Relationship Id="rId4" Type="http://schemas.openxmlformats.org/officeDocument/2006/relationships/image" Target="../media/image10.svg"/></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11.xml"/><Relationship Id="rId4" Type="http://schemas.openxmlformats.org/officeDocument/2006/relationships/image" Target="../media/image11.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12.xml"/><Relationship Id="rId4" Type="http://schemas.openxmlformats.org/officeDocument/2006/relationships/image" Target="../media/image11.emf"/></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rside stort foto">
    <p:bg>
      <p:bgRef idx="1001">
        <a:schemeClr val="bg2"/>
      </p:bgRef>
    </p:bg>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5151438" y="3305251"/>
            <a:ext cx="4320000" cy="43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13" name="Pladsholder til billede 12">
            <a:extLst>
              <a:ext uri="{FF2B5EF4-FFF2-40B4-BE49-F238E27FC236}">
                <a16:creationId xmlns:a16="http://schemas.microsoft.com/office/drawing/2014/main" id="{B4BB3258-0B60-1552-4805-6DF2745AB181}"/>
              </a:ext>
            </a:extLst>
          </p:cNvPr>
          <p:cNvSpPr>
            <a:spLocks noGrp="1"/>
          </p:cNvSpPr>
          <p:nvPr>
            <p:ph type="pic" sz="quarter" idx="14"/>
          </p:nvPr>
        </p:nvSpPr>
        <p:spPr>
          <a:xfrm>
            <a:off x="6431999" y="766"/>
            <a:ext cx="5760000" cy="5759234"/>
          </a:xfrm>
          <a:custGeom>
            <a:avLst/>
            <a:gdLst>
              <a:gd name="connsiteX0" fmla="*/ 246529 w 5760000"/>
              <a:gd name="connsiteY0" fmla="*/ 0 h 5759234"/>
              <a:gd name="connsiteX1" fmla="*/ 5760000 w 5760000"/>
              <a:gd name="connsiteY1" fmla="*/ 0 h 5759234"/>
              <a:gd name="connsiteX2" fmla="*/ 5760000 w 5760000"/>
              <a:gd name="connsiteY2" fmla="*/ 5512446 h 5759234"/>
              <a:gd name="connsiteX3" fmla="*/ 5604636 w 5760000"/>
              <a:gd name="connsiteY3" fmla="*/ 5565016 h 5759234"/>
              <a:gd name="connsiteX4" fmla="*/ 4320000 w 5760000"/>
              <a:gd name="connsiteY4" fmla="*/ 5759234 h 5759234"/>
              <a:gd name="connsiteX5" fmla="*/ 0 w 5760000"/>
              <a:gd name="connsiteY5" fmla="*/ 1439234 h 5759234"/>
              <a:gd name="connsiteX6" fmla="*/ 194219 w 5760000"/>
              <a:gd name="connsiteY6" fmla="*/ 154598 h 5759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60000" h="5759234">
                <a:moveTo>
                  <a:pt x="246529" y="0"/>
                </a:moveTo>
                <a:lnTo>
                  <a:pt x="5760000" y="0"/>
                </a:lnTo>
                <a:lnTo>
                  <a:pt x="5760000" y="5512446"/>
                </a:lnTo>
                <a:lnTo>
                  <a:pt x="5604636" y="5565016"/>
                </a:lnTo>
                <a:cubicBezTo>
                  <a:pt x="5198820" y="5691238"/>
                  <a:pt x="4767351" y="5759234"/>
                  <a:pt x="4320000" y="5759234"/>
                </a:cubicBezTo>
                <a:cubicBezTo>
                  <a:pt x="1934130" y="5759234"/>
                  <a:pt x="0" y="3825104"/>
                  <a:pt x="0" y="1439234"/>
                </a:cubicBezTo>
                <a:cubicBezTo>
                  <a:pt x="0" y="991884"/>
                  <a:pt x="67997" y="560414"/>
                  <a:pt x="194219" y="154598"/>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a:noAutofit/>
          </a:bodyPr>
          <a:lstStyle/>
          <a:p>
            <a:r>
              <a:rPr lang="da-DK" noProof="0"/>
              <a:t>Klik på ikonet for at tilføje et billede</a:t>
            </a:r>
          </a:p>
        </p:txBody>
      </p:sp>
      <p:sp>
        <p:nvSpPr>
          <p:cNvPr id="10" name="Title 1">
            <a:extLst>
              <a:ext uri="{FF2B5EF4-FFF2-40B4-BE49-F238E27FC236}">
                <a16:creationId xmlns:a16="http://schemas.microsoft.com/office/drawing/2014/main" id="{C34E04C9-69D3-EB50-5ED9-9026462005DA}"/>
              </a:ext>
            </a:extLst>
          </p:cNvPr>
          <p:cNvSpPr>
            <a:spLocks noGrp="1"/>
          </p:cNvSpPr>
          <p:nvPr>
            <p:ph type="ctrTitle"/>
          </p:nvPr>
        </p:nvSpPr>
        <p:spPr>
          <a:xfrm>
            <a:off x="431799" y="2088000"/>
            <a:ext cx="7535864" cy="3456000"/>
          </a:xfrm>
          <a:prstGeom prst="rect">
            <a:avLst/>
          </a:prstGeom>
        </p:spPr>
        <p:txBody>
          <a:bodyPr anchor="b">
            <a:noAutofit/>
          </a:bodyPr>
          <a:lstStyle>
            <a:lvl1pPr algn="l">
              <a:defRPr sz="4800" b="0" i="0">
                <a:latin typeface="Work Sans Light" pitchFamily="2" charset="77"/>
              </a:defRPr>
            </a:lvl1pPr>
          </a:lstStyle>
          <a:p>
            <a:r>
              <a:rPr lang="da-DK" noProof="0"/>
              <a:t>Klik for at redigere titeltypografien i masteren</a:t>
            </a:r>
          </a:p>
        </p:txBody>
      </p:sp>
      <p:sp>
        <p:nvSpPr>
          <p:cNvPr id="2" name="Subtitle 2">
            <a:extLst>
              <a:ext uri="{FF2B5EF4-FFF2-40B4-BE49-F238E27FC236}">
                <a16:creationId xmlns:a16="http://schemas.microsoft.com/office/drawing/2014/main" id="{EA0C4E0F-96AB-1CC4-4CA1-F997F4CD40A1}"/>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32AB0A4F-5ED0-8BEC-CB8D-84C4FF409D5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
        <p:nvSpPr>
          <p:cNvPr id="4" name="Pladsholder til dato 3">
            <a:extLst>
              <a:ext uri="{FF2B5EF4-FFF2-40B4-BE49-F238E27FC236}">
                <a16:creationId xmlns:a16="http://schemas.microsoft.com/office/drawing/2014/main" id="{FB5FA6C6-9E57-B344-1ECB-572228E6F0F9}"/>
              </a:ext>
            </a:extLst>
          </p:cNvPr>
          <p:cNvSpPr>
            <a:spLocks noGrp="1"/>
          </p:cNvSpPr>
          <p:nvPr>
            <p:ph type="dt" sz="half" idx="15"/>
          </p:nvPr>
        </p:nvSpPr>
        <p:spPr/>
        <p:txBody>
          <a:bodyPr/>
          <a:lstStyle/>
          <a:p>
            <a:fld id="{6C5A219B-ECE8-44A0-90E5-D19F66BA9A9C}" type="datetime1">
              <a:rPr lang="da-DK" noProof="0" smtClean="0"/>
              <a:t>16-03-2026</a:t>
            </a:fld>
            <a:endParaRPr lang="da-DK" noProof="0"/>
          </a:p>
        </p:txBody>
      </p:sp>
      <p:sp>
        <p:nvSpPr>
          <p:cNvPr id="5" name="Pladsholder til sidefod 4">
            <a:extLst>
              <a:ext uri="{FF2B5EF4-FFF2-40B4-BE49-F238E27FC236}">
                <a16:creationId xmlns:a16="http://schemas.microsoft.com/office/drawing/2014/main" id="{3509E0C2-C1DE-26E3-A037-5ABBEEB6435F}"/>
              </a:ext>
            </a:extLst>
          </p:cNvPr>
          <p:cNvSpPr>
            <a:spLocks noGrp="1"/>
          </p:cNvSpPr>
          <p:nvPr>
            <p:ph type="ftr" sz="quarter" idx="16"/>
          </p:nvPr>
        </p:nvSpPr>
        <p:spPr/>
        <p:txBody>
          <a:bodyPr/>
          <a:lstStyle/>
          <a:p>
            <a:endParaRPr lang="da-DK" noProof="0"/>
          </a:p>
        </p:txBody>
      </p:sp>
      <p:sp>
        <p:nvSpPr>
          <p:cNvPr id="6" name="Pladsholder til slidenummer 5">
            <a:extLst>
              <a:ext uri="{FF2B5EF4-FFF2-40B4-BE49-F238E27FC236}">
                <a16:creationId xmlns:a16="http://schemas.microsoft.com/office/drawing/2014/main" id="{15179469-3944-241C-71F9-AC6B0B44CE3B}"/>
              </a:ext>
            </a:extLst>
          </p:cNvPr>
          <p:cNvSpPr>
            <a:spLocks noGrp="1"/>
          </p:cNvSpPr>
          <p:nvPr>
            <p:ph type="sldNum" sz="quarter" idx="17"/>
          </p:nvPr>
        </p:nvSpPr>
        <p:spPr/>
        <p:txBody>
          <a:bodyPr/>
          <a:lstStyle/>
          <a:p>
            <a:fld id="{FA9C6259-F55B-47A6-AB0B-9E9F0835A2F0}" type="slidenum">
              <a:rPr lang="da-DK" noProof="0" smtClean="0"/>
              <a:pPr/>
              <a:t>‹nr.›</a:t>
            </a:fld>
            <a:endParaRPr lang="da-DK" noProof="0"/>
          </a:p>
        </p:txBody>
      </p:sp>
      <p:sp>
        <p:nvSpPr>
          <p:cNvPr id="7" name="Tekstfelt 6">
            <a:extLst>
              <a:ext uri="{FF2B5EF4-FFF2-40B4-BE49-F238E27FC236}">
                <a16:creationId xmlns:a16="http://schemas.microsoft.com/office/drawing/2014/main" id="{1669DE64-588E-59CF-1F03-7C2791026416}"/>
              </a:ext>
            </a:extLst>
          </p:cNvPr>
          <p:cNvSpPr txBox="1"/>
          <p:nvPr userDrawn="1"/>
        </p:nvSpPr>
        <p:spPr>
          <a:xfrm>
            <a:off x="5643378" y="3351492"/>
            <a:ext cx="914400" cy="914400"/>
          </a:xfrm>
          <a:prstGeom prst="rect">
            <a:avLst/>
          </a:prstGeom>
          <a:noFill/>
        </p:spPr>
        <p:txBody>
          <a:bodyPr wrap="square" rtlCol="0">
            <a:spAutoFit/>
          </a:bodyPr>
          <a:lstStyle/>
          <a:p>
            <a:endParaRPr lang="da-DK"/>
          </a:p>
        </p:txBody>
      </p:sp>
    </p:spTree>
    <p:extLst>
      <p:ext uri="{BB962C8B-B14F-4D97-AF65-F5344CB8AC3E}">
        <p14:creationId xmlns:p14="http://schemas.microsoft.com/office/powerpoint/2010/main" val="3611370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re pointer/tekstelementer">
    <p:bg>
      <p:bgPr>
        <a:solidFill>
          <a:schemeClr val="bg1"/>
        </a:solidFill>
        <a:effectLst/>
      </p:bgPr>
    </p:bg>
    <p:spTree>
      <p:nvGrpSpPr>
        <p:cNvPr id="1" name=""/>
        <p:cNvGrpSpPr/>
        <p:nvPr/>
      </p:nvGrpSpPr>
      <p:grpSpPr>
        <a:xfrm>
          <a:off x="0" y="0"/>
          <a:ext cx="0" cy="0"/>
          <a:chOff x="0" y="0"/>
          <a:chExt cx="0" cy="0"/>
        </a:xfrm>
      </p:grpSpPr>
      <p:sp>
        <p:nvSpPr>
          <p:cNvPr id="8" name="Pladsholder til billede 14">
            <a:extLst>
              <a:ext uri="{FF2B5EF4-FFF2-40B4-BE49-F238E27FC236}">
                <a16:creationId xmlns:a16="http://schemas.microsoft.com/office/drawing/2014/main" id="{553E5F1F-8BAB-6D02-6AE4-D74E4E360DEF}"/>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r>
              <a:rPr lang="da-DK" noProof="0"/>
              <a:t>Klik på ikonet for at tilføje et billede</a:t>
            </a:r>
          </a:p>
        </p:txBody>
      </p:sp>
      <p:sp>
        <p:nvSpPr>
          <p:cNvPr id="3" name="Pladsholder til tekst 2">
            <a:extLst>
              <a:ext uri="{FF2B5EF4-FFF2-40B4-BE49-F238E27FC236}">
                <a16:creationId xmlns:a16="http://schemas.microsoft.com/office/drawing/2014/main" id="{52A32D22-6497-111B-5ED8-EC302ED9F6D3}"/>
              </a:ext>
            </a:extLst>
          </p:cNvPr>
          <p:cNvSpPr>
            <a:spLocks noGrp="1"/>
          </p:cNvSpPr>
          <p:nvPr>
            <p:ph type="body" sz="quarter" idx="26" hasCustomPrompt="1"/>
          </p:nvPr>
        </p:nvSpPr>
        <p:spPr>
          <a:xfrm rot="5400000">
            <a:off x="1343025"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3141450"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24" name="Subtitle 2">
            <a:extLst>
              <a:ext uri="{FF2B5EF4-FFF2-40B4-BE49-F238E27FC236}">
                <a16:creationId xmlns:a16="http://schemas.microsoft.com/office/drawing/2014/main" id="{4DD335D4-2565-8E09-739E-B31DF249384D}"/>
              </a:ext>
            </a:extLst>
          </p:cNvPr>
          <p:cNvSpPr>
            <a:spLocks noGrp="1"/>
          </p:cNvSpPr>
          <p:nvPr>
            <p:ph type="subTitle" idx="1"/>
          </p:nvPr>
        </p:nvSpPr>
        <p:spPr>
          <a:xfrm>
            <a:off x="431798" y="1408884"/>
            <a:ext cx="5664201" cy="576000"/>
          </a:xfrm>
        </p:spPr>
        <p:txBody>
          <a:bodyPr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27" name="Pladsholder til tekst 2">
            <a:extLst>
              <a:ext uri="{FF2B5EF4-FFF2-40B4-BE49-F238E27FC236}">
                <a16:creationId xmlns:a16="http://schemas.microsoft.com/office/drawing/2014/main" id="{18755EF9-BADD-ACFC-6605-C6CCBE3E6C61}"/>
              </a:ext>
            </a:extLst>
          </p:cNvPr>
          <p:cNvSpPr>
            <a:spLocks noGrp="1"/>
          </p:cNvSpPr>
          <p:nvPr>
            <p:ph type="body" sz="quarter" idx="27" hasCustomPrompt="1"/>
          </p:nvPr>
        </p:nvSpPr>
        <p:spPr>
          <a:xfrm rot="5400000">
            <a:off x="4160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29" name="Pladsholder til indhold 38">
            <a:extLst>
              <a:ext uri="{FF2B5EF4-FFF2-40B4-BE49-F238E27FC236}">
                <a16:creationId xmlns:a16="http://schemas.microsoft.com/office/drawing/2014/main" id="{5D7F7C72-5D18-4621-7488-B9721DD26E23}"/>
              </a:ext>
            </a:extLst>
          </p:cNvPr>
          <p:cNvSpPr>
            <a:spLocks noGrp="1"/>
          </p:cNvSpPr>
          <p:nvPr>
            <p:ph sz="quarter" idx="28" hasCustomPrompt="1"/>
          </p:nvPr>
        </p:nvSpPr>
        <p:spPr>
          <a:xfrm>
            <a:off x="5958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31" name="Pladsholder til tekst 2">
            <a:extLst>
              <a:ext uri="{FF2B5EF4-FFF2-40B4-BE49-F238E27FC236}">
                <a16:creationId xmlns:a16="http://schemas.microsoft.com/office/drawing/2014/main" id="{E4E173DA-3F2E-D803-1A5A-DC349D0D7DF9}"/>
              </a:ext>
            </a:extLst>
          </p:cNvPr>
          <p:cNvSpPr>
            <a:spLocks noGrp="1"/>
          </p:cNvSpPr>
          <p:nvPr>
            <p:ph type="body" sz="quarter" idx="29" hasCustomPrompt="1"/>
          </p:nvPr>
        </p:nvSpPr>
        <p:spPr>
          <a:xfrm rot="5400000">
            <a:off x="6968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32" name="Pladsholder til indhold 38">
            <a:extLst>
              <a:ext uri="{FF2B5EF4-FFF2-40B4-BE49-F238E27FC236}">
                <a16:creationId xmlns:a16="http://schemas.microsoft.com/office/drawing/2014/main" id="{AB4154FD-CEC6-4968-4D09-E9C02146256C}"/>
              </a:ext>
            </a:extLst>
          </p:cNvPr>
          <p:cNvSpPr>
            <a:spLocks noGrp="1"/>
          </p:cNvSpPr>
          <p:nvPr>
            <p:ph sz="quarter" idx="30" hasCustomPrompt="1"/>
          </p:nvPr>
        </p:nvSpPr>
        <p:spPr>
          <a:xfrm>
            <a:off x="8766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2" name="Date Placeholder 1">
            <a:extLst>
              <a:ext uri="{FF2B5EF4-FFF2-40B4-BE49-F238E27FC236}">
                <a16:creationId xmlns:a16="http://schemas.microsoft.com/office/drawing/2014/main" id="{835A718A-EAC0-6BE2-ABAA-FB6D84F69387}"/>
              </a:ext>
            </a:extLst>
          </p:cNvPr>
          <p:cNvSpPr>
            <a:spLocks noGrp="1"/>
          </p:cNvSpPr>
          <p:nvPr>
            <p:ph type="dt" sz="half" idx="31"/>
          </p:nvPr>
        </p:nvSpPr>
        <p:spPr/>
        <p:txBody>
          <a:bodyPr/>
          <a:lstStyle/>
          <a:p>
            <a:fld id="{288076E3-7D31-4B0A-A18B-E47E04224B63}" type="datetime1">
              <a:rPr lang="da-DK" noProof="0" smtClean="0"/>
              <a:t>16-03-2026</a:t>
            </a:fld>
            <a:endParaRPr lang="da-DK" noProof="0"/>
          </a:p>
        </p:txBody>
      </p:sp>
      <p:sp>
        <p:nvSpPr>
          <p:cNvPr id="4" name="Footer Placeholder 3">
            <a:extLst>
              <a:ext uri="{FF2B5EF4-FFF2-40B4-BE49-F238E27FC236}">
                <a16:creationId xmlns:a16="http://schemas.microsoft.com/office/drawing/2014/main" id="{8F57F3AF-C3CB-F3F3-2FD8-EB912B833780}"/>
              </a:ext>
            </a:extLst>
          </p:cNvPr>
          <p:cNvSpPr>
            <a:spLocks noGrp="1"/>
          </p:cNvSpPr>
          <p:nvPr>
            <p:ph type="ftr" sz="quarter" idx="32"/>
          </p:nvPr>
        </p:nvSpPr>
        <p:spPr/>
        <p:txBody>
          <a:bodyPr/>
          <a:lstStyle/>
          <a:p>
            <a:endParaRPr lang="da-DK" noProof="0"/>
          </a:p>
        </p:txBody>
      </p:sp>
      <p:sp>
        <p:nvSpPr>
          <p:cNvPr id="9" name="Slide Number Placeholder 8">
            <a:extLst>
              <a:ext uri="{FF2B5EF4-FFF2-40B4-BE49-F238E27FC236}">
                <a16:creationId xmlns:a16="http://schemas.microsoft.com/office/drawing/2014/main" id="{134B34F2-BA17-6C4F-D72C-E5A98B589F4E}"/>
              </a:ext>
            </a:extLst>
          </p:cNvPr>
          <p:cNvSpPr>
            <a:spLocks noGrp="1"/>
          </p:cNvSpPr>
          <p:nvPr>
            <p:ph type="sldNum" sz="quarter" idx="33"/>
          </p:nvPr>
        </p:nvSpPr>
        <p:spPr/>
        <p:txBody>
          <a:bodyPr/>
          <a:lstStyle/>
          <a:p>
            <a:fld id="{FA9C6259-F55B-47A6-AB0B-9E9F0835A2F0}" type="slidenum">
              <a:rPr lang="da-DK" noProof="0" smtClean="0"/>
              <a:pPr/>
              <a:t>‹nr.›</a:t>
            </a:fld>
            <a:endParaRPr lang="da-DK" noProof="0"/>
          </a:p>
        </p:txBody>
      </p:sp>
      <p:sp>
        <p:nvSpPr>
          <p:cNvPr id="5" name="Title 12">
            <a:extLst>
              <a:ext uri="{FF2B5EF4-FFF2-40B4-BE49-F238E27FC236}">
                <a16:creationId xmlns:a16="http://schemas.microsoft.com/office/drawing/2014/main" id="{0DE7C224-B962-8972-B0C8-6CF96CA88AF6}"/>
              </a:ext>
            </a:extLst>
          </p:cNvPr>
          <p:cNvSpPr>
            <a:spLocks noGrp="1"/>
          </p:cNvSpPr>
          <p:nvPr>
            <p:ph type="title" hasCustomPrompt="1"/>
          </p:nvPr>
        </p:nvSpPr>
        <p:spPr>
          <a:xfrm>
            <a:off x="431799" y="431800"/>
            <a:ext cx="7817593"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49731718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13" name="Titel 1">
            <a:extLst>
              <a:ext uri="{FF2B5EF4-FFF2-40B4-BE49-F238E27FC236}">
                <a16:creationId xmlns:a16="http://schemas.microsoft.com/office/drawing/2014/main" id="{9833738D-1655-2E01-2D96-CF62BAEF1D8B}"/>
              </a:ext>
            </a:extLst>
          </p:cNvPr>
          <p:cNvSpPr>
            <a:spLocks noGrp="1"/>
          </p:cNvSpPr>
          <p:nvPr>
            <p:ph type="title" hasCustomPrompt="1"/>
          </p:nvPr>
        </p:nvSpPr>
        <p:spPr>
          <a:xfrm>
            <a:off x="1343025" y="3429000"/>
            <a:ext cx="10415588" cy="2700338"/>
          </a:xfrm>
        </p:spPr>
        <p:txBody>
          <a:bodyPr>
            <a:noAutofit/>
          </a:bodyPr>
          <a:lstStyle>
            <a:lvl1pPr>
              <a:defRPr sz="4800"/>
            </a:lvl1pPr>
          </a:lstStyle>
          <a:p>
            <a:r>
              <a:rPr lang="da-DK" noProof="0"/>
              <a:t>Klik for at redigere titeltypografien i masteren </a:t>
            </a:r>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noProof="0"/>
          </a:p>
        </p:txBody>
      </p:sp>
      <p:sp>
        <p:nvSpPr>
          <p:cNvPr id="5" name="Date Placeholder 3">
            <a:extLst>
              <a:ext uri="{FF2B5EF4-FFF2-40B4-BE49-F238E27FC236}">
                <a16:creationId xmlns:a16="http://schemas.microsoft.com/office/drawing/2014/main" id="{3F674094-7348-AD13-9336-140AED7B595A}"/>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E53187F7-EE9E-4C07-A319-BEDF074FA53F}" type="datetime1">
              <a:rPr lang="da-DK" smtClean="0"/>
              <a:t>16-03-2026</a:t>
            </a:fld>
            <a:endParaRPr lang="da-DK"/>
          </a:p>
        </p:txBody>
      </p:sp>
      <p:sp>
        <p:nvSpPr>
          <p:cNvPr id="6" name="Slide Number Placeholder 5">
            <a:extLst>
              <a:ext uri="{FF2B5EF4-FFF2-40B4-BE49-F238E27FC236}">
                <a16:creationId xmlns:a16="http://schemas.microsoft.com/office/drawing/2014/main" id="{24DF31B2-A3B9-9A36-12CA-EFB139B1674B}"/>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a:p>
        </p:txBody>
      </p:sp>
    </p:spTree>
    <p:extLst>
      <p:ext uri="{BB962C8B-B14F-4D97-AF65-F5344CB8AC3E}">
        <p14:creationId xmlns:p14="http://schemas.microsoft.com/office/powerpoint/2010/main" val="380270046"/>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Konklusion/sidste side">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5499103" y="444679"/>
            <a:ext cx="7920000" cy="792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7038975" y="2457338"/>
            <a:ext cx="4719638" cy="2160000"/>
          </a:xfrm>
        </p:spPr>
        <p:txBody>
          <a:bodyPr anchor="b">
            <a:noAutofit/>
          </a:bodyPr>
          <a:lstStyle>
            <a:lvl1pPr algn="l">
              <a:defRPr sz="4800"/>
            </a:lvl1pPr>
          </a:lstStyle>
          <a:p>
            <a:r>
              <a:rPr lang="da-DK" noProof="0" err="1"/>
              <a:t>Click</a:t>
            </a:r>
            <a:r>
              <a:rPr lang="da-DK" noProof="0"/>
              <a:t> to </a:t>
            </a:r>
            <a:r>
              <a:rPr lang="da-DK" noProof="0" err="1"/>
              <a:t>edit</a:t>
            </a:r>
            <a:r>
              <a:rPr lang="da-DK" noProof="0"/>
              <a:t> Master </a:t>
            </a:r>
            <a:r>
              <a:rPr lang="da-DK" noProof="0" err="1"/>
              <a:t>title</a:t>
            </a:r>
            <a:r>
              <a:rPr lang="da-DK" noProof="0"/>
              <a:t> style</a:t>
            </a:r>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noProof="0"/>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7038976" y="4617338"/>
            <a:ext cx="4719638" cy="1512000"/>
          </a:xfrm>
        </p:spPr>
        <p:txBody>
          <a:bodyPr lIns="36000" anchor="t">
            <a:noAutofit/>
          </a:bodyPr>
          <a:lstStyle>
            <a:lvl1pPr marL="342900" indent="-342900" algn="l">
              <a:lnSpc>
                <a:spcPct val="120000"/>
              </a:lnSpc>
              <a:spcBef>
                <a:spcPts val="0"/>
              </a:spcBef>
              <a:buFont typeface="+mj-lt"/>
              <a:buAutoNum type="arabicPeriod"/>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pic>
        <p:nvPicPr>
          <p:cNvPr id="6" name="Graphic 5">
            <a:extLst>
              <a:ext uri="{FF2B5EF4-FFF2-40B4-BE49-F238E27FC236}">
                <a16:creationId xmlns:a16="http://schemas.microsoft.com/office/drawing/2014/main" id="{0D69537C-4A71-E649-D275-FE331EC6012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29600"/>
            <a:ext cx="1435201" cy="144000"/>
          </a:xfrm>
          <a:prstGeom prst="rect">
            <a:avLst/>
          </a:prstGeom>
        </p:spPr>
      </p:pic>
      <p:sp>
        <p:nvSpPr>
          <p:cNvPr id="3" name="Date Placeholder 3">
            <a:extLst>
              <a:ext uri="{FF2B5EF4-FFF2-40B4-BE49-F238E27FC236}">
                <a16:creationId xmlns:a16="http://schemas.microsoft.com/office/drawing/2014/main" id="{46590272-8AD5-A905-5BB4-02668CFAB3E3}"/>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C53C5C5C-F267-47F9-B428-7B2032BDE43B}" type="datetime1">
              <a:rPr lang="da-DK" smtClean="0"/>
              <a:t>16-03-2026</a:t>
            </a:fld>
            <a:endParaRPr lang="da-DK"/>
          </a:p>
        </p:txBody>
      </p:sp>
      <p:sp>
        <p:nvSpPr>
          <p:cNvPr id="7" name="Slide Number Placeholder 5">
            <a:extLst>
              <a:ext uri="{FF2B5EF4-FFF2-40B4-BE49-F238E27FC236}">
                <a16:creationId xmlns:a16="http://schemas.microsoft.com/office/drawing/2014/main" id="{31B64532-973F-5B67-FFCD-79FD4EF447DE}"/>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a:p>
        </p:txBody>
      </p:sp>
    </p:spTree>
    <p:extLst>
      <p:ext uri="{BB962C8B-B14F-4D97-AF65-F5344CB8AC3E}">
        <p14:creationId xmlns:p14="http://schemas.microsoft.com/office/powerpoint/2010/main" val="2112818942"/>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3090F1F2-3AE0-677B-B191-BA5C5084BA79}"/>
              </a:ext>
            </a:extLst>
          </p:cNvPr>
          <p:cNvSpPr>
            <a:spLocks noGrp="1"/>
          </p:cNvSpPr>
          <p:nvPr>
            <p:ph type="ftr" sz="quarter" idx="11"/>
          </p:nvPr>
        </p:nvSpPr>
        <p:spPr/>
        <p:txBody>
          <a:bodyPr/>
          <a:lstStyle/>
          <a:p>
            <a:endParaRPr lang="da-DK" noProof="0"/>
          </a:p>
        </p:txBody>
      </p:sp>
      <p:sp>
        <p:nvSpPr>
          <p:cNvPr id="3" name="Date Placeholder 3">
            <a:extLst>
              <a:ext uri="{FF2B5EF4-FFF2-40B4-BE49-F238E27FC236}">
                <a16:creationId xmlns:a16="http://schemas.microsoft.com/office/drawing/2014/main" id="{57A7E824-3783-83D8-49C6-1373FBC9578D}"/>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1429F49-EF02-4B4C-A072-DC71A81383C0}" type="datetime1">
              <a:rPr lang="da-DK" smtClean="0"/>
              <a:t>16-03-2026</a:t>
            </a:fld>
            <a:endParaRPr lang="da-DK"/>
          </a:p>
        </p:txBody>
      </p:sp>
      <p:sp>
        <p:nvSpPr>
          <p:cNvPr id="4" name="Slide Number Placeholder 5">
            <a:extLst>
              <a:ext uri="{FF2B5EF4-FFF2-40B4-BE49-F238E27FC236}">
                <a16:creationId xmlns:a16="http://schemas.microsoft.com/office/drawing/2014/main" id="{2761DA60-8B13-A35C-60BB-1EA8353C9FE9}"/>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a:p>
        </p:txBody>
      </p:sp>
    </p:spTree>
    <p:extLst>
      <p:ext uri="{BB962C8B-B14F-4D97-AF65-F5344CB8AC3E}">
        <p14:creationId xmlns:p14="http://schemas.microsoft.com/office/powerpoint/2010/main" val="335095095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2BDC76B8-60F6-62D3-9F73-E81662203017}"/>
              </a:ext>
            </a:extLst>
          </p:cNvPr>
          <p:cNvSpPr>
            <a:spLocks noGrp="1"/>
          </p:cNvSpPr>
          <p:nvPr>
            <p:ph type="subTitle" idx="1"/>
          </p:nvPr>
        </p:nvSpPr>
        <p:spPr>
          <a:xfrm>
            <a:off x="431798" y="1656000"/>
            <a:ext cx="11326815" cy="4473338"/>
          </a:xfrm>
        </p:spPr>
        <p:txBody>
          <a:bodyPr numCol="3" spcCol="144000" anchor="t">
            <a:noAutofit/>
          </a:bodyPr>
          <a:lstStyle>
            <a:lvl1pPr marL="0" indent="0" algn="l">
              <a:lnSpc>
                <a:spcPct val="120000"/>
              </a:lnSpc>
              <a:spcBef>
                <a:spcPts val="0"/>
              </a:spcBef>
              <a:buFont typeface="Arial" panose="020B0604020202020204" pitchFamily="34" charset="0"/>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5" name="Title 12">
            <a:extLst>
              <a:ext uri="{FF2B5EF4-FFF2-40B4-BE49-F238E27FC236}">
                <a16:creationId xmlns:a16="http://schemas.microsoft.com/office/drawing/2014/main" id="{87F5063C-8F7E-80E1-9FBC-729FA5847175}"/>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6" name="Date Placeholder 3">
            <a:extLst>
              <a:ext uri="{FF2B5EF4-FFF2-40B4-BE49-F238E27FC236}">
                <a16:creationId xmlns:a16="http://schemas.microsoft.com/office/drawing/2014/main" id="{518D40DF-92CE-4E7E-26C8-60935BC266DF}"/>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3FF7181A-0FFA-47EC-B27E-43306E7DCE3A}" type="datetime1">
              <a:rPr lang="da-DK" smtClean="0"/>
              <a:t>16-03-2026</a:t>
            </a:fld>
            <a:endParaRPr lang="da-DK"/>
          </a:p>
        </p:txBody>
      </p:sp>
      <p:sp>
        <p:nvSpPr>
          <p:cNvPr id="7" name="Slide Number Placeholder 5">
            <a:extLst>
              <a:ext uri="{FF2B5EF4-FFF2-40B4-BE49-F238E27FC236}">
                <a16:creationId xmlns:a16="http://schemas.microsoft.com/office/drawing/2014/main" id="{0F04D959-3E90-CFEB-7292-B6382BE38D7C}"/>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a:p>
        </p:txBody>
      </p:sp>
    </p:spTree>
    <p:extLst>
      <p:ext uri="{BB962C8B-B14F-4D97-AF65-F5344CB8AC3E}">
        <p14:creationId xmlns:p14="http://schemas.microsoft.com/office/powerpoint/2010/main" val="3074818845"/>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 spalte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noProof="0"/>
              <a:t>Klik for at redigere titeltypografien i masteren</a:t>
            </a:r>
          </a:p>
        </p:txBody>
      </p:sp>
      <p:sp>
        <p:nvSpPr>
          <p:cNvPr id="3" name="Content Placeholder 2"/>
          <p:cNvSpPr>
            <a:spLocks noGrp="1"/>
          </p:cNvSpPr>
          <p:nvPr>
            <p:ph idx="1" hasCustomPrompt="1"/>
          </p:nvPr>
        </p:nvSpPr>
        <p:spPr/>
        <p:txBody>
          <a:bodyPr/>
          <a:lstStyle>
            <a:lvl1pPr>
              <a:defRPr/>
            </a:lvl1p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8" name="Pladsholder til indhold 30">
            <a:extLst>
              <a:ext uri="{FF2B5EF4-FFF2-40B4-BE49-F238E27FC236}">
                <a16:creationId xmlns:a16="http://schemas.microsoft.com/office/drawing/2014/main" id="{D9A3C91C-8ECC-4700-93EE-AB873B7B3C4D}"/>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Slide Number Placeholder 8">
            <a:extLst>
              <a:ext uri="{FF2B5EF4-FFF2-40B4-BE49-F238E27FC236}">
                <a16:creationId xmlns:a16="http://schemas.microsoft.com/office/drawing/2014/main" id="{7EF78581-ECF4-4EF5-9368-9774A00A7EA8}"/>
              </a:ext>
            </a:extLst>
          </p:cNvPr>
          <p:cNvSpPr>
            <a:spLocks noGrp="1"/>
          </p:cNvSpPr>
          <p:nvPr>
            <p:ph type="sldNum" sz="quarter" idx="12"/>
          </p:nvPr>
        </p:nvSpPr>
        <p:spPr/>
        <p:txBody>
          <a:bodyPr/>
          <a:lstStyle/>
          <a:p>
            <a:fld id="{23AA811B-2EBD-4900-905E-5BE206449611}" type="slidenum">
              <a:rPr lang="da-DK" smtClean="0"/>
              <a:pPr/>
              <a:t>‹nr.›</a:t>
            </a:fld>
            <a:endParaRPr lang="da-DK"/>
          </a:p>
        </p:txBody>
      </p:sp>
      <p:sp>
        <p:nvSpPr>
          <p:cNvPr id="10" name="Date Placeholder 9">
            <a:extLst>
              <a:ext uri="{FF2B5EF4-FFF2-40B4-BE49-F238E27FC236}">
                <a16:creationId xmlns:a16="http://schemas.microsoft.com/office/drawing/2014/main" id="{343A3E2D-3CEE-4EF1-B38F-DD2C041C42DD}"/>
              </a:ext>
            </a:extLst>
          </p:cNvPr>
          <p:cNvSpPr>
            <a:spLocks noGrp="1"/>
          </p:cNvSpPr>
          <p:nvPr>
            <p:ph type="dt" sz="half" idx="13"/>
          </p:nvPr>
        </p:nvSpPr>
        <p:spPr/>
        <p:txBody>
          <a:bodyPr/>
          <a:lstStyle/>
          <a:p>
            <a:fld id="{FD7E0D71-057C-40D0-896F-87B96439CFBD}" type="datetime1">
              <a:rPr lang="da-DK" smtClean="0"/>
              <a:t>16-03-2026</a:t>
            </a:fld>
            <a:endParaRPr lang="da-DK"/>
          </a:p>
        </p:txBody>
      </p:sp>
      <p:sp>
        <p:nvSpPr>
          <p:cNvPr id="11" name="Footer Placeholder 10">
            <a:extLst>
              <a:ext uri="{FF2B5EF4-FFF2-40B4-BE49-F238E27FC236}">
                <a16:creationId xmlns:a16="http://schemas.microsoft.com/office/drawing/2014/main" id="{FF87DD96-4C54-492F-A175-8E9CB1721B61}"/>
              </a:ext>
            </a:extLst>
          </p:cNvPr>
          <p:cNvSpPr>
            <a:spLocks noGrp="1"/>
          </p:cNvSpPr>
          <p:nvPr>
            <p:ph type="ftr" sz="quarter" idx="14"/>
          </p:nvPr>
        </p:nvSpPr>
        <p:spPr/>
        <p:txBody>
          <a:bodyPr/>
          <a:lstStyle/>
          <a:p>
            <a:endParaRPr lang="da-DK"/>
          </a:p>
        </p:txBody>
      </p:sp>
    </p:spTree>
    <p:extLst>
      <p:ext uri="{BB962C8B-B14F-4D97-AF65-F5344CB8AC3E}">
        <p14:creationId xmlns:p14="http://schemas.microsoft.com/office/powerpoint/2010/main" val="231826883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Forside stort foto">
    <p:bg>
      <p:bgRef idx="1001">
        <a:schemeClr val="bg2"/>
      </p:bgRef>
    </p:bg>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5151438" y="3305251"/>
            <a:ext cx="4320000" cy="43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13" name="Pladsholder til billede 12">
            <a:extLst>
              <a:ext uri="{FF2B5EF4-FFF2-40B4-BE49-F238E27FC236}">
                <a16:creationId xmlns:a16="http://schemas.microsoft.com/office/drawing/2014/main" id="{B4BB3258-0B60-1552-4805-6DF2745AB181}"/>
              </a:ext>
            </a:extLst>
          </p:cNvPr>
          <p:cNvSpPr>
            <a:spLocks noGrp="1"/>
          </p:cNvSpPr>
          <p:nvPr>
            <p:ph type="pic" sz="quarter" idx="14"/>
          </p:nvPr>
        </p:nvSpPr>
        <p:spPr>
          <a:xfrm>
            <a:off x="6431999" y="766"/>
            <a:ext cx="5760000" cy="5759234"/>
          </a:xfrm>
          <a:custGeom>
            <a:avLst/>
            <a:gdLst>
              <a:gd name="connsiteX0" fmla="*/ 246529 w 5760000"/>
              <a:gd name="connsiteY0" fmla="*/ 0 h 5759234"/>
              <a:gd name="connsiteX1" fmla="*/ 5760000 w 5760000"/>
              <a:gd name="connsiteY1" fmla="*/ 0 h 5759234"/>
              <a:gd name="connsiteX2" fmla="*/ 5760000 w 5760000"/>
              <a:gd name="connsiteY2" fmla="*/ 5512446 h 5759234"/>
              <a:gd name="connsiteX3" fmla="*/ 5604636 w 5760000"/>
              <a:gd name="connsiteY3" fmla="*/ 5565016 h 5759234"/>
              <a:gd name="connsiteX4" fmla="*/ 4320000 w 5760000"/>
              <a:gd name="connsiteY4" fmla="*/ 5759234 h 5759234"/>
              <a:gd name="connsiteX5" fmla="*/ 0 w 5760000"/>
              <a:gd name="connsiteY5" fmla="*/ 1439234 h 5759234"/>
              <a:gd name="connsiteX6" fmla="*/ 194219 w 5760000"/>
              <a:gd name="connsiteY6" fmla="*/ 154598 h 5759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60000" h="5759234">
                <a:moveTo>
                  <a:pt x="246529" y="0"/>
                </a:moveTo>
                <a:lnTo>
                  <a:pt x="5760000" y="0"/>
                </a:lnTo>
                <a:lnTo>
                  <a:pt x="5760000" y="5512446"/>
                </a:lnTo>
                <a:lnTo>
                  <a:pt x="5604636" y="5565016"/>
                </a:lnTo>
                <a:cubicBezTo>
                  <a:pt x="5198820" y="5691238"/>
                  <a:pt x="4767351" y="5759234"/>
                  <a:pt x="4320000" y="5759234"/>
                </a:cubicBezTo>
                <a:cubicBezTo>
                  <a:pt x="1934130" y="5759234"/>
                  <a:pt x="0" y="3825104"/>
                  <a:pt x="0" y="1439234"/>
                </a:cubicBezTo>
                <a:cubicBezTo>
                  <a:pt x="0" y="991884"/>
                  <a:pt x="67997" y="560414"/>
                  <a:pt x="194219" y="154598"/>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a:noAutofit/>
          </a:bodyPr>
          <a:lstStyle/>
          <a:p>
            <a:r>
              <a:rPr lang="da-DK" noProof="0"/>
              <a:t>Klik på ikonet for at tilføje et billede</a:t>
            </a:r>
          </a:p>
        </p:txBody>
      </p:sp>
      <p:sp>
        <p:nvSpPr>
          <p:cNvPr id="10" name="Title 1">
            <a:extLst>
              <a:ext uri="{FF2B5EF4-FFF2-40B4-BE49-F238E27FC236}">
                <a16:creationId xmlns:a16="http://schemas.microsoft.com/office/drawing/2014/main" id="{C34E04C9-69D3-EB50-5ED9-9026462005DA}"/>
              </a:ext>
            </a:extLst>
          </p:cNvPr>
          <p:cNvSpPr>
            <a:spLocks noGrp="1"/>
          </p:cNvSpPr>
          <p:nvPr>
            <p:ph type="ctrTitle"/>
          </p:nvPr>
        </p:nvSpPr>
        <p:spPr>
          <a:xfrm>
            <a:off x="431799" y="2088000"/>
            <a:ext cx="7535864" cy="3456000"/>
          </a:xfrm>
        </p:spPr>
        <p:txBody>
          <a:bodyPr anchor="b">
            <a:noAutofit/>
          </a:bodyPr>
          <a:lstStyle>
            <a:lvl1pPr algn="l">
              <a:defRPr sz="4800" b="0" i="0">
                <a:latin typeface="Work Sans Light" pitchFamily="2" charset="77"/>
              </a:defRPr>
            </a:lvl1pPr>
          </a:lstStyle>
          <a:p>
            <a:r>
              <a:rPr lang="da-DK" noProof="0"/>
              <a:t>Klik for at redigere titeltypografien i masteren</a:t>
            </a:r>
          </a:p>
        </p:txBody>
      </p:sp>
      <p:sp>
        <p:nvSpPr>
          <p:cNvPr id="17" name="Date Placeholder 16">
            <a:extLst>
              <a:ext uri="{FF2B5EF4-FFF2-40B4-BE49-F238E27FC236}">
                <a16:creationId xmlns:a16="http://schemas.microsoft.com/office/drawing/2014/main" id="{F7AA5E47-C4B4-BF95-F6A3-D5FD9F42591A}"/>
              </a:ext>
            </a:extLst>
          </p:cNvPr>
          <p:cNvSpPr>
            <a:spLocks noGrp="1"/>
          </p:cNvSpPr>
          <p:nvPr>
            <p:ph type="dt" sz="half" idx="15"/>
          </p:nvPr>
        </p:nvSpPr>
        <p:spPr/>
        <p:txBody>
          <a:bodyPr/>
          <a:lstStyle/>
          <a:p>
            <a:fld id="{F7E64F19-F0F7-406F-AC0F-3ECFC744BBDA}" type="datetimeFigureOut">
              <a:rPr lang="da-DK" noProof="0" smtClean="0"/>
              <a:pPr/>
              <a:t>16-03-2026</a:t>
            </a:fld>
            <a:endParaRPr lang="da-DK" noProof="0"/>
          </a:p>
        </p:txBody>
      </p:sp>
      <p:sp>
        <p:nvSpPr>
          <p:cNvPr id="18" name="Footer Placeholder 17">
            <a:extLst>
              <a:ext uri="{FF2B5EF4-FFF2-40B4-BE49-F238E27FC236}">
                <a16:creationId xmlns:a16="http://schemas.microsoft.com/office/drawing/2014/main" id="{0EB72483-46D8-AF30-C0D9-889B0ECCCC92}"/>
              </a:ext>
            </a:extLst>
          </p:cNvPr>
          <p:cNvSpPr>
            <a:spLocks noGrp="1"/>
          </p:cNvSpPr>
          <p:nvPr>
            <p:ph type="ftr" sz="quarter" idx="16"/>
          </p:nvPr>
        </p:nvSpPr>
        <p:spPr/>
        <p:txBody>
          <a:bodyPr/>
          <a:lstStyle/>
          <a:p>
            <a:endParaRPr lang="da-DK" noProof="0"/>
          </a:p>
        </p:txBody>
      </p:sp>
      <p:sp>
        <p:nvSpPr>
          <p:cNvPr id="19" name="Slide Number Placeholder 18">
            <a:extLst>
              <a:ext uri="{FF2B5EF4-FFF2-40B4-BE49-F238E27FC236}">
                <a16:creationId xmlns:a16="http://schemas.microsoft.com/office/drawing/2014/main" id="{D48941EA-2095-71AE-0258-6CA2B3A0651D}"/>
              </a:ext>
            </a:extLst>
          </p:cNvPr>
          <p:cNvSpPr>
            <a:spLocks noGrp="1"/>
          </p:cNvSpPr>
          <p:nvPr>
            <p:ph type="sldNum" sz="quarter" idx="17"/>
          </p:nvPr>
        </p:nvSpPr>
        <p:spPr/>
        <p:txBody>
          <a:bodyPr/>
          <a:lstStyle/>
          <a:p>
            <a:fld id="{FA9C6259-F55B-47A6-AB0B-9E9F0835A2F0}" type="slidenum">
              <a:rPr lang="da-DK" noProof="0" smtClean="0"/>
              <a:pPr/>
              <a:t>‹nr.›</a:t>
            </a:fld>
            <a:endParaRPr lang="da-DK" noProof="0"/>
          </a:p>
        </p:txBody>
      </p:sp>
      <p:sp>
        <p:nvSpPr>
          <p:cNvPr id="2" name="Subtitle 2">
            <a:extLst>
              <a:ext uri="{FF2B5EF4-FFF2-40B4-BE49-F238E27FC236}">
                <a16:creationId xmlns:a16="http://schemas.microsoft.com/office/drawing/2014/main" id="{EA0C4E0F-96AB-1CC4-4CA1-F997F4CD40A1}"/>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32AB0A4F-5ED0-8BEC-CB8D-84C4FF409D5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208512902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Forside mellem foto">
    <p:bg>
      <p:bgRef idx="1001">
        <a:schemeClr val="bg2"/>
      </p:bgRef>
    </p:bg>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3E6CE99E-569B-9EF8-3E2C-E9703F108999}"/>
              </a:ext>
            </a:extLst>
          </p:cNvPr>
          <p:cNvSpPr>
            <a:spLocks noGrp="1"/>
          </p:cNvSpPr>
          <p:nvPr userDrawn="1">
            <p:ph type="dt" sz="half" idx="10"/>
          </p:nvPr>
        </p:nvSpPr>
        <p:spPr/>
        <p:txBody>
          <a:bodyPr/>
          <a:lstStyle/>
          <a:p>
            <a:fld id="{FEA49362-C25C-48E1-B061-067B66DFFD59}" type="datetime1">
              <a:rPr lang="da-DK" noProof="0" smtClean="0"/>
              <a:t>16-03-2026</a:t>
            </a:fld>
            <a:endParaRPr lang="da-DK" noProof="0"/>
          </a:p>
        </p:txBody>
      </p:sp>
      <p:sp>
        <p:nvSpPr>
          <p:cNvPr id="6" name="Footer Placeholder 5">
            <a:extLst>
              <a:ext uri="{FF2B5EF4-FFF2-40B4-BE49-F238E27FC236}">
                <a16:creationId xmlns:a16="http://schemas.microsoft.com/office/drawing/2014/main" id="{41944FA7-AAA6-D86F-6147-BF737C629904}"/>
              </a:ext>
            </a:extLst>
          </p:cNvPr>
          <p:cNvSpPr>
            <a:spLocks noGrp="1"/>
          </p:cNvSpPr>
          <p:nvPr userDrawn="1">
            <p:ph type="ftr" sz="quarter" idx="11"/>
          </p:nvPr>
        </p:nvSpPr>
        <p:spPr/>
        <p:txBody>
          <a:bodyPr/>
          <a:lstStyle/>
          <a:p>
            <a:endParaRPr lang="da-DK" noProof="0"/>
          </a:p>
        </p:txBody>
      </p:sp>
      <p:sp>
        <p:nvSpPr>
          <p:cNvPr id="7" name="Slide Number Placeholder 6">
            <a:extLst>
              <a:ext uri="{FF2B5EF4-FFF2-40B4-BE49-F238E27FC236}">
                <a16:creationId xmlns:a16="http://schemas.microsoft.com/office/drawing/2014/main" id="{CDB96B87-E1F8-B928-94D1-10C1C20F99FC}"/>
              </a:ext>
            </a:extLst>
          </p:cNvPr>
          <p:cNvSpPr>
            <a:spLocks noGrp="1"/>
          </p:cNvSpPr>
          <p:nvPr userDrawn="1">
            <p:ph type="sldNum" sz="quarter" idx="12"/>
          </p:nvPr>
        </p:nvSpPr>
        <p:spPr/>
        <p:txBody>
          <a:bodyPr/>
          <a:lstStyle/>
          <a:p>
            <a:fld id="{E32394A6-AED1-4B79-B4B6-933D748A7F18}" type="slidenum">
              <a:rPr lang="da-DK" noProof="0" smtClean="0"/>
              <a:t>‹nr.›</a:t>
            </a:fld>
            <a:endParaRPr lang="da-DK" noProof="0"/>
          </a:p>
        </p:txBody>
      </p:sp>
      <p:sp>
        <p:nvSpPr>
          <p:cNvPr id="15" name="Pladsholder til billede 14">
            <a:extLst>
              <a:ext uri="{FF2B5EF4-FFF2-40B4-BE49-F238E27FC236}">
                <a16:creationId xmlns:a16="http://schemas.microsoft.com/office/drawing/2014/main" id="{D4F0A874-BE77-EA98-4884-E920ADA15F98}"/>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r>
              <a:rPr lang="da-DK" noProof="0"/>
              <a:t>Klik på ikonet for at tilføje et billede</a:t>
            </a:r>
          </a:p>
        </p:txBody>
      </p:sp>
      <p:sp>
        <p:nvSpPr>
          <p:cNvPr id="10" name="Title 1">
            <a:extLst>
              <a:ext uri="{FF2B5EF4-FFF2-40B4-BE49-F238E27FC236}">
                <a16:creationId xmlns:a16="http://schemas.microsoft.com/office/drawing/2014/main" id="{4F7F7B28-3669-A985-CDFF-1D1034D69153}"/>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a:t>Klik for at redigere titeltypografien i masteren</a:t>
            </a:r>
          </a:p>
        </p:txBody>
      </p:sp>
      <p:sp>
        <p:nvSpPr>
          <p:cNvPr id="2" name="Subtitle 2">
            <a:extLst>
              <a:ext uri="{FF2B5EF4-FFF2-40B4-BE49-F238E27FC236}">
                <a16:creationId xmlns:a16="http://schemas.microsoft.com/office/drawing/2014/main" id="{DA5B75DC-64B3-F2AC-CB73-2BDE14D81F6B}"/>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38FFD4DE-7414-97A0-A23B-0BF452ECA41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425053133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For- og mellemside 1">
    <p:bg>
      <p:bgRef idx="1001">
        <a:schemeClr val="bg2"/>
      </p:bgRef>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936100" y="1816678"/>
            <a:ext cx="14400000" cy="1440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431799" y="2088000"/>
            <a:ext cx="7535864" cy="3456000"/>
          </a:xfrm>
        </p:spPr>
        <p:txBody>
          <a:bodyPr anchor="b">
            <a:noAutofit/>
          </a:bodyPr>
          <a:lstStyle>
            <a:lvl1pPr algn="l">
              <a:defRPr sz="4800"/>
            </a:lvl1pPr>
          </a:lstStyle>
          <a:p>
            <a:r>
              <a:rPr lang="da-DK" noProof="0"/>
              <a:t>Klik for at redigere titeltypografien i masteren</a:t>
            </a:r>
          </a:p>
        </p:txBody>
      </p:sp>
      <p:sp>
        <p:nvSpPr>
          <p:cNvPr id="4" name="Date Placeholder 3">
            <a:extLst>
              <a:ext uri="{FF2B5EF4-FFF2-40B4-BE49-F238E27FC236}">
                <a16:creationId xmlns:a16="http://schemas.microsoft.com/office/drawing/2014/main" id="{4C4CE7D8-6EC0-2491-8806-3C1E5919B56A}"/>
              </a:ext>
            </a:extLst>
          </p:cNvPr>
          <p:cNvSpPr>
            <a:spLocks noGrp="1"/>
          </p:cNvSpPr>
          <p:nvPr>
            <p:ph type="dt" sz="half" idx="10"/>
          </p:nvPr>
        </p:nvSpPr>
        <p:spPr/>
        <p:txBody>
          <a:bodyPr/>
          <a:lstStyle/>
          <a:p>
            <a:fld id="{F7E64F19-F0F7-406F-AC0F-3ECFC744BBDA}" type="datetimeFigureOut">
              <a:rPr lang="da-DK" noProof="0" smtClean="0"/>
              <a:pPr/>
              <a:t>16-03-2026</a:t>
            </a:fld>
            <a:endParaRPr lang="da-DK" noProof="0"/>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DEDDE538-0CB7-902A-4AB4-ACEC925EBE81}"/>
              </a:ext>
            </a:extLst>
          </p:cNvPr>
          <p:cNvSpPr>
            <a:spLocks noGrp="1"/>
          </p:cNvSpPr>
          <p:nvPr>
            <p:ph type="sldNum" sz="quarter" idx="12"/>
          </p:nvPr>
        </p:nvSpPr>
        <p:spPr/>
        <p:txBody>
          <a:bodyPr/>
          <a:lstStyle/>
          <a:p>
            <a:fld id="{FA9C6259-F55B-47A6-AB0B-9E9F0835A2F0}" type="slidenum">
              <a:rPr lang="da-DK" noProof="0" smtClean="0"/>
              <a:pPr/>
              <a:t>‹nr.›</a:t>
            </a:fld>
            <a:endParaRPr lang="da-DK" noProof="0"/>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3FC54590-129B-2F4E-C990-7EDBCF0551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192854083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For- og mellemside 2">
    <p:bg>
      <p:bgRef idx="1001">
        <a:schemeClr val="bg2"/>
      </p:bgRef>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803305" y="-10033678"/>
            <a:ext cx="14400000" cy="1440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12" name="Title 1">
            <a:extLst>
              <a:ext uri="{FF2B5EF4-FFF2-40B4-BE49-F238E27FC236}">
                <a16:creationId xmlns:a16="http://schemas.microsoft.com/office/drawing/2014/main" id="{A07F47E0-90FC-E8B7-B715-D3C7DEAA0FD6}"/>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a:t>Klik for at redigere titeltypografien i masteren</a:t>
            </a:r>
          </a:p>
        </p:txBody>
      </p:sp>
      <p:sp>
        <p:nvSpPr>
          <p:cNvPr id="15" name="Date Placeholder 14">
            <a:extLst>
              <a:ext uri="{FF2B5EF4-FFF2-40B4-BE49-F238E27FC236}">
                <a16:creationId xmlns:a16="http://schemas.microsoft.com/office/drawing/2014/main" id="{AB7CEF90-B062-3E9D-C7C5-39575003AE1D}"/>
              </a:ext>
            </a:extLst>
          </p:cNvPr>
          <p:cNvSpPr>
            <a:spLocks noGrp="1"/>
          </p:cNvSpPr>
          <p:nvPr>
            <p:ph type="dt" sz="half" idx="10"/>
          </p:nvPr>
        </p:nvSpPr>
        <p:spPr/>
        <p:txBody>
          <a:bodyPr/>
          <a:lstStyle/>
          <a:p>
            <a:fld id="{F7E64F19-F0F7-406F-AC0F-3ECFC744BBDA}" type="datetimeFigureOut">
              <a:rPr lang="da-DK" noProof="0" smtClean="0"/>
              <a:pPr/>
              <a:t>16-03-2026</a:t>
            </a:fld>
            <a:endParaRPr lang="da-DK" noProof="0"/>
          </a:p>
        </p:txBody>
      </p:sp>
      <p:sp>
        <p:nvSpPr>
          <p:cNvPr id="16" name="Footer Placeholder 15">
            <a:extLst>
              <a:ext uri="{FF2B5EF4-FFF2-40B4-BE49-F238E27FC236}">
                <a16:creationId xmlns:a16="http://schemas.microsoft.com/office/drawing/2014/main" id="{5C96EA94-779A-6A0C-8DAF-15DD10091434}"/>
              </a:ext>
            </a:extLst>
          </p:cNvPr>
          <p:cNvSpPr>
            <a:spLocks noGrp="1"/>
          </p:cNvSpPr>
          <p:nvPr>
            <p:ph type="ftr" sz="quarter" idx="11"/>
          </p:nvPr>
        </p:nvSpPr>
        <p:spPr/>
        <p:txBody>
          <a:bodyPr/>
          <a:lstStyle/>
          <a:p>
            <a:endParaRPr lang="da-DK" noProof="0"/>
          </a:p>
        </p:txBody>
      </p:sp>
      <p:sp>
        <p:nvSpPr>
          <p:cNvPr id="17" name="Slide Number Placeholder 16">
            <a:extLst>
              <a:ext uri="{FF2B5EF4-FFF2-40B4-BE49-F238E27FC236}">
                <a16:creationId xmlns:a16="http://schemas.microsoft.com/office/drawing/2014/main" id="{A4254271-E7EC-79F0-7144-FE1848A055F0}"/>
              </a:ext>
            </a:extLst>
          </p:cNvPr>
          <p:cNvSpPr>
            <a:spLocks noGrp="1"/>
          </p:cNvSpPr>
          <p:nvPr>
            <p:ph type="sldNum" sz="quarter" idx="12"/>
          </p:nvPr>
        </p:nvSpPr>
        <p:spPr/>
        <p:txBody>
          <a:bodyPr/>
          <a:lstStyle/>
          <a:p>
            <a:fld id="{FA9C6259-F55B-47A6-AB0B-9E9F0835A2F0}" type="slidenum">
              <a:rPr lang="da-DK" noProof="0" smtClean="0"/>
              <a:pPr/>
              <a:t>‹nr.›</a:t>
            </a:fld>
            <a:endParaRPr lang="da-DK" noProof="0"/>
          </a:p>
        </p:txBody>
      </p:sp>
      <p:sp>
        <p:nvSpPr>
          <p:cNvPr id="2" name="Subtitle 2">
            <a:extLst>
              <a:ext uri="{FF2B5EF4-FFF2-40B4-BE49-F238E27FC236}">
                <a16:creationId xmlns:a16="http://schemas.microsoft.com/office/drawing/2014/main" id="{E07C53AB-35E0-E874-E5AB-A22135039BAD}"/>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2BAAF581-0891-DF88-D057-832A787F58E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3566876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Mellemside lille foto">
    <p:bg>
      <p:bgRef idx="1001">
        <a:schemeClr val="bg2"/>
      </p:bgRef>
    </p:bg>
    <p:spTree>
      <p:nvGrpSpPr>
        <p:cNvPr id="1" name=""/>
        <p:cNvGrpSpPr/>
        <p:nvPr/>
      </p:nvGrpSpPr>
      <p:grpSpPr>
        <a:xfrm>
          <a:off x="0" y="0"/>
          <a:ext cx="0" cy="0"/>
          <a:chOff x="0" y="0"/>
          <a:chExt cx="0" cy="0"/>
        </a:xfrm>
      </p:grpSpPr>
      <p:sp>
        <p:nvSpPr>
          <p:cNvPr id="28" name="Ellipse 27">
            <a:extLst>
              <a:ext uri="{FF2B5EF4-FFF2-40B4-BE49-F238E27FC236}">
                <a16:creationId xmlns:a16="http://schemas.microsoft.com/office/drawing/2014/main" id="{2C5D3745-123D-48F9-AC1E-22ECE84A6002}"/>
              </a:ext>
            </a:extLst>
          </p:cNvPr>
          <p:cNvSpPr>
            <a:spLocks noChangeAspect="1"/>
          </p:cNvSpPr>
          <p:nvPr userDrawn="1"/>
        </p:nvSpPr>
        <p:spPr>
          <a:xfrm>
            <a:off x="1892371" y="-5095322"/>
            <a:ext cx="8640000" cy="864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8188364" y="1269001"/>
            <a:ext cx="4319999" cy="4319999"/>
          </a:xfrm>
          <a:prstGeom prst="ellipse">
            <a:avLst/>
          </a:prstGeom>
          <a:blipFill>
            <a:blip r:embed="rId2" cstate="screen">
              <a:extLst>
                <a:ext uri="{28A0092B-C50C-407E-A947-70E740481C1C}">
                  <a14:useLocalDpi xmlns:a14="http://schemas.microsoft.com/office/drawing/2010/main"/>
                </a:ext>
              </a:extLst>
            </a:blip>
            <a:srcRect/>
            <a:stretch>
              <a:fillRect/>
            </a:stretch>
          </a:blipFill>
        </p:spPr>
        <p:txBody>
          <a:bodyPr/>
          <a:lstStyle/>
          <a:p>
            <a:r>
              <a:rPr lang="da-DK" noProof="0"/>
              <a:t>Klik på ikonet for at tilføje et billede</a:t>
            </a:r>
          </a:p>
        </p:txBody>
      </p:sp>
      <p:sp>
        <p:nvSpPr>
          <p:cNvPr id="10" name="Title 1">
            <a:extLst>
              <a:ext uri="{FF2B5EF4-FFF2-40B4-BE49-F238E27FC236}">
                <a16:creationId xmlns:a16="http://schemas.microsoft.com/office/drawing/2014/main" id="{285B4C59-DBF2-0654-4DB5-17317EDB3CAA}"/>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a:t>Klik for at redigere titeltypografien i masteren</a:t>
            </a:r>
          </a:p>
        </p:txBody>
      </p:sp>
      <p:sp>
        <p:nvSpPr>
          <p:cNvPr id="13" name="Date Placeholder 12">
            <a:extLst>
              <a:ext uri="{FF2B5EF4-FFF2-40B4-BE49-F238E27FC236}">
                <a16:creationId xmlns:a16="http://schemas.microsoft.com/office/drawing/2014/main" id="{415DD548-B11C-7D7F-BBB9-D327A7CCDD89}"/>
              </a:ext>
            </a:extLst>
          </p:cNvPr>
          <p:cNvSpPr>
            <a:spLocks noGrp="1"/>
          </p:cNvSpPr>
          <p:nvPr>
            <p:ph type="dt" sz="half" idx="14"/>
          </p:nvPr>
        </p:nvSpPr>
        <p:spPr/>
        <p:txBody>
          <a:bodyPr/>
          <a:lstStyle/>
          <a:p>
            <a:fld id="{F7E64F19-F0F7-406F-AC0F-3ECFC744BBDA}" type="datetimeFigureOut">
              <a:rPr lang="da-DK" noProof="0" smtClean="0"/>
              <a:pPr/>
              <a:t>16-03-2026</a:t>
            </a:fld>
            <a:endParaRPr lang="da-DK" noProof="0"/>
          </a:p>
        </p:txBody>
      </p:sp>
      <p:sp>
        <p:nvSpPr>
          <p:cNvPr id="14" name="Footer Placeholder 13">
            <a:extLst>
              <a:ext uri="{FF2B5EF4-FFF2-40B4-BE49-F238E27FC236}">
                <a16:creationId xmlns:a16="http://schemas.microsoft.com/office/drawing/2014/main" id="{056339C0-0CFD-DE3E-E4EF-13EF6F138179}"/>
              </a:ext>
            </a:extLst>
          </p:cNvPr>
          <p:cNvSpPr>
            <a:spLocks noGrp="1"/>
          </p:cNvSpPr>
          <p:nvPr>
            <p:ph type="ftr" sz="quarter" idx="15"/>
          </p:nvPr>
        </p:nvSpPr>
        <p:spPr/>
        <p:txBody>
          <a:bodyPr/>
          <a:lstStyle/>
          <a:p>
            <a:endParaRPr lang="da-DK" noProof="0"/>
          </a:p>
        </p:txBody>
      </p:sp>
      <p:sp>
        <p:nvSpPr>
          <p:cNvPr id="15" name="Slide Number Placeholder 14">
            <a:extLst>
              <a:ext uri="{FF2B5EF4-FFF2-40B4-BE49-F238E27FC236}">
                <a16:creationId xmlns:a16="http://schemas.microsoft.com/office/drawing/2014/main" id="{9AE8AD9E-8BB3-464F-39A3-BAD1CDE62E48}"/>
              </a:ext>
            </a:extLst>
          </p:cNvPr>
          <p:cNvSpPr>
            <a:spLocks noGrp="1"/>
          </p:cNvSpPr>
          <p:nvPr>
            <p:ph type="sldNum" sz="quarter" idx="16"/>
          </p:nvPr>
        </p:nvSpPr>
        <p:spPr/>
        <p:txBody>
          <a:bodyPr/>
          <a:lstStyle/>
          <a:p>
            <a:fld id="{FA9C6259-F55B-47A6-AB0B-9E9F0835A2F0}" type="slidenum">
              <a:rPr lang="da-DK" noProof="0" smtClean="0"/>
              <a:pPr/>
              <a:t>‹nr.›</a:t>
            </a:fld>
            <a:endParaRPr lang="da-DK" noProof="0"/>
          </a:p>
        </p:txBody>
      </p:sp>
      <p:sp>
        <p:nvSpPr>
          <p:cNvPr id="2" name="Subtitle 2">
            <a:extLst>
              <a:ext uri="{FF2B5EF4-FFF2-40B4-BE49-F238E27FC236}">
                <a16:creationId xmlns:a16="http://schemas.microsoft.com/office/drawing/2014/main" id="{5EE68DFA-0F95-8315-1AE5-A214CDA76F8E}"/>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9F459750-5F2B-08FD-57E3-F9089D3213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80941988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o indholdselementer">
    <p:bg>
      <p:bgPr>
        <a:solidFill>
          <a:schemeClr val="bg1"/>
        </a:solidFill>
        <a:effectLst/>
      </p:bgPr>
    </p:bg>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6180201" y="1656000"/>
            <a:ext cx="5580000" cy="4473336"/>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4" name="Date Placeholder 3">
            <a:extLst>
              <a:ext uri="{FF2B5EF4-FFF2-40B4-BE49-F238E27FC236}">
                <a16:creationId xmlns:a16="http://schemas.microsoft.com/office/drawing/2014/main" id="{4452554D-DF05-128A-4BCD-8E3DB1FE52D4}"/>
              </a:ext>
            </a:extLst>
          </p:cNvPr>
          <p:cNvSpPr>
            <a:spLocks noGrp="1"/>
          </p:cNvSpPr>
          <p:nvPr>
            <p:ph type="dt" sz="half" idx="15"/>
          </p:nvPr>
        </p:nvSpPr>
        <p:spPr/>
        <p:txBody>
          <a:bodyPr/>
          <a:lstStyle/>
          <a:p>
            <a:fld id="{A269FF09-7824-4D0F-8F23-2E64CBE36F80}" type="datetime1">
              <a:rPr lang="da-DK" noProof="0" smtClean="0"/>
              <a:t>16-03-2026</a:t>
            </a:fld>
            <a:endParaRPr lang="da-DK" noProof="0"/>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endParaRPr lang="da-DK" noProof="0"/>
          </a:p>
        </p:txBody>
      </p:sp>
      <p:sp>
        <p:nvSpPr>
          <p:cNvPr id="10" name="Slide Number Placeholder 9">
            <a:extLst>
              <a:ext uri="{FF2B5EF4-FFF2-40B4-BE49-F238E27FC236}">
                <a16:creationId xmlns:a16="http://schemas.microsoft.com/office/drawing/2014/main" id="{74FB935E-4BBE-8AE7-4C78-351D6FEA298F}"/>
              </a:ext>
            </a:extLst>
          </p:cNvPr>
          <p:cNvSpPr>
            <a:spLocks noGrp="1"/>
          </p:cNvSpPr>
          <p:nvPr>
            <p:ph type="sldNum" sz="quarter" idx="17"/>
          </p:nvPr>
        </p:nvSpPr>
        <p:spPr/>
        <p:txBody>
          <a:bodyPr/>
          <a:lstStyle/>
          <a:p>
            <a:fld id="{FA9C6259-F55B-47A6-AB0B-9E9F0835A2F0}" type="slidenum">
              <a:rPr lang="da-DK" noProof="0" smtClean="0"/>
              <a:pPr/>
              <a:t>‹nr.›</a:t>
            </a:fld>
            <a:endParaRPr lang="da-DK" noProof="0"/>
          </a:p>
        </p:txBody>
      </p:sp>
      <p:sp>
        <p:nvSpPr>
          <p:cNvPr id="6" name="Content Placeholder">
            <a:extLst>
              <a:ext uri="{FF2B5EF4-FFF2-40B4-BE49-F238E27FC236}">
                <a16:creationId xmlns:a16="http://schemas.microsoft.com/office/drawing/2014/main" id="{0129D7A0-F04D-8DBC-3ACB-63335806FE5F}"/>
              </a:ext>
            </a:extLst>
          </p:cNvPr>
          <p:cNvSpPr>
            <a:spLocks noGrp="1"/>
          </p:cNvSpPr>
          <p:nvPr>
            <p:ph sz="quarter" idx="18" hasCustomPrompt="1"/>
          </p:nvPr>
        </p:nvSpPr>
        <p:spPr>
          <a:xfrm>
            <a:off x="431798" y="1656000"/>
            <a:ext cx="5589743" cy="4473336"/>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3" name="Title 12">
            <a:extLst>
              <a:ext uri="{FF2B5EF4-FFF2-40B4-BE49-F238E27FC236}">
                <a16:creationId xmlns:a16="http://schemas.microsoft.com/office/drawing/2014/main" id="{3C2C6B7D-7846-A287-04EE-573DBF38EA5F}"/>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372305539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Mellemside lille foto 2">
    <p:bg>
      <p:bgRef idx="1001">
        <a:schemeClr val="bg2"/>
      </p:bgRef>
    </p:bg>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6588174" y="-5806944"/>
            <a:ext cx="10856595" cy="10856595"/>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6096000" y="1568372"/>
            <a:ext cx="5662613" cy="1329595"/>
          </a:xfrm>
        </p:spPr>
        <p:txBody>
          <a:bodyPr wrap="square" anchor="b">
            <a:spAutoFit/>
          </a:bodyPr>
          <a:lstStyle>
            <a:lvl1pPr algn="l">
              <a:defRPr sz="4800"/>
            </a:lvl1pPr>
          </a:lstStyle>
          <a:p>
            <a:r>
              <a:rPr lang="da-DK" noProof="0"/>
              <a:t>Klik for at redigere titeltypografien i masteren</a:t>
            </a:r>
          </a:p>
        </p:txBody>
      </p:sp>
      <p:sp>
        <p:nvSpPr>
          <p:cNvPr id="3" name="Subtitle 2">
            <a:extLst>
              <a:ext uri="{FF2B5EF4-FFF2-40B4-BE49-F238E27FC236}">
                <a16:creationId xmlns:a16="http://schemas.microsoft.com/office/drawing/2014/main" id="{2BDC76B8-60F6-62D3-9F73-E81662203017}"/>
              </a:ext>
            </a:extLst>
          </p:cNvPr>
          <p:cNvSpPr>
            <a:spLocks noGrp="1"/>
          </p:cNvSpPr>
          <p:nvPr userDrawn="1">
            <p:ph type="subTitle" idx="1"/>
          </p:nvPr>
        </p:nvSpPr>
        <p:spPr>
          <a:xfrm>
            <a:off x="6103144" y="2897967"/>
            <a:ext cx="5655470" cy="2736000"/>
          </a:xfrm>
        </p:spPr>
        <p:txBody>
          <a:bodyPr anchor="t">
            <a:noAutofit/>
          </a:bodyPr>
          <a:lstStyle>
            <a:lvl1pPr marL="285750" indent="-285750" algn="l">
              <a:lnSpc>
                <a:spcPct val="120000"/>
              </a:lnSpc>
              <a:spcBef>
                <a:spcPts val="0"/>
              </a:spcBef>
              <a:buFont typeface="Arial" panose="020B0604020202020204" pitchFamily="34" charset="0"/>
              <a:buChar char="•"/>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1343025" y="864000"/>
            <a:ext cx="3739073" cy="3739073"/>
          </a:xfrm>
          <a:prstGeom prst="ellipse">
            <a:avLst/>
          </a:prstGeom>
          <a:blipFill>
            <a:blip r:embed="rId2" cstate="screen">
              <a:extLst>
                <a:ext uri="{28A0092B-C50C-407E-A947-70E740481C1C}">
                  <a14:useLocalDpi xmlns:a14="http://schemas.microsoft.com/office/drawing/2010/main"/>
                </a:ext>
              </a:extLst>
            </a:blip>
            <a:srcRect/>
            <a:stretch>
              <a:fillRect/>
            </a:stretch>
          </a:blipFill>
        </p:spPr>
        <p:txBody>
          <a:bodyPr/>
          <a:lstStyle/>
          <a:p>
            <a:r>
              <a:rPr lang="da-DK" noProof="0"/>
              <a:t>Klik på ikonet for at tilføje et billede</a:t>
            </a:r>
          </a:p>
        </p:txBody>
      </p:sp>
      <p:sp>
        <p:nvSpPr>
          <p:cNvPr id="8" name="Pladsholder til tekst 7">
            <a:extLst>
              <a:ext uri="{FF2B5EF4-FFF2-40B4-BE49-F238E27FC236}">
                <a16:creationId xmlns:a16="http://schemas.microsoft.com/office/drawing/2014/main" id="{0912F1B6-40D3-0A36-D413-1ECBF33CBD40}"/>
              </a:ext>
            </a:extLst>
          </p:cNvPr>
          <p:cNvSpPr>
            <a:spLocks noGrp="1"/>
          </p:cNvSpPr>
          <p:nvPr>
            <p:ph type="body" sz="quarter" idx="14" hasCustomPrompt="1"/>
          </p:nvPr>
        </p:nvSpPr>
        <p:spPr>
          <a:xfrm>
            <a:off x="6096002" y="1296000"/>
            <a:ext cx="5662612" cy="272639"/>
          </a:xfrm>
        </p:spPr>
        <p:txBody>
          <a:bodyPr wrap="square" anchor="b">
            <a:spAutoFit/>
          </a:bodyPr>
          <a:lstStyle>
            <a:lvl1pPr marL="0" indent="0">
              <a:buNone/>
              <a:defRPr>
                <a:solidFill>
                  <a:schemeClr val="accent1"/>
                </a:solidFill>
                <a:latin typeface="Work Sans SemiBold" pitchFamily="2" charset="0"/>
              </a:defRPr>
            </a:lvl1pPr>
            <a:lvl2pPr marL="222250" indent="0">
              <a:buNone/>
              <a:defRPr>
                <a:latin typeface="Work Sans SemiBold" pitchFamily="2" charset="0"/>
              </a:defRPr>
            </a:lvl2pPr>
            <a:lvl3pPr marL="542925" indent="0">
              <a:buNone/>
              <a:defRPr>
                <a:latin typeface="Work Sans SemiBold" pitchFamily="2" charset="0"/>
              </a:defRPr>
            </a:lvl3pPr>
            <a:lvl4pPr marL="895350" indent="0">
              <a:buNone/>
              <a:defRPr>
                <a:latin typeface="Work Sans SemiBold" pitchFamily="2" charset="0"/>
              </a:defRPr>
            </a:lvl4pPr>
            <a:lvl5pPr marL="1166813" indent="0">
              <a:buNone/>
              <a:defRPr>
                <a:latin typeface="Work Sans SemiBold" pitchFamily="2" charset="0"/>
              </a:defRPr>
            </a:lvl5pPr>
          </a:lstStyle>
          <a:p>
            <a:pPr lvl="0"/>
            <a:r>
              <a:rPr lang="da-DK" noProof="0" err="1"/>
              <a:t>Click</a:t>
            </a:r>
            <a:r>
              <a:rPr lang="da-DK" noProof="0"/>
              <a:t> to </a:t>
            </a:r>
            <a:r>
              <a:rPr lang="da-DK" noProof="0" err="1"/>
              <a:t>edit</a:t>
            </a:r>
            <a:r>
              <a:rPr lang="da-DK" noProof="0"/>
              <a:t> Event information</a:t>
            </a:r>
          </a:p>
        </p:txBody>
      </p:sp>
      <p:sp>
        <p:nvSpPr>
          <p:cNvPr id="10" name="Pladsholder til tekst 9">
            <a:extLst>
              <a:ext uri="{FF2B5EF4-FFF2-40B4-BE49-F238E27FC236}">
                <a16:creationId xmlns:a16="http://schemas.microsoft.com/office/drawing/2014/main" id="{8EAB7028-35CF-586A-9D7B-4652BD5AD207}"/>
              </a:ext>
            </a:extLst>
          </p:cNvPr>
          <p:cNvSpPr>
            <a:spLocks noGrp="1"/>
          </p:cNvSpPr>
          <p:nvPr>
            <p:ph type="body" sz="quarter" idx="15" hasCustomPrompt="1"/>
          </p:nvPr>
        </p:nvSpPr>
        <p:spPr>
          <a:xfrm>
            <a:off x="1307024" y="4772373"/>
            <a:ext cx="3775075" cy="665451"/>
          </a:xfrm>
        </p:spPr>
        <p:txBody>
          <a:bodyPr/>
          <a:lstStyle>
            <a:lvl1pPr marL="0" indent="0" algn="ctr">
              <a:lnSpc>
                <a:spcPct val="100000"/>
              </a:lnSpc>
              <a:buNone/>
              <a:defRPr/>
            </a:lvl1pPr>
            <a:lvl2pPr marL="222250" indent="0" algn="ctr">
              <a:buNone/>
              <a:defRPr/>
            </a:lvl2pPr>
            <a:lvl3pPr marL="542925" indent="0" algn="ctr">
              <a:buNone/>
              <a:defRPr/>
            </a:lvl3pPr>
            <a:lvl4pPr marL="895350" indent="0" algn="ctr">
              <a:buNone/>
              <a:defRPr/>
            </a:lvl4pPr>
            <a:lvl5pPr marL="1166813" indent="0" algn="ctr">
              <a:buNone/>
              <a:defRPr/>
            </a:lvl5pPr>
          </a:lstStyle>
          <a:p>
            <a:pPr lvl="0"/>
            <a:r>
              <a:rPr lang="da-DK" noProof="0"/>
              <a:t>Klik for at redigere teksttypografierne i masteren</a:t>
            </a:r>
          </a:p>
        </p:txBody>
      </p:sp>
      <p:sp>
        <p:nvSpPr>
          <p:cNvPr id="9" name="Date Placeholder 8">
            <a:extLst>
              <a:ext uri="{FF2B5EF4-FFF2-40B4-BE49-F238E27FC236}">
                <a16:creationId xmlns:a16="http://schemas.microsoft.com/office/drawing/2014/main" id="{0B39925B-3F68-00E8-CCD5-A2B5C1A8D3D1}"/>
              </a:ext>
            </a:extLst>
          </p:cNvPr>
          <p:cNvSpPr>
            <a:spLocks noGrp="1"/>
          </p:cNvSpPr>
          <p:nvPr>
            <p:ph type="dt" sz="half" idx="16"/>
          </p:nvPr>
        </p:nvSpPr>
        <p:spPr/>
        <p:txBody>
          <a:bodyPr/>
          <a:lstStyle/>
          <a:p>
            <a:fld id="{F7E64F19-F0F7-406F-AC0F-3ECFC744BBDA}" type="datetimeFigureOut">
              <a:rPr lang="da-DK" noProof="0" smtClean="0"/>
              <a:pPr/>
              <a:t>16-03-2026</a:t>
            </a:fld>
            <a:endParaRPr lang="da-DK" noProof="0"/>
          </a:p>
        </p:txBody>
      </p:sp>
      <p:sp>
        <p:nvSpPr>
          <p:cNvPr id="12" name="Footer Placeholder 11">
            <a:extLst>
              <a:ext uri="{FF2B5EF4-FFF2-40B4-BE49-F238E27FC236}">
                <a16:creationId xmlns:a16="http://schemas.microsoft.com/office/drawing/2014/main" id="{6AAA001F-86A6-9EAE-DE70-6B4F55F32BE5}"/>
              </a:ext>
            </a:extLst>
          </p:cNvPr>
          <p:cNvSpPr>
            <a:spLocks noGrp="1"/>
          </p:cNvSpPr>
          <p:nvPr>
            <p:ph type="ftr" sz="quarter" idx="17"/>
          </p:nvPr>
        </p:nvSpPr>
        <p:spPr/>
        <p:txBody>
          <a:bodyPr/>
          <a:lstStyle/>
          <a:p>
            <a:endParaRPr lang="da-DK" noProof="0"/>
          </a:p>
        </p:txBody>
      </p:sp>
      <p:sp>
        <p:nvSpPr>
          <p:cNvPr id="13" name="Slide Number Placeholder 12">
            <a:extLst>
              <a:ext uri="{FF2B5EF4-FFF2-40B4-BE49-F238E27FC236}">
                <a16:creationId xmlns:a16="http://schemas.microsoft.com/office/drawing/2014/main" id="{1F0EB0D8-0E00-97BF-E1E9-C7A1A2B3BC1F}"/>
              </a:ext>
            </a:extLst>
          </p:cNvPr>
          <p:cNvSpPr>
            <a:spLocks noGrp="1"/>
          </p:cNvSpPr>
          <p:nvPr>
            <p:ph type="sldNum" sz="quarter" idx="18"/>
          </p:nvPr>
        </p:nvSpPr>
        <p:spPr/>
        <p:txBody>
          <a:bodyPr/>
          <a:lstStyle/>
          <a:p>
            <a:fld id="{FA9C6259-F55B-47A6-AB0B-9E9F0835A2F0}" type="slidenum">
              <a:rPr lang="da-DK" noProof="0" smtClean="0"/>
              <a:pPr/>
              <a:t>‹nr.›</a:t>
            </a:fld>
            <a:endParaRPr lang="da-DK" noProof="0"/>
          </a:p>
        </p:txBody>
      </p:sp>
      <p:pic>
        <p:nvPicPr>
          <p:cNvPr id="5" name="Graphic 4">
            <a:extLst>
              <a:ext uri="{FF2B5EF4-FFF2-40B4-BE49-F238E27FC236}">
                <a16:creationId xmlns:a16="http://schemas.microsoft.com/office/drawing/2014/main" id="{E98382B0-0A34-BE2E-B8B3-839C71E289A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328645431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Fotobaggrund">
    <p:bg>
      <p:bgRef idx="1001">
        <a:schemeClr val="bg2"/>
      </p:bgRef>
    </p:bg>
    <p:spTree>
      <p:nvGrpSpPr>
        <p:cNvPr id="1" name=""/>
        <p:cNvGrpSpPr/>
        <p:nvPr/>
      </p:nvGrpSpPr>
      <p:grpSpPr>
        <a:xfrm>
          <a:off x="0" y="0"/>
          <a:ext cx="0" cy="0"/>
          <a:chOff x="0" y="0"/>
          <a:chExt cx="0" cy="0"/>
        </a:xfrm>
      </p:grpSpPr>
      <p:sp>
        <p:nvSpPr>
          <p:cNvPr id="21" name="Pladsholder til billede 20">
            <a:extLst>
              <a:ext uri="{FF2B5EF4-FFF2-40B4-BE49-F238E27FC236}">
                <a16:creationId xmlns:a16="http://schemas.microsoft.com/office/drawing/2014/main" id="{87ACCDF2-438B-3952-1B50-A08B33E4181A}"/>
              </a:ext>
            </a:extLst>
          </p:cNvPr>
          <p:cNvSpPr>
            <a:spLocks noGrp="1"/>
          </p:cNvSpPr>
          <p:nvPr>
            <p:ph type="pic" sz="quarter" idx="14"/>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4317599 w 12192000"/>
              <a:gd name="connsiteY3" fmla="*/ 6858000 h 6858000"/>
              <a:gd name="connsiteX4" fmla="*/ 4173417 w 12192000"/>
              <a:gd name="connsiteY4" fmla="*/ 6765567 h 6858000"/>
              <a:gd name="connsiteX5" fmla="*/ 107135 w 12192000"/>
              <a:gd name="connsiteY5" fmla="*/ 2064956 h 6858000"/>
              <a:gd name="connsiteX6" fmla="*/ 0 w 12192000"/>
              <a:gd name="connsiteY6" fmla="*/ 182797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6858000"/>
                </a:lnTo>
                <a:lnTo>
                  <a:pt x="4317599" y="6858000"/>
                </a:lnTo>
                <a:lnTo>
                  <a:pt x="4173417" y="6765567"/>
                </a:lnTo>
                <a:cubicBezTo>
                  <a:pt x="2435362" y="5591360"/>
                  <a:pt x="1024740" y="3969295"/>
                  <a:pt x="107135" y="2064956"/>
                </a:cubicBezTo>
                <a:lnTo>
                  <a:pt x="0" y="1827979"/>
                </a:lnTo>
                <a:close/>
              </a:path>
            </a:pathLst>
          </a:custGeom>
          <a:blipFill dpi="0" rotWithShape="1">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r>
              <a:rPr lang="da-DK" noProof="0"/>
              <a:t>Klik på ikonet for at tilføje et billede</a:t>
            </a:r>
          </a:p>
        </p:txBody>
      </p:sp>
      <p:pic>
        <p:nvPicPr>
          <p:cNvPr id="4" name="Grafik 10">
            <a:extLst>
              <a:ext uri="{FF2B5EF4-FFF2-40B4-BE49-F238E27FC236}">
                <a16:creationId xmlns:a16="http://schemas.microsoft.com/office/drawing/2014/main" id="{338930BB-ED3B-9B59-A12C-1FE9A9787C6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298042" y="6430133"/>
            <a:ext cx="1460571" cy="144000"/>
          </a:xfrm>
          <a:prstGeom prst="rect">
            <a:avLst/>
          </a:prstGeom>
        </p:spPr>
      </p:pic>
      <p:sp>
        <p:nvSpPr>
          <p:cNvPr id="10" name="Title 1">
            <a:extLst>
              <a:ext uri="{FF2B5EF4-FFF2-40B4-BE49-F238E27FC236}">
                <a16:creationId xmlns:a16="http://schemas.microsoft.com/office/drawing/2014/main" id="{BD12AD03-B76E-BE2B-C389-00DD8A910DA3}"/>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a:t>Klik for at redigere titeltypografien i masteren</a:t>
            </a:r>
          </a:p>
        </p:txBody>
      </p:sp>
      <p:sp>
        <p:nvSpPr>
          <p:cNvPr id="13" name="Date Placeholder 12">
            <a:extLst>
              <a:ext uri="{FF2B5EF4-FFF2-40B4-BE49-F238E27FC236}">
                <a16:creationId xmlns:a16="http://schemas.microsoft.com/office/drawing/2014/main" id="{6BD0004D-5E1D-7D00-F58D-C52BD817C6F3}"/>
              </a:ext>
            </a:extLst>
          </p:cNvPr>
          <p:cNvSpPr>
            <a:spLocks noGrp="1"/>
          </p:cNvSpPr>
          <p:nvPr>
            <p:ph type="dt" sz="half" idx="15"/>
          </p:nvPr>
        </p:nvSpPr>
        <p:spPr/>
        <p:txBody>
          <a:bodyPr/>
          <a:lstStyle/>
          <a:p>
            <a:fld id="{F7E64F19-F0F7-406F-AC0F-3ECFC744BBDA}" type="datetimeFigureOut">
              <a:rPr lang="da-DK" noProof="0" smtClean="0"/>
              <a:pPr/>
              <a:t>16-03-2026</a:t>
            </a:fld>
            <a:endParaRPr lang="da-DK" noProof="0"/>
          </a:p>
        </p:txBody>
      </p:sp>
      <p:sp>
        <p:nvSpPr>
          <p:cNvPr id="14" name="Footer Placeholder 13">
            <a:extLst>
              <a:ext uri="{FF2B5EF4-FFF2-40B4-BE49-F238E27FC236}">
                <a16:creationId xmlns:a16="http://schemas.microsoft.com/office/drawing/2014/main" id="{21EA0916-AA0A-2A0A-E000-40B07DE48FE0}"/>
              </a:ext>
            </a:extLst>
          </p:cNvPr>
          <p:cNvSpPr>
            <a:spLocks noGrp="1"/>
          </p:cNvSpPr>
          <p:nvPr>
            <p:ph type="ftr" sz="quarter" idx="16"/>
          </p:nvPr>
        </p:nvSpPr>
        <p:spPr/>
        <p:txBody>
          <a:bodyPr/>
          <a:lstStyle/>
          <a:p>
            <a:endParaRPr lang="da-DK" noProof="0"/>
          </a:p>
        </p:txBody>
      </p:sp>
      <p:sp>
        <p:nvSpPr>
          <p:cNvPr id="15" name="Slide Number Placeholder 14">
            <a:extLst>
              <a:ext uri="{FF2B5EF4-FFF2-40B4-BE49-F238E27FC236}">
                <a16:creationId xmlns:a16="http://schemas.microsoft.com/office/drawing/2014/main" id="{6D202148-A549-C620-77FB-883263587440}"/>
              </a:ext>
            </a:extLst>
          </p:cNvPr>
          <p:cNvSpPr>
            <a:spLocks noGrp="1"/>
          </p:cNvSpPr>
          <p:nvPr>
            <p:ph type="sldNum" sz="quarter" idx="17"/>
          </p:nvPr>
        </p:nvSpPr>
        <p:spPr/>
        <p:txBody>
          <a:bodyPr/>
          <a:lstStyle/>
          <a:p>
            <a:fld id="{FA9C6259-F55B-47A6-AB0B-9E9F0835A2F0}" type="slidenum">
              <a:rPr lang="da-DK" noProof="0" smtClean="0"/>
              <a:pPr/>
              <a:t>‹nr.›</a:t>
            </a:fld>
            <a:endParaRPr lang="da-DK" noProof="0"/>
          </a:p>
        </p:txBody>
      </p:sp>
      <p:sp>
        <p:nvSpPr>
          <p:cNvPr id="2" name="Subtitle 2">
            <a:extLst>
              <a:ext uri="{FF2B5EF4-FFF2-40B4-BE49-F238E27FC236}">
                <a16:creationId xmlns:a16="http://schemas.microsoft.com/office/drawing/2014/main" id="{B8CA00F9-D4F2-A44A-A187-002C7CA04E1A}"/>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Tree>
    <p:extLst>
      <p:ext uri="{BB962C8B-B14F-4D97-AF65-F5344CB8AC3E}">
        <p14:creationId xmlns:p14="http://schemas.microsoft.com/office/powerpoint/2010/main" val="32405895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Agenda 1">
    <p:bg>
      <p:bgPr>
        <a:solidFill>
          <a:schemeClr val="bg1"/>
        </a:solidFill>
        <a:effectLst/>
      </p:bgPr>
    </p:bg>
    <p:spTree>
      <p:nvGrpSpPr>
        <p:cNvPr id="1" name=""/>
        <p:cNvGrpSpPr/>
        <p:nvPr/>
      </p:nvGrpSpPr>
      <p:grpSpPr>
        <a:xfrm>
          <a:off x="0" y="0"/>
          <a:ext cx="0" cy="0"/>
          <a:chOff x="0" y="0"/>
          <a:chExt cx="0" cy="0"/>
        </a:xfrm>
      </p:grpSpPr>
      <p:sp>
        <p:nvSpPr>
          <p:cNvPr id="28" name="Pladsholder til tekst 27">
            <a:extLst>
              <a:ext uri="{FF2B5EF4-FFF2-40B4-BE49-F238E27FC236}">
                <a16:creationId xmlns:a16="http://schemas.microsoft.com/office/drawing/2014/main" id="{74399AB2-9F15-DAB9-D5AF-57ADA09960C0}"/>
              </a:ext>
            </a:extLst>
          </p:cNvPr>
          <p:cNvSpPr>
            <a:spLocks noGrp="1"/>
          </p:cNvSpPr>
          <p:nvPr>
            <p:ph type="body" sz="quarter" idx="13" hasCustomPrompt="1"/>
          </p:nvPr>
        </p:nvSpPr>
        <p:spPr>
          <a:xfrm>
            <a:off x="5948079" y="2894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9" name="Pladsholder til indhold 38">
            <a:extLst>
              <a:ext uri="{FF2B5EF4-FFF2-40B4-BE49-F238E27FC236}">
                <a16:creationId xmlns:a16="http://schemas.microsoft.com/office/drawing/2014/main" id="{D4FBA7D3-9EE0-3E27-EC3F-4047A1FED231}"/>
              </a:ext>
            </a:extLst>
          </p:cNvPr>
          <p:cNvSpPr>
            <a:spLocks noGrp="1"/>
          </p:cNvSpPr>
          <p:nvPr>
            <p:ph sz="quarter" idx="21" hasCustomPrompt="1"/>
          </p:nvPr>
        </p:nvSpPr>
        <p:spPr>
          <a:xfrm>
            <a:off x="5156077" y="2894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4" name="Pladsholder til tekst 27">
            <a:extLst>
              <a:ext uri="{FF2B5EF4-FFF2-40B4-BE49-F238E27FC236}">
                <a16:creationId xmlns:a16="http://schemas.microsoft.com/office/drawing/2014/main" id="{9ED5405B-E6D8-0AA4-7093-43C41471FFFC}"/>
              </a:ext>
            </a:extLst>
          </p:cNvPr>
          <p:cNvSpPr>
            <a:spLocks noGrp="1"/>
          </p:cNvSpPr>
          <p:nvPr>
            <p:ph type="body" sz="quarter" idx="22" hasCustomPrompt="1"/>
          </p:nvPr>
        </p:nvSpPr>
        <p:spPr>
          <a:xfrm>
            <a:off x="5948079" y="2030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8" name="Pladsholder til indhold 38">
            <a:extLst>
              <a:ext uri="{FF2B5EF4-FFF2-40B4-BE49-F238E27FC236}">
                <a16:creationId xmlns:a16="http://schemas.microsoft.com/office/drawing/2014/main" id="{089FDB5C-95FC-6228-25A0-FFA44B117D1F}"/>
              </a:ext>
            </a:extLst>
          </p:cNvPr>
          <p:cNvSpPr>
            <a:spLocks noGrp="1"/>
          </p:cNvSpPr>
          <p:nvPr>
            <p:ph sz="quarter" idx="23" hasCustomPrompt="1"/>
          </p:nvPr>
        </p:nvSpPr>
        <p:spPr>
          <a:xfrm>
            <a:off x="5156077" y="2030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10" name="Pladsholder til tekst 27">
            <a:extLst>
              <a:ext uri="{FF2B5EF4-FFF2-40B4-BE49-F238E27FC236}">
                <a16:creationId xmlns:a16="http://schemas.microsoft.com/office/drawing/2014/main" id="{60FFD07F-A2FE-6C41-F11E-A76EC796912E}"/>
              </a:ext>
            </a:extLst>
          </p:cNvPr>
          <p:cNvSpPr>
            <a:spLocks noGrp="1"/>
          </p:cNvSpPr>
          <p:nvPr>
            <p:ph type="body" sz="quarter" idx="24" hasCustomPrompt="1"/>
          </p:nvPr>
        </p:nvSpPr>
        <p:spPr>
          <a:xfrm>
            <a:off x="5948079" y="1166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5156077" y="1166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12" name="Pladsholder til tekst 27">
            <a:extLst>
              <a:ext uri="{FF2B5EF4-FFF2-40B4-BE49-F238E27FC236}">
                <a16:creationId xmlns:a16="http://schemas.microsoft.com/office/drawing/2014/main" id="{E7449D5C-4889-7C85-B135-D9BCC5B3F010}"/>
              </a:ext>
            </a:extLst>
          </p:cNvPr>
          <p:cNvSpPr>
            <a:spLocks noGrp="1"/>
          </p:cNvSpPr>
          <p:nvPr>
            <p:ph type="body" sz="quarter" idx="26" hasCustomPrompt="1"/>
          </p:nvPr>
        </p:nvSpPr>
        <p:spPr>
          <a:xfrm>
            <a:off x="5948079" y="3758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3" name="Pladsholder til indhold 38">
            <a:extLst>
              <a:ext uri="{FF2B5EF4-FFF2-40B4-BE49-F238E27FC236}">
                <a16:creationId xmlns:a16="http://schemas.microsoft.com/office/drawing/2014/main" id="{BF611594-5934-4853-7B72-D1FAC3DC23DF}"/>
              </a:ext>
            </a:extLst>
          </p:cNvPr>
          <p:cNvSpPr>
            <a:spLocks noGrp="1"/>
          </p:cNvSpPr>
          <p:nvPr>
            <p:ph sz="quarter" idx="27" hasCustomPrompt="1"/>
          </p:nvPr>
        </p:nvSpPr>
        <p:spPr>
          <a:xfrm>
            <a:off x="5156077" y="3758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4</a:t>
            </a:r>
          </a:p>
        </p:txBody>
      </p:sp>
      <p:sp>
        <p:nvSpPr>
          <p:cNvPr id="15" name="Pladsholder til tekst 27">
            <a:extLst>
              <a:ext uri="{FF2B5EF4-FFF2-40B4-BE49-F238E27FC236}">
                <a16:creationId xmlns:a16="http://schemas.microsoft.com/office/drawing/2014/main" id="{3F6B035A-D85E-F504-732F-8690B44F6A86}"/>
              </a:ext>
            </a:extLst>
          </p:cNvPr>
          <p:cNvSpPr>
            <a:spLocks noGrp="1"/>
          </p:cNvSpPr>
          <p:nvPr>
            <p:ph type="body" sz="quarter" idx="28" hasCustomPrompt="1"/>
          </p:nvPr>
        </p:nvSpPr>
        <p:spPr>
          <a:xfrm>
            <a:off x="5948079" y="4631550"/>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6" name="Pladsholder til indhold 38">
            <a:extLst>
              <a:ext uri="{FF2B5EF4-FFF2-40B4-BE49-F238E27FC236}">
                <a16:creationId xmlns:a16="http://schemas.microsoft.com/office/drawing/2014/main" id="{6C2CF3A2-B959-2F57-1DB2-791F198185F0}"/>
              </a:ext>
            </a:extLst>
          </p:cNvPr>
          <p:cNvSpPr>
            <a:spLocks noGrp="1"/>
          </p:cNvSpPr>
          <p:nvPr>
            <p:ph sz="quarter" idx="29" hasCustomPrompt="1"/>
          </p:nvPr>
        </p:nvSpPr>
        <p:spPr>
          <a:xfrm>
            <a:off x="5156077" y="4631550"/>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5</a:t>
            </a:r>
          </a:p>
        </p:txBody>
      </p:sp>
      <p:sp>
        <p:nvSpPr>
          <p:cNvPr id="2" name="Date Placeholder 1">
            <a:extLst>
              <a:ext uri="{FF2B5EF4-FFF2-40B4-BE49-F238E27FC236}">
                <a16:creationId xmlns:a16="http://schemas.microsoft.com/office/drawing/2014/main" id="{A6640BC3-7044-B81C-328D-F4BBF2415911}"/>
              </a:ext>
            </a:extLst>
          </p:cNvPr>
          <p:cNvSpPr>
            <a:spLocks noGrp="1"/>
          </p:cNvSpPr>
          <p:nvPr>
            <p:ph type="dt" sz="half" idx="30"/>
          </p:nvPr>
        </p:nvSpPr>
        <p:spPr/>
        <p:txBody>
          <a:bodyPr/>
          <a:lstStyle/>
          <a:p>
            <a:fld id="{F7E64F19-F0F7-406F-AC0F-3ECFC744BBDA}" type="datetimeFigureOut">
              <a:rPr lang="da-DK" noProof="0" smtClean="0"/>
              <a:pPr/>
              <a:t>16-03-2026</a:t>
            </a:fld>
            <a:endParaRPr lang="da-DK" noProof="0"/>
          </a:p>
        </p:txBody>
      </p:sp>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endParaRPr lang="da-DK" noProof="0"/>
          </a:p>
        </p:txBody>
      </p:sp>
      <p:sp>
        <p:nvSpPr>
          <p:cNvPr id="9" name="Slide Number Placeholder 8">
            <a:extLst>
              <a:ext uri="{FF2B5EF4-FFF2-40B4-BE49-F238E27FC236}">
                <a16:creationId xmlns:a16="http://schemas.microsoft.com/office/drawing/2014/main" id="{E40FD786-FCA0-3285-71FC-DCA2042D4260}"/>
              </a:ext>
            </a:extLst>
          </p:cNvPr>
          <p:cNvSpPr>
            <a:spLocks noGrp="1"/>
          </p:cNvSpPr>
          <p:nvPr>
            <p:ph type="sldNum" sz="quarter" idx="32"/>
          </p:nvPr>
        </p:nvSpPr>
        <p:spPr/>
        <p:txBody>
          <a:bodyPr/>
          <a:lstStyle/>
          <a:p>
            <a:fld id="{FA9C6259-F55B-47A6-AB0B-9E9F0835A2F0}" type="slidenum">
              <a:rPr lang="da-DK" noProof="0" smtClean="0"/>
              <a:pPr/>
              <a:t>‹nr.›</a:t>
            </a:fld>
            <a:endParaRPr lang="da-DK" noProof="0"/>
          </a:p>
        </p:txBody>
      </p:sp>
      <p:sp>
        <p:nvSpPr>
          <p:cNvPr id="7" name="Pladsholder til tekst 5">
            <a:extLst>
              <a:ext uri="{FF2B5EF4-FFF2-40B4-BE49-F238E27FC236}">
                <a16:creationId xmlns:a16="http://schemas.microsoft.com/office/drawing/2014/main" id="{6B15978D-A4A6-B675-D35B-D8BF0D7DD6BC}"/>
              </a:ext>
            </a:extLst>
          </p:cNvPr>
          <p:cNvSpPr>
            <a:spLocks noGrp="1"/>
          </p:cNvSpPr>
          <p:nvPr>
            <p:ph type="body" sz="quarter" idx="33" hasCustomPrompt="1"/>
          </p:nvPr>
        </p:nvSpPr>
        <p:spPr>
          <a:xfrm>
            <a:off x="1013036" y="2767869"/>
            <a:ext cx="3498850" cy="738188"/>
          </a:xfrm>
        </p:spPr>
        <p:txBody>
          <a:bodyPr/>
          <a:lstStyle>
            <a:lvl1pPr marL="0" indent="0" algn="r">
              <a:buNone/>
              <a:defRPr sz="4800">
                <a:latin typeface="Work Sans Light" pitchFamily="2" charset="0"/>
              </a:defRPr>
            </a:lvl1pPr>
          </a:lstStyle>
          <a:p>
            <a:pPr lvl="0"/>
            <a:r>
              <a:rPr lang="en-US"/>
              <a:t>Agenda</a:t>
            </a:r>
            <a:endParaRPr lang="da-DK"/>
          </a:p>
        </p:txBody>
      </p:sp>
    </p:spTree>
    <p:extLst>
      <p:ext uri="{BB962C8B-B14F-4D97-AF65-F5344CB8AC3E}">
        <p14:creationId xmlns:p14="http://schemas.microsoft.com/office/powerpoint/2010/main" val="403291032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Agenda 2">
    <p:bg>
      <p:bgPr>
        <a:solidFill>
          <a:schemeClr val="bg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6640BC3-7044-B81C-328D-F4BBF2415911}"/>
              </a:ext>
            </a:extLst>
          </p:cNvPr>
          <p:cNvSpPr>
            <a:spLocks noGrp="1"/>
          </p:cNvSpPr>
          <p:nvPr>
            <p:ph type="dt" sz="half" idx="30"/>
          </p:nvPr>
        </p:nvSpPr>
        <p:spPr>
          <a:xfrm>
            <a:off x="5152319" y="6430133"/>
            <a:ext cx="849959" cy="144000"/>
          </a:xfrm>
        </p:spPr>
        <p:txBody>
          <a:bodyPr/>
          <a:lstStyle/>
          <a:p>
            <a:fld id="{F7E64F19-F0F7-406F-AC0F-3ECFC744BBDA}" type="datetimeFigureOut">
              <a:rPr lang="da-DK" noProof="0" smtClean="0"/>
              <a:pPr/>
              <a:t>16-03-2026</a:t>
            </a:fld>
            <a:endParaRPr lang="da-DK" noProof="0"/>
          </a:p>
        </p:txBody>
      </p:sp>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endParaRPr lang="da-DK" noProof="0"/>
          </a:p>
        </p:txBody>
      </p:sp>
      <p:sp>
        <p:nvSpPr>
          <p:cNvPr id="9" name="Slide Number Placeholder 8">
            <a:extLst>
              <a:ext uri="{FF2B5EF4-FFF2-40B4-BE49-F238E27FC236}">
                <a16:creationId xmlns:a16="http://schemas.microsoft.com/office/drawing/2014/main" id="{E40FD786-FCA0-3285-71FC-DCA2042D4260}"/>
              </a:ext>
            </a:extLst>
          </p:cNvPr>
          <p:cNvSpPr>
            <a:spLocks noGrp="1"/>
          </p:cNvSpPr>
          <p:nvPr>
            <p:ph type="sldNum" sz="quarter" idx="32"/>
          </p:nvPr>
        </p:nvSpPr>
        <p:spPr/>
        <p:txBody>
          <a:bodyPr/>
          <a:lstStyle/>
          <a:p>
            <a:fld id="{FA9C6259-F55B-47A6-AB0B-9E9F0835A2F0}" type="slidenum">
              <a:rPr lang="da-DK" noProof="0" smtClean="0"/>
              <a:pPr/>
              <a:t>‹nr.›</a:t>
            </a:fld>
            <a:endParaRPr lang="da-DK" noProof="0"/>
          </a:p>
        </p:txBody>
      </p:sp>
      <p:sp>
        <p:nvSpPr>
          <p:cNvPr id="23" name="Pladsholder til tekst 27">
            <a:extLst>
              <a:ext uri="{FF2B5EF4-FFF2-40B4-BE49-F238E27FC236}">
                <a16:creationId xmlns:a16="http://schemas.microsoft.com/office/drawing/2014/main" id="{E379CB5C-E2AC-9C53-BA56-A847A4C6F182}"/>
              </a:ext>
            </a:extLst>
          </p:cNvPr>
          <p:cNvSpPr>
            <a:spLocks noGrp="1"/>
          </p:cNvSpPr>
          <p:nvPr>
            <p:ph type="body" sz="quarter" idx="13" hasCustomPrompt="1"/>
          </p:nvPr>
        </p:nvSpPr>
        <p:spPr>
          <a:xfrm>
            <a:off x="3149255"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4" name="Pladsholder til indhold 38">
            <a:extLst>
              <a:ext uri="{FF2B5EF4-FFF2-40B4-BE49-F238E27FC236}">
                <a16:creationId xmlns:a16="http://schemas.microsoft.com/office/drawing/2014/main" id="{C34F1D52-4741-E939-8039-57EF891412EB}"/>
              </a:ext>
            </a:extLst>
          </p:cNvPr>
          <p:cNvSpPr>
            <a:spLocks noGrp="1"/>
          </p:cNvSpPr>
          <p:nvPr>
            <p:ph sz="quarter" idx="21" hasCustomPrompt="1"/>
          </p:nvPr>
        </p:nvSpPr>
        <p:spPr>
          <a:xfrm>
            <a:off x="2357253"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25" name="Pladsholder til tekst 27">
            <a:extLst>
              <a:ext uri="{FF2B5EF4-FFF2-40B4-BE49-F238E27FC236}">
                <a16:creationId xmlns:a16="http://schemas.microsoft.com/office/drawing/2014/main" id="{62943C01-8003-4E8C-CE1A-61097EACCD6B}"/>
              </a:ext>
            </a:extLst>
          </p:cNvPr>
          <p:cNvSpPr>
            <a:spLocks noGrp="1"/>
          </p:cNvSpPr>
          <p:nvPr>
            <p:ph type="body" sz="quarter" idx="22" hasCustomPrompt="1"/>
          </p:nvPr>
        </p:nvSpPr>
        <p:spPr>
          <a:xfrm>
            <a:off x="3149255"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6" name="Pladsholder til indhold 38">
            <a:extLst>
              <a:ext uri="{FF2B5EF4-FFF2-40B4-BE49-F238E27FC236}">
                <a16:creationId xmlns:a16="http://schemas.microsoft.com/office/drawing/2014/main" id="{11132FD0-77E2-028D-CA37-F7409765A477}"/>
              </a:ext>
            </a:extLst>
          </p:cNvPr>
          <p:cNvSpPr>
            <a:spLocks noGrp="1"/>
          </p:cNvSpPr>
          <p:nvPr>
            <p:ph sz="quarter" idx="23" hasCustomPrompt="1"/>
          </p:nvPr>
        </p:nvSpPr>
        <p:spPr>
          <a:xfrm>
            <a:off x="2357253"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27" name="Pladsholder til tekst 27">
            <a:extLst>
              <a:ext uri="{FF2B5EF4-FFF2-40B4-BE49-F238E27FC236}">
                <a16:creationId xmlns:a16="http://schemas.microsoft.com/office/drawing/2014/main" id="{500B8224-A01F-15E1-0985-2B24FBAF3D54}"/>
              </a:ext>
            </a:extLst>
          </p:cNvPr>
          <p:cNvSpPr>
            <a:spLocks noGrp="1"/>
          </p:cNvSpPr>
          <p:nvPr>
            <p:ph type="body" sz="quarter" idx="24" hasCustomPrompt="1"/>
          </p:nvPr>
        </p:nvSpPr>
        <p:spPr>
          <a:xfrm>
            <a:off x="3149255" y="1944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9" name="Pladsholder til indhold 38">
            <a:extLst>
              <a:ext uri="{FF2B5EF4-FFF2-40B4-BE49-F238E27FC236}">
                <a16:creationId xmlns:a16="http://schemas.microsoft.com/office/drawing/2014/main" id="{F3E6E751-5930-4B9F-F9AF-C1CBB7DEB57C}"/>
              </a:ext>
            </a:extLst>
          </p:cNvPr>
          <p:cNvSpPr>
            <a:spLocks noGrp="1"/>
          </p:cNvSpPr>
          <p:nvPr>
            <p:ph sz="quarter" idx="25" hasCustomPrompt="1"/>
          </p:nvPr>
        </p:nvSpPr>
        <p:spPr>
          <a:xfrm>
            <a:off x="2357253"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30" name="Pladsholder til tekst 27">
            <a:extLst>
              <a:ext uri="{FF2B5EF4-FFF2-40B4-BE49-F238E27FC236}">
                <a16:creationId xmlns:a16="http://schemas.microsoft.com/office/drawing/2014/main" id="{CE2B3114-29AD-9D6C-AD18-A016D8452E1D}"/>
              </a:ext>
            </a:extLst>
          </p:cNvPr>
          <p:cNvSpPr>
            <a:spLocks noGrp="1"/>
          </p:cNvSpPr>
          <p:nvPr>
            <p:ph type="body" sz="quarter" idx="26" hasCustomPrompt="1"/>
          </p:nvPr>
        </p:nvSpPr>
        <p:spPr>
          <a:xfrm>
            <a:off x="3149255"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1" name="Pladsholder til indhold 38">
            <a:extLst>
              <a:ext uri="{FF2B5EF4-FFF2-40B4-BE49-F238E27FC236}">
                <a16:creationId xmlns:a16="http://schemas.microsoft.com/office/drawing/2014/main" id="{A851D3DC-5E8A-29FC-0FC8-0CE7FCBABE2E}"/>
              </a:ext>
            </a:extLst>
          </p:cNvPr>
          <p:cNvSpPr>
            <a:spLocks noGrp="1"/>
          </p:cNvSpPr>
          <p:nvPr>
            <p:ph sz="quarter" idx="27" hasCustomPrompt="1"/>
          </p:nvPr>
        </p:nvSpPr>
        <p:spPr>
          <a:xfrm>
            <a:off x="2357253"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4</a:t>
            </a:r>
          </a:p>
        </p:txBody>
      </p:sp>
      <p:sp>
        <p:nvSpPr>
          <p:cNvPr id="32" name="Pladsholder til tekst 27">
            <a:extLst>
              <a:ext uri="{FF2B5EF4-FFF2-40B4-BE49-F238E27FC236}">
                <a16:creationId xmlns:a16="http://schemas.microsoft.com/office/drawing/2014/main" id="{DD844EAE-3700-6A21-F9D2-A93926D2E90F}"/>
              </a:ext>
            </a:extLst>
          </p:cNvPr>
          <p:cNvSpPr>
            <a:spLocks noGrp="1"/>
          </p:cNvSpPr>
          <p:nvPr>
            <p:ph type="body" sz="quarter" idx="28" hasCustomPrompt="1"/>
          </p:nvPr>
        </p:nvSpPr>
        <p:spPr>
          <a:xfrm>
            <a:off x="3149255"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3" name="Pladsholder til indhold 38">
            <a:extLst>
              <a:ext uri="{FF2B5EF4-FFF2-40B4-BE49-F238E27FC236}">
                <a16:creationId xmlns:a16="http://schemas.microsoft.com/office/drawing/2014/main" id="{4F5BB7CA-C703-71A2-14BB-D6978110908B}"/>
              </a:ext>
            </a:extLst>
          </p:cNvPr>
          <p:cNvSpPr>
            <a:spLocks noGrp="1"/>
          </p:cNvSpPr>
          <p:nvPr>
            <p:ph sz="quarter" idx="29" hasCustomPrompt="1"/>
          </p:nvPr>
        </p:nvSpPr>
        <p:spPr>
          <a:xfrm>
            <a:off x="2357253"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5</a:t>
            </a:r>
          </a:p>
        </p:txBody>
      </p:sp>
      <p:sp>
        <p:nvSpPr>
          <p:cNvPr id="34" name="Pladsholder til tekst 27">
            <a:extLst>
              <a:ext uri="{FF2B5EF4-FFF2-40B4-BE49-F238E27FC236}">
                <a16:creationId xmlns:a16="http://schemas.microsoft.com/office/drawing/2014/main" id="{B30DFB6D-079C-8B47-D8A2-672666BB4328}"/>
              </a:ext>
            </a:extLst>
          </p:cNvPr>
          <p:cNvSpPr>
            <a:spLocks noGrp="1"/>
          </p:cNvSpPr>
          <p:nvPr>
            <p:ph type="body" sz="quarter" idx="33" hasCustomPrompt="1"/>
          </p:nvPr>
        </p:nvSpPr>
        <p:spPr>
          <a:xfrm>
            <a:off x="7830977"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5" name="Pladsholder til indhold 38">
            <a:extLst>
              <a:ext uri="{FF2B5EF4-FFF2-40B4-BE49-F238E27FC236}">
                <a16:creationId xmlns:a16="http://schemas.microsoft.com/office/drawing/2014/main" id="{E4007F68-EB55-4361-1B64-2AD90CA4258D}"/>
              </a:ext>
            </a:extLst>
          </p:cNvPr>
          <p:cNvSpPr>
            <a:spLocks noGrp="1"/>
          </p:cNvSpPr>
          <p:nvPr>
            <p:ph sz="quarter" idx="34" hasCustomPrompt="1"/>
          </p:nvPr>
        </p:nvSpPr>
        <p:spPr>
          <a:xfrm>
            <a:off x="7038975"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8</a:t>
            </a:r>
          </a:p>
        </p:txBody>
      </p:sp>
      <p:sp>
        <p:nvSpPr>
          <p:cNvPr id="36" name="Pladsholder til tekst 27">
            <a:extLst>
              <a:ext uri="{FF2B5EF4-FFF2-40B4-BE49-F238E27FC236}">
                <a16:creationId xmlns:a16="http://schemas.microsoft.com/office/drawing/2014/main" id="{536C8716-06B3-785C-9A91-4ACE0A60D66F}"/>
              </a:ext>
            </a:extLst>
          </p:cNvPr>
          <p:cNvSpPr>
            <a:spLocks noGrp="1"/>
          </p:cNvSpPr>
          <p:nvPr>
            <p:ph type="body" sz="quarter" idx="35" hasCustomPrompt="1"/>
          </p:nvPr>
        </p:nvSpPr>
        <p:spPr>
          <a:xfrm>
            <a:off x="7830977"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7" name="Pladsholder til indhold 38">
            <a:extLst>
              <a:ext uri="{FF2B5EF4-FFF2-40B4-BE49-F238E27FC236}">
                <a16:creationId xmlns:a16="http://schemas.microsoft.com/office/drawing/2014/main" id="{92426736-5966-D2C5-5E13-648B728A0C6E}"/>
              </a:ext>
            </a:extLst>
          </p:cNvPr>
          <p:cNvSpPr>
            <a:spLocks noGrp="1"/>
          </p:cNvSpPr>
          <p:nvPr>
            <p:ph sz="quarter" idx="36" hasCustomPrompt="1"/>
          </p:nvPr>
        </p:nvSpPr>
        <p:spPr>
          <a:xfrm>
            <a:off x="7038975"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7</a:t>
            </a:r>
          </a:p>
        </p:txBody>
      </p:sp>
      <p:sp>
        <p:nvSpPr>
          <p:cNvPr id="38" name="Pladsholder til tekst 27">
            <a:extLst>
              <a:ext uri="{FF2B5EF4-FFF2-40B4-BE49-F238E27FC236}">
                <a16:creationId xmlns:a16="http://schemas.microsoft.com/office/drawing/2014/main" id="{CEC9C6C5-5E5F-69C1-512D-F1C09C9739BD}"/>
              </a:ext>
            </a:extLst>
          </p:cNvPr>
          <p:cNvSpPr>
            <a:spLocks noGrp="1"/>
          </p:cNvSpPr>
          <p:nvPr>
            <p:ph type="body" sz="quarter" idx="37" hasCustomPrompt="1"/>
          </p:nvPr>
        </p:nvSpPr>
        <p:spPr>
          <a:xfrm>
            <a:off x="7830977" y="1944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0" name="Pladsholder til indhold 38">
            <a:extLst>
              <a:ext uri="{FF2B5EF4-FFF2-40B4-BE49-F238E27FC236}">
                <a16:creationId xmlns:a16="http://schemas.microsoft.com/office/drawing/2014/main" id="{D40291E1-1A01-93BF-7F57-220EE961DBBA}"/>
              </a:ext>
            </a:extLst>
          </p:cNvPr>
          <p:cNvSpPr>
            <a:spLocks noGrp="1"/>
          </p:cNvSpPr>
          <p:nvPr>
            <p:ph sz="quarter" idx="38" hasCustomPrompt="1"/>
          </p:nvPr>
        </p:nvSpPr>
        <p:spPr>
          <a:xfrm>
            <a:off x="7038975"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6</a:t>
            </a:r>
          </a:p>
        </p:txBody>
      </p:sp>
      <p:sp>
        <p:nvSpPr>
          <p:cNvPr id="41" name="Pladsholder til tekst 27">
            <a:extLst>
              <a:ext uri="{FF2B5EF4-FFF2-40B4-BE49-F238E27FC236}">
                <a16:creationId xmlns:a16="http://schemas.microsoft.com/office/drawing/2014/main" id="{D1C277A7-919F-CA28-B00F-4D2C7CD58933}"/>
              </a:ext>
            </a:extLst>
          </p:cNvPr>
          <p:cNvSpPr>
            <a:spLocks noGrp="1"/>
          </p:cNvSpPr>
          <p:nvPr>
            <p:ph type="body" sz="quarter" idx="39" hasCustomPrompt="1"/>
          </p:nvPr>
        </p:nvSpPr>
        <p:spPr>
          <a:xfrm>
            <a:off x="7830977"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2" name="Pladsholder til indhold 38">
            <a:extLst>
              <a:ext uri="{FF2B5EF4-FFF2-40B4-BE49-F238E27FC236}">
                <a16:creationId xmlns:a16="http://schemas.microsoft.com/office/drawing/2014/main" id="{FFAF27CD-066B-D81F-5FBE-6A9FAE459893}"/>
              </a:ext>
            </a:extLst>
          </p:cNvPr>
          <p:cNvSpPr>
            <a:spLocks noGrp="1"/>
          </p:cNvSpPr>
          <p:nvPr>
            <p:ph sz="quarter" idx="40" hasCustomPrompt="1"/>
          </p:nvPr>
        </p:nvSpPr>
        <p:spPr>
          <a:xfrm>
            <a:off x="7038975"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9</a:t>
            </a:r>
          </a:p>
        </p:txBody>
      </p:sp>
      <p:sp>
        <p:nvSpPr>
          <p:cNvPr id="43" name="Pladsholder til tekst 27">
            <a:extLst>
              <a:ext uri="{FF2B5EF4-FFF2-40B4-BE49-F238E27FC236}">
                <a16:creationId xmlns:a16="http://schemas.microsoft.com/office/drawing/2014/main" id="{4BDC77FD-B70E-7972-99F3-0233B6DADF59}"/>
              </a:ext>
            </a:extLst>
          </p:cNvPr>
          <p:cNvSpPr>
            <a:spLocks noGrp="1"/>
          </p:cNvSpPr>
          <p:nvPr>
            <p:ph type="body" sz="quarter" idx="41" hasCustomPrompt="1"/>
          </p:nvPr>
        </p:nvSpPr>
        <p:spPr>
          <a:xfrm>
            <a:off x="7830977"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4" name="Pladsholder til indhold 38">
            <a:extLst>
              <a:ext uri="{FF2B5EF4-FFF2-40B4-BE49-F238E27FC236}">
                <a16:creationId xmlns:a16="http://schemas.microsoft.com/office/drawing/2014/main" id="{9190FB13-7976-8BE1-BB0C-5B608569B43D}"/>
              </a:ext>
            </a:extLst>
          </p:cNvPr>
          <p:cNvSpPr>
            <a:spLocks noGrp="1"/>
          </p:cNvSpPr>
          <p:nvPr>
            <p:ph sz="quarter" idx="42" hasCustomPrompt="1"/>
          </p:nvPr>
        </p:nvSpPr>
        <p:spPr>
          <a:xfrm>
            <a:off x="7038975"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0</a:t>
            </a:r>
          </a:p>
        </p:txBody>
      </p:sp>
      <p:sp>
        <p:nvSpPr>
          <p:cNvPr id="5" name="Pladsholder til tekst 5">
            <a:extLst>
              <a:ext uri="{FF2B5EF4-FFF2-40B4-BE49-F238E27FC236}">
                <a16:creationId xmlns:a16="http://schemas.microsoft.com/office/drawing/2014/main" id="{282853E6-D304-1ED1-5958-FF346BD3CF5C}"/>
              </a:ext>
            </a:extLst>
          </p:cNvPr>
          <p:cNvSpPr>
            <a:spLocks noGrp="1"/>
          </p:cNvSpPr>
          <p:nvPr>
            <p:ph type="body" sz="quarter" idx="43" hasCustomPrompt="1"/>
          </p:nvPr>
        </p:nvSpPr>
        <p:spPr>
          <a:xfrm>
            <a:off x="1343025" y="916738"/>
            <a:ext cx="5551142" cy="738188"/>
          </a:xfrm>
        </p:spPr>
        <p:txBody>
          <a:bodyPr/>
          <a:lstStyle>
            <a:lvl1pPr marL="0" indent="0" algn="l">
              <a:buNone/>
              <a:defRPr sz="4800">
                <a:latin typeface="Work Sans Light" pitchFamily="2" charset="0"/>
              </a:defRPr>
            </a:lvl1pPr>
          </a:lstStyle>
          <a:p>
            <a:pPr lvl="0"/>
            <a:r>
              <a:rPr lang="en-US"/>
              <a:t>Agenda</a:t>
            </a:r>
            <a:endParaRPr lang="da-DK"/>
          </a:p>
        </p:txBody>
      </p:sp>
    </p:spTree>
    <p:extLst>
      <p:ext uri="{BB962C8B-B14F-4D97-AF65-F5344CB8AC3E}">
        <p14:creationId xmlns:p14="http://schemas.microsoft.com/office/powerpoint/2010/main" val="15783553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re pointer/tekstelementer">
    <p:bg>
      <p:bgPr>
        <a:solidFill>
          <a:schemeClr val="bg1"/>
        </a:solidFill>
        <a:effectLst/>
      </p:bgPr>
    </p:bg>
    <p:spTree>
      <p:nvGrpSpPr>
        <p:cNvPr id="1" name=""/>
        <p:cNvGrpSpPr/>
        <p:nvPr/>
      </p:nvGrpSpPr>
      <p:grpSpPr>
        <a:xfrm>
          <a:off x="0" y="0"/>
          <a:ext cx="0" cy="0"/>
          <a:chOff x="0" y="0"/>
          <a:chExt cx="0" cy="0"/>
        </a:xfrm>
      </p:grpSpPr>
      <p:sp>
        <p:nvSpPr>
          <p:cNvPr id="8" name="Pladsholder til billede 14">
            <a:extLst>
              <a:ext uri="{FF2B5EF4-FFF2-40B4-BE49-F238E27FC236}">
                <a16:creationId xmlns:a16="http://schemas.microsoft.com/office/drawing/2014/main" id="{553E5F1F-8BAB-6D02-6AE4-D74E4E360DEF}"/>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r>
              <a:rPr lang="da-DK" noProof="0"/>
              <a:t>Klik på ikonet for at tilføje et billede</a:t>
            </a:r>
          </a:p>
        </p:txBody>
      </p:sp>
      <p:sp>
        <p:nvSpPr>
          <p:cNvPr id="3" name="Pladsholder til tekst 2">
            <a:extLst>
              <a:ext uri="{FF2B5EF4-FFF2-40B4-BE49-F238E27FC236}">
                <a16:creationId xmlns:a16="http://schemas.microsoft.com/office/drawing/2014/main" id="{52A32D22-6497-111B-5ED8-EC302ED9F6D3}"/>
              </a:ext>
            </a:extLst>
          </p:cNvPr>
          <p:cNvSpPr>
            <a:spLocks noGrp="1"/>
          </p:cNvSpPr>
          <p:nvPr>
            <p:ph type="body" sz="quarter" idx="26" hasCustomPrompt="1"/>
          </p:nvPr>
        </p:nvSpPr>
        <p:spPr>
          <a:xfrm rot="5400000">
            <a:off x="1343025"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3141450"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24" name="Subtitle 2">
            <a:extLst>
              <a:ext uri="{FF2B5EF4-FFF2-40B4-BE49-F238E27FC236}">
                <a16:creationId xmlns:a16="http://schemas.microsoft.com/office/drawing/2014/main" id="{4DD335D4-2565-8E09-739E-B31DF249384D}"/>
              </a:ext>
            </a:extLst>
          </p:cNvPr>
          <p:cNvSpPr>
            <a:spLocks noGrp="1"/>
          </p:cNvSpPr>
          <p:nvPr>
            <p:ph type="subTitle" idx="1"/>
          </p:nvPr>
        </p:nvSpPr>
        <p:spPr>
          <a:xfrm>
            <a:off x="431798" y="1511800"/>
            <a:ext cx="5664201" cy="576000"/>
          </a:xfrm>
        </p:spPr>
        <p:txBody>
          <a:bodyPr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25" name="Titel 1">
            <a:extLst>
              <a:ext uri="{FF2B5EF4-FFF2-40B4-BE49-F238E27FC236}">
                <a16:creationId xmlns:a16="http://schemas.microsoft.com/office/drawing/2014/main" id="{29864E77-E699-A3B2-A578-52050A77049D}"/>
              </a:ext>
            </a:extLst>
          </p:cNvPr>
          <p:cNvSpPr>
            <a:spLocks noGrp="1"/>
          </p:cNvSpPr>
          <p:nvPr>
            <p:ph type="title" hasCustomPrompt="1"/>
          </p:nvPr>
        </p:nvSpPr>
        <p:spPr>
          <a:xfrm>
            <a:off x="431799" y="431800"/>
            <a:ext cx="7535864" cy="1080000"/>
          </a:xfrm>
        </p:spPr>
        <p:txBody>
          <a:bodyPr/>
          <a:lstStyle>
            <a:lvl1pPr>
              <a:defRPr/>
            </a:lvl1pPr>
          </a:lstStyle>
          <a:p>
            <a:r>
              <a:rPr lang="da-DK" noProof="0"/>
              <a:t>Klik for at redigere titeltypografien i masteren </a:t>
            </a:r>
          </a:p>
        </p:txBody>
      </p:sp>
      <p:sp>
        <p:nvSpPr>
          <p:cNvPr id="27" name="Pladsholder til tekst 2">
            <a:extLst>
              <a:ext uri="{FF2B5EF4-FFF2-40B4-BE49-F238E27FC236}">
                <a16:creationId xmlns:a16="http://schemas.microsoft.com/office/drawing/2014/main" id="{18755EF9-BADD-ACFC-6605-C6CCBE3E6C61}"/>
              </a:ext>
            </a:extLst>
          </p:cNvPr>
          <p:cNvSpPr>
            <a:spLocks noGrp="1"/>
          </p:cNvSpPr>
          <p:nvPr>
            <p:ph type="body" sz="quarter" idx="27" hasCustomPrompt="1"/>
          </p:nvPr>
        </p:nvSpPr>
        <p:spPr>
          <a:xfrm rot="5400000">
            <a:off x="4160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29" name="Pladsholder til indhold 38">
            <a:extLst>
              <a:ext uri="{FF2B5EF4-FFF2-40B4-BE49-F238E27FC236}">
                <a16:creationId xmlns:a16="http://schemas.microsoft.com/office/drawing/2014/main" id="{5D7F7C72-5D18-4621-7488-B9721DD26E23}"/>
              </a:ext>
            </a:extLst>
          </p:cNvPr>
          <p:cNvSpPr>
            <a:spLocks noGrp="1"/>
          </p:cNvSpPr>
          <p:nvPr>
            <p:ph sz="quarter" idx="28" hasCustomPrompt="1"/>
          </p:nvPr>
        </p:nvSpPr>
        <p:spPr>
          <a:xfrm>
            <a:off x="5958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31" name="Pladsholder til tekst 2">
            <a:extLst>
              <a:ext uri="{FF2B5EF4-FFF2-40B4-BE49-F238E27FC236}">
                <a16:creationId xmlns:a16="http://schemas.microsoft.com/office/drawing/2014/main" id="{E4E173DA-3F2E-D803-1A5A-DC349D0D7DF9}"/>
              </a:ext>
            </a:extLst>
          </p:cNvPr>
          <p:cNvSpPr>
            <a:spLocks noGrp="1"/>
          </p:cNvSpPr>
          <p:nvPr>
            <p:ph type="body" sz="quarter" idx="29" hasCustomPrompt="1"/>
          </p:nvPr>
        </p:nvSpPr>
        <p:spPr>
          <a:xfrm rot="5400000">
            <a:off x="6968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32" name="Pladsholder til indhold 38">
            <a:extLst>
              <a:ext uri="{FF2B5EF4-FFF2-40B4-BE49-F238E27FC236}">
                <a16:creationId xmlns:a16="http://schemas.microsoft.com/office/drawing/2014/main" id="{AB4154FD-CEC6-4968-4D09-E9C02146256C}"/>
              </a:ext>
            </a:extLst>
          </p:cNvPr>
          <p:cNvSpPr>
            <a:spLocks noGrp="1"/>
          </p:cNvSpPr>
          <p:nvPr>
            <p:ph sz="quarter" idx="30" hasCustomPrompt="1"/>
          </p:nvPr>
        </p:nvSpPr>
        <p:spPr>
          <a:xfrm>
            <a:off x="8766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2" name="Date Placeholder 1">
            <a:extLst>
              <a:ext uri="{FF2B5EF4-FFF2-40B4-BE49-F238E27FC236}">
                <a16:creationId xmlns:a16="http://schemas.microsoft.com/office/drawing/2014/main" id="{835A718A-EAC0-6BE2-ABAA-FB6D84F69387}"/>
              </a:ext>
            </a:extLst>
          </p:cNvPr>
          <p:cNvSpPr>
            <a:spLocks noGrp="1"/>
          </p:cNvSpPr>
          <p:nvPr>
            <p:ph type="dt" sz="half" idx="31"/>
          </p:nvPr>
        </p:nvSpPr>
        <p:spPr/>
        <p:txBody>
          <a:bodyPr/>
          <a:lstStyle/>
          <a:p>
            <a:fld id="{F7E64F19-F0F7-406F-AC0F-3ECFC744BBDA}" type="datetimeFigureOut">
              <a:rPr lang="da-DK" noProof="0" smtClean="0"/>
              <a:pPr/>
              <a:t>16-03-2026</a:t>
            </a:fld>
            <a:endParaRPr lang="da-DK" noProof="0"/>
          </a:p>
        </p:txBody>
      </p:sp>
      <p:sp>
        <p:nvSpPr>
          <p:cNvPr id="4" name="Footer Placeholder 3">
            <a:extLst>
              <a:ext uri="{FF2B5EF4-FFF2-40B4-BE49-F238E27FC236}">
                <a16:creationId xmlns:a16="http://schemas.microsoft.com/office/drawing/2014/main" id="{8F57F3AF-C3CB-F3F3-2FD8-EB912B833780}"/>
              </a:ext>
            </a:extLst>
          </p:cNvPr>
          <p:cNvSpPr>
            <a:spLocks noGrp="1"/>
          </p:cNvSpPr>
          <p:nvPr>
            <p:ph type="ftr" sz="quarter" idx="32"/>
          </p:nvPr>
        </p:nvSpPr>
        <p:spPr/>
        <p:txBody>
          <a:bodyPr/>
          <a:lstStyle/>
          <a:p>
            <a:endParaRPr lang="da-DK" noProof="0"/>
          </a:p>
        </p:txBody>
      </p:sp>
      <p:sp>
        <p:nvSpPr>
          <p:cNvPr id="9" name="Slide Number Placeholder 8">
            <a:extLst>
              <a:ext uri="{FF2B5EF4-FFF2-40B4-BE49-F238E27FC236}">
                <a16:creationId xmlns:a16="http://schemas.microsoft.com/office/drawing/2014/main" id="{134B34F2-BA17-6C4F-D72C-E5A98B589F4E}"/>
              </a:ext>
            </a:extLst>
          </p:cNvPr>
          <p:cNvSpPr>
            <a:spLocks noGrp="1"/>
          </p:cNvSpPr>
          <p:nvPr>
            <p:ph type="sldNum" sz="quarter" idx="33"/>
          </p:nvPr>
        </p:nvSpPr>
        <p:spPr/>
        <p:txBody>
          <a:bodyPr/>
          <a:lstStyle/>
          <a:p>
            <a:fld id="{FA9C6259-F55B-47A6-AB0B-9E9F0835A2F0}" type="slidenum">
              <a:rPr lang="da-DK" noProof="0" smtClean="0"/>
              <a:pPr/>
              <a:t>‹nr.›</a:t>
            </a:fld>
            <a:endParaRPr lang="da-DK" noProof="0"/>
          </a:p>
        </p:txBody>
      </p:sp>
    </p:spTree>
    <p:extLst>
      <p:ext uri="{BB962C8B-B14F-4D97-AF65-F5344CB8AC3E}">
        <p14:creationId xmlns:p14="http://schemas.microsoft.com/office/powerpoint/2010/main" val="2270289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o indholdselement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431798" y="431799"/>
            <a:ext cx="5580000" cy="864000"/>
          </a:xfrm>
        </p:spPr>
        <p:txBody>
          <a:bodyPr anchor="b">
            <a:noAutofit/>
          </a:bodyPr>
          <a:lstStyle>
            <a:lvl1pPr algn="l">
              <a:defRPr sz="2800"/>
            </a:lvl1pPr>
          </a:lstStyle>
          <a:p>
            <a:r>
              <a:rPr lang="da-DK" noProof="0"/>
              <a:t>Klik for at redigere titeltypografien i masteren</a:t>
            </a:r>
          </a:p>
        </p:txBody>
      </p:sp>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6180201" y="431799"/>
            <a:ext cx="5580000" cy="5697538"/>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2" name="Pladsholder til tekst 11">
            <a:extLst>
              <a:ext uri="{FF2B5EF4-FFF2-40B4-BE49-F238E27FC236}">
                <a16:creationId xmlns:a16="http://schemas.microsoft.com/office/drawing/2014/main" id="{23591204-799C-9600-2A8C-67CDD2D1CC21}"/>
              </a:ext>
            </a:extLst>
          </p:cNvPr>
          <p:cNvSpPr>
            <a:spLocks noGrp="1"/>
          </p:cNvSpPr>
          <p:nvPr>
            <p:ph type="body" sz="quarter" idx="14" hasCustomPrompt="1"/>
          </p:nvPr>
        </p:nvSpPr>
        <p:spPr>
          <a:xfrm>
            <a:off x="431800" y="5686738"/>
            <a:ext cx="5544000" cy="432000"/>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a:t>Noter</a:t>
            </a:r>
          </a:p>
        </p:txBody>
      </p:sp>
      <p:sp>
        <p:nvSpPr>
          <p:cNvPr id="4" name="Date Placeholder 3">
            <a:extLst>
              <a:ext uri="{FF2B5EF4-FFF2-40B4-BE49-F238E27FC236}">
                <a16:creationId xmlns:a16="http://schemas.microsoft.com/office/drawing/2014/main" id="{4452554D-DF05-128A-4BCD-8E3DB1FE52D4}"/>
              </a:ext>
            </a:extLst>
          </p:cNvPr>
          <p:cNvSpPr>
            <a:spLocks noGrp="1"/>
          </p:cNvSpPr>
          <p:nvPr>
            <p:ph type="dt" sz="half" idx="15"/>
          </p:nvPr>
        </p:nvSpPr>
        <p:spPr/>
        <p:txBody>
          <a:bodyPr/>
          <a:lstStyle/>
          <a:p>
            <a:fld id="{F7E64F19-F0F7-406F-AC0F-3ECFC744BBDA}" type="datetimeFigureOut">
              <a:rPr lang="da-DK" noProof="0" smtClean="0"/>
              <a:pPr/>
              <a:t>16-03-2026</a:t>
            </a:fld>
            <a:endParaRPr lang="da-DK" noProof="0"/>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endParaRPr lang="da-DK" noProof="0"/>
          </a:p>
        </p:txBody>
      </p:sp>
      <p:sp>
        <p:nvSpPr>
          <p:cNvPr id="10" name="Slide Number Placeholder 9">
            <a:extLst>
              <a:ext uri="{FF2B5EF4-FFF2-40B4-BE49-F238E27FC236}">
                <a16:creationId xmlns:a16="http://schemas.microsoft.com/office/drawing/2014/main" id="{74FB935E-4BBE-8AE7-4C78-351D6FEA298F}"/>
              </a:ext>
            </a:extLst>
          </p:cNvPr>
          <p:cNvSpPr>
            <a:spLocks noGrp="1"/>
          </p:cNvSpPr>
          <p:nvPr>
            <p:ph type="sldNum" sz="quarter" idx="17"/>
          </p:nvPr>
        </p:nvSpPr>
        <p:spPr/>
        <p:txBody>
          <a:bodyPr/>
          <a:lstStyle/>
          <a:p>
            <a:fld id="{FA9C6259-F55B-47A6-AB0B-9E9F0835A2F0}" type="slidenum">
              <a:rPr lang="da-DK" noProof="0" smtClean="0"/>
              <a:pPr/>
              <a:t>‹nr.›</a:t>
            </a:fld>
            <a:endParaRPr lang="da-DK" noProof="0"/>
          </a:p>
        </p:txBody>
      </p:sp>
      <p:sp>
        <p:nvSpPr>
          <p:cNvPr id="6" name="Content Placeholder">
            <a:extLst>
              <a:ext uri="{FF2B5EF4-FFF2-40B4-BE49-F238E27FC236}">
                <a16:creationId xmlns:a16="http://schemas.microsoft.com/office/drawing/2014/main" id="{0129D7A0-F04D-8DBC-3ACB-63335806FE5F}"/>
              </a:ext>
            </a:extLst>
          </p:cNvPr>
          <p:cNvSpPr>
            <a:spLocks noGrp="1"/>
          </p:cNvSpPr>
          <p:nvPr>
            <p:ph sz="quarter" idx="18" hasCustomPrompt="1"/>
          </p:nvPr>
        </p:nvSpPr>
        <p:spPr>
          <a:xfrm>
            <a:off x="431798" y="1656000"/>
            <a:ext cx="5589743" cy="3600000"/>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Tree>
    <p:extLst>
      <p:ext uri="{BB962C8B-B14F-4D97-AF65-F5344CB8AC3E}">
        <p14:creationId xmlns:p14="http://schemas.microsoft.com/office/powerpoint/2010/main" val="204670787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o indholdselementer 2">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6180202" y="431799"/>
            <a:ext cx="5580000" cy="864000"/>
          </a:xfrm>
        </p:spPr>
        <p:txBody>
          <a:bodyPr anchor="b">
            <a:noAutofit/>
          </a:bodyPr>
          <a:lstStyle>
            <a:lvl1pPr algn="l">
              <a:defRPr sz="2800"/>
            </a:lvl1pPr>
          </a:lstStyle>
          <a:p>
            <a:r>
              <a:rPr lang="da-DK" noProof="0"/>
              <a:t>Klik for at redigere titeltypografien i masteren</a:t>
            </a:r>
          </a:p>
        </p:txBody>
      </p:sp>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431800" y="431799"/>
            <a:ext cx="5580000" cy="5697538"/>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4" name="Date Placeholder 3">
            <a:extLst>
              <a:ext uri="{FF2B5EF4-FFF2-40B4-BE49-F238E27FC236}">
                <a16:creationId xmlns:a16="http://schemas.microsoft.com/office/drawing/2014/main" id="{4452554D-DF05-128A-4BCD-8E3DB1FE52D4}"/>
              </a:ext>
            </a:extLst>
          </p:cNvPr>
          <p:cNvSpPr>
            <a:spLocks noGrp="1"/>
          </p:cNvSpPr>
          <p:nvPr>
            <p:ph type="dt" sz="half" idx="15"/>
          </p:nvPr>
        </p:nvSpPr>
        <p:spPr/>
        <p:txBody>
          <a:bodyPr/>
          <a:lstStyle/>
          <a:p>
            <a:fld id="{F7E64F19-F0F7-406F-AC0F-3ECFC744BBDA}" type="datetimeFigureOut">
              <a:rPr lang="da-DK" noProof="0" smtClean="0"/>
              <a:pPr/>
              <a:t>16-03-2026</a:t>
            </a:fld>
            <a:endParaRPr lang="da-DK" noProof="0"/>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endParaRPr lang="da-DK" noProof="0"/>
          </a:p>
        </p:txBody>
      </p:sp>
      <p:sp>
        <p:nvSpPr>
          <p:cNvPr id="10" name="Slide Number Placeholder 9">
            <a:extLst>
              <a:ext uri="{FF2B5EF4-FFF2-40B4-BE49-F238E27FC236}">
                <a16:creationId xmlns:a16="http://schemas.microsoft.com/office/drawing/2014/main" id="{74FB935E-4BBE-8AE7-4C78-351D6FEA298F}"/>
              </a:ext>
            </a:extLst>
          </p:cNvPr>
          <p:cNvSpPr>
            <a:spLocks noGrp="1"/>
          </p:cNvSpPr>
          <p:nvPr>
            <p:ph type="sldNum" sz="quarter" idx="17"/>
          </p:nvPr>
        </p:nvSpPr>
        <p:spPr/>
        <p:txBody>
          <a:bodyPr/>
          <a:lstStyle/>
          <a:p>
            <a:fld id="{FA9C6259-F55B-47A6-AB0B-9E9F0835A2F0}" type="slidenum">
              <a:rPr lang="da-DK" noProof="0" smtClean="0"/>
              <a:pPr/>
              <a:t>‹nr.›</a:t>
            </a:fld>
            <a:endParaRPr lang="da-DK" noProof="0"/>
          </a:p>
        </p:txBody>
      </p:sp>
      <p:sp>
        <p:nvSpPr>
          <p:cNvPr id="5" name="Pladsholder til tekst 11">
            <a:extLst>
              <a:ext uri="{FF2B5EF4-FFF2-40B4-BE49-F238E27FC236}">
                <a16:creationId xmlns:a16="http://schemas.microsoft.com/office/drawing/2014/main" id="{034305D7-BCCC-9562-B5D3-664C2E8FAE95}"/>
              </a:ext>
            </a:extLst>
          </p:cNvPr>
          <p:cNvSpPr>
            <a:spLocks noGrp="1"/>
          </p:cNvSpPr>
          <p:nvPr>
            <p:ph type="body" sz="quarter" idx="14" hasCustomPrompt="1"/>
          </p:nvPr>
        </p:nvSpPr>
        <p:spPr>
          <a:xfrm>
            <a:off x="6180200" y="5995627"/>
            <a:ext cx="5580000" cy="123111"/>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a:t>Noter</a:t>
            </a:r>
          </a:p>
        </p:txBody>
      </p:sp>
      <p:sp>
        <p:nvSpPr>
          <p:cNvPr id="7" name="Content Placeholder">
            <a:extLst>
              <a:ext uri="{FF2B5EF4-FFF2-40B4-BE49-F238E27FC236}">
                <a16:creationId xmlns:a16="http://schemas.microsoft.com/office/drawing/2014/main" id="{1723AB27-3754-226D-A398-7727124900A9}"/>
              </a:ext>
            </a:extLst>
          </p:cNvPr>
          <p:cNvSpPr>
            <a:spLocks noGrp="1"/>
          </p:cNvSpPr>
          <p:nvPr>
            <p:ph sz="quarter" idx="18" hasCustomPrompt="1"/>
          </p:nvPr>
        </p:nvSpPr>
        <p:spPr>
          <a:xfrm>
            <a:off x="6180200" y="1656000"/>
            <a:ext cx="5589743" cy="3600000"/>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Tree>
    <p:extLst>
      <p:ext uri="{BB962C8B-B14F-4D97-AF65-F5344CB8AC3E}">
        <p14:creationId xmlns:p14="http://schemas.microsoft.com/office/powerpoint/2010/main" val="416070751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o indholdselementer 3">
    <p:bg>
      <p:bgPr>
        <a:solidFill>
          <a:schemeClr val="bg1"/>
        </a:solidFill>
        <a:effectLst/>
      </p:bgPr>
    </p:bg>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4308201" y="431799"/>
            <a:ext cx="7452000" cy="5697538"/>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9" name="Title 1">
            <a:extLst>
              <a:ext uri="{FF2B5EF4-FFF2-40B4-BE49-F238E27FC236}">
                <a16:creationId xmlns:a16="http://schemas.microsoft.com/office/drawing/2014/main" id="{79CCF68C-8B21-D6DF-3D03-EDB736FA3BD9}"/>
              </a:ext>
            </a:extLst>
          </p:cNvPr>
          <p:cNvSpPr>
            <a:spLocks noGrp="1"/>
          </p:cNvSpPr>
          <p:nvPr>
            <p:ph type="ctrTitle"/>
          </p:nvPr>
        </p:nvSpPr>
        <p:spPr>
          <a:xfrm>
            <a:off x="431798" y="431799"/>
            <a:ext cx="3672000" cy="864000"/>
          </a:xfrm>
        </p:spPr>
        <p:txBody>
          <a:bodyPr anchor="b">
            <a:noAutofit/>
          </a:bodyPr>
          <a:lstStyle>
            <a:lvl1pPr algn="l">
              <a:defRPr sz="2800"/>
            </a:lvl1pPr>
          </a:lstStyle>
          <a:p>
            <a:r>
              <a:rPr lang="da-DK" noProof="0"/>
              <a:t>Klik for at redigere titeltypografien i masteren</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F7E64F19-F0F7-406F-AC0F-3ECFC744BBDA}" type="datetimeFigureOut">
              <a:rPr lang="da-DK" noProof="0" smtClean="0"/>
              <a:pPr/>
              <a:t>16-03-2026</a:t>
            </a:fld>
            <a:endParaRPr lang="da-DK" noProof="0"/>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noProof="0" smtClean="0"/>
              <a:pPr/>
              <a:t>‹nr.›</a:t>
            </a:fld>
            <a:endParaRPr lang="da-DK" noProof="0"/>
          </a:p>
        </p:txBody>
      </p:sp>
      <p:sp>
        <p:nvSpPr>
          <p:cNvPr id="5" name="Pladsholder til tekst 11">
            <a:extLst>
              <a:ext uri="{FF2B5EF4-FFF2-40B4-BE49-F238E27FC236}">
                <a16:creationId xmlns:a16="http://schemas.microsoft.com/office/drawing/2014/main" id="{49B4C005-DAE4-EDC2-AC27-6F555763D5EC}"/>
              </a:ext>
            </a:extLst>
          </p:cNvPr>
          <p:cNvSpPr>
            <a:spLocks noGrp="1"/>
          </p:cNvSpPr>
          <p:nvPr>
            <p:ph type="body" sz="quarter" idx="14" hasCustomPrompt="1"/>
          </p:nvPr>
        </p:nvSpPr>
        <p:spPr>
          <a:xfrm>
            <a:off x="431800" y="5995627"/>
            <a:ext cx="3671998" cy="123111"/>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a:t>Noter</a:t>
            </a:r>
          </a:p>
        </p:txBody>
      </p:sp>
      <p:sp>
        <p:nvSpPr>
          <p:cNvPr id="14" name="Content Placeholder">
            <a:extLst>
              <a:ext uri="{FF2B5EF4-FFF2-40B4-BE49-F238E27FC236}">
                <a16:creationId xmlns:a16="http://schemas.microsoft.com/office/drawing/2014/main" id="{489CF51D-E9A1-FFB5-DAB7-0216F34E71CF}"/>
              </a:ext>
            </a:extLst>
          </p:cNvPr>
          <p:cNvSpPr>
            <a:spLocks noGrp="1"/>
          </p:cNvSpPr>
          <p:nvPr>
            <p:ph sz="quarter" idx="18" hasCustomPrompt="1"/>
          </p:nvPr>
        </p:nvSpPr>
        <p:spPr>
          <a:xfrm>
            <a:off x="431798" y="1656000"/>
            <a:ext cx="3671999" cy="3600000"/>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Tree>
    <p:extLst>
      <p:ext uri="{BB962C8B-B14F-4D97-AF65-F5344CB8AC3E}">
        <p14:creationId xmlns:p14="http://schemas.microsoft.com/office/powerpoint/2010/main" val="74787577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Et indholdselement">
    <p:bg>
      <p:bgPr>
        <a:solidFill>
          <a:schemeClr val="bg1"/>
        </a:solidFill>
        <a:effectLst/>
      </p:bgPr>
    </p:bg>
    <p:spTree>
      <p:nvGrpSpPr>
        <p:cNvPr id="1" name=""/>
        <p:cNvGrpSpPr/>
        <p:nvPr/>
      </p:nvGrpSpPr>
      <p:grpSpPr>
        <a:xfrm>
          <a:off x="0" y="0"/>
          <a:ext cx="0" cy="0"/>
          <a:chOff x="0" y="0"/>
          <a:chExt cx="0" cy="0"/>
        </a:xfrm>
      </p:grpSpPr>
      <p:sp>
        <p:nvSpPr>
          <p:cNvPr id="4" name="Titel 1">
            <a:extLst>
              <a:ext uri="{FF2B5EF4-FFF2-40B4-BE49-F238E27FC236}">
                <a16:creationId xmlns:a16="http://schemas.microsoft.com/office/drawing/2014/main" id="{FF9A6091-ED2A-C1F9-A8AE-02565CAC7BBB}"/>
              </a:ext>
            </a:extLst>
          </p:cNvPr>
          <p:cNvSpPr>
            <a:spLocks noGrp="1"/>
          </p:cNvSpPr>
          <p:nvPr>
            <p:ph type="title" hasCustomPrompt="1"/>
          </p:nvPr>
        </p:nvSpPr>
        <p:spPr>
          <a:xfrm>
            <a:off x="431799" y="431800"/>
            <a:ext cx="11326814" cy="864000"/>
          </a:xfrm>
        </p:spPr>
        <p:txBody>
          <a:bodyPr>
            <a:noAutofit/>
          </a:bodyPr>
          <a:lstStyle>
            <a:lvl1pPr>
              <a:defRPr/>
            </a:lvl1pPr>
          </a:lstStyle>
          <a:p>
            <a:r>
              <a:rPr lang="da-DK" noProof="0"/>
              <a:t>Klik for at redigere titeltypografien i masteren </a:t>
            </a:r>
          </a:p>
        </p:txBody>
      </p:sp>
      <p:sp>
        <p:nvSpPr>
          <p:cNvPr id="2" name="Date Placeholder 1">
            <a:extLst>
              <a:ext uri="{FF2B5EF4-FFF2-40B4-BE49-F238E27FC236}">
                <a16:creationId xmlns:a16="http://schemas.microsoft.com/office/drawing/2014/main" id="{82B39A03-0C51-0B8A-9E8B-8E35B30E26EF}"/>
              </a:ext>
            </a:extLst>
          </p:cNvPr>
          <p:cNvSpPr>
            <a:spLocks noGrp="1"/>
          </p:cNvSpPr>
          <p:nvPr>
            <p:ph type="dt" sz="half" idx="10"/>
          </p:nvPr>
        </p:nvSpPr>
        <p:spPr/>
        <p:txBody>
          <a:bodyPr/>
          <a:lstStyle/>
          <a:p>
            <a:fld id="{F7E64F19-F0F7-406F-AC0F-3ECFC744BBDA}" type="datetimeFigureOut">
              <a:rPr lang="da-DK" noProof="0" smtClean="0"/>
              <a:pPr/>
              <a:t>16-03-2026</a:t>
            </a:fld>
            <a:endParaRPr lang="da-DK" noProof="0"/>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AF52A892-3C3A-81B2-F030-F5D87B444B7F}"/>
              </a:ext>
            </a:extLst>
          </p:cNvPr>
          <p:cNvSpPr>
            <a:spLocks noGrp="1"/>
          </p:cNvSpPr>
          <p:nvPr>
            <p:ph type="sldNum" sz="quarter" idx="12"/>
          </p:nvPr>
        </p:nvSpPr>
        <p:spPr/>
        <p:txBody>
          <a:bodyPr/>
          <a:lstStyle/>
          <a:p>
            <a:fld id="{FA9C6259-F55B-47A6-AB0B-9E9F0835A2F0}" type="slidenum">
              <a:rPr lang="da-DK" noProof="0" smtClean="0"/>
              <a:pPr/>
              <a:t>‹nr.›</a:t>
            </a:fld>
            <a:endParaRPr lang="da-DK" noProof="0"/>
          </a:p>
        </p:txBody>
      </p:sp>
      <p:sp>
        <p:nvSpPr>
          <p:cNvPr id="6" name="Content Placeholder">
            <a:extLst>
              <a:ext uri="{FF2B5EF4-FFF2-40B4-BE49-F238E27FC236}">
                <a16:creationId xmlns:a16="http://schemas.microsoft.com/office/drawing/2014/main" id="{FE748EBE-5271-38ED-B58F-113D8DD5F652}"/>
              </a:ext>
            </a:extLst>
          </p:cNvPr>
          <p:cNvSpPr>
            <a:spLocks noGrp="1"/>
          </p:cNvSpPr>
          <p:nvPr>
            <p:ph sz="quarter" idx="13"/>
          </p:nvPr>
        </p:nvSpPr>
        <p:spPr>
          <a:xfrm>
            <a:off x="431797" y="1656000"/>
            <a:ext cx="11326813" cy="4473338"/>
          </a:xfrm>
        </p:spPr>
        <p:txBody>
          <a:bodyPr/>
          <a:lstStyle>
            <a:lvl1pPr marL="0" indent="0">
              <a:buNone/>
              <a:defRPr/>
            </a:lvl1pPr>
          </a:lstStyle>
          <a:p>
            <a:pPr lvl="0"/>
            <a:r>
              <a:rPr lang="da-DK" noProof="0"/>
              <a:t>Klik for at redigere teksttypografierne i masteren</a:t>
            </a:r>
          </a:p>
        </p:txBody>
      </p:sp>
    </p:spTree>
    <p:extLst>
      <p:ext uri="{BB962C8B-B14F-4D97-AF65-F5344CB8AC3E}">
        <p14:creationId xmlns:p14="http://schemas.microsoft.com/office/powerpoint/2010/main" val="127246498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re indholdselementer">
    <p:bg>
      <p:bgPr>
        <a:solidFill>
          <a:schemeClr val="bg1"/>
        </a:solidFill>
        <a:effectLst/>
      </p:bgPr>
    </p:bg>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585997"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4" name="Pladsholder til tekst 11">
            <a:extLst>
              <a:ext uri="{FF2B5EF4-FFF2-40B4-BE49-F238E27FC236}">
                <a16:creationId xmlns:a16="http://schemas.microsoft.com/office/drawing/2014/main" id="{565CAC02-D4DE-00BD-DC53-5C6A9C07B020}"/>
              </a:ext>
            </a:extLst>
          </p:cNvPr>
          <p:cNvSpPr>
            <a:spLocks noGrp="1"/>
          </p:cNvSpPr>
          <p:nvPr>
            <p:ph type="body" sz="quarter" idx="14" hasCustomPrompt="1"/>
          </p:nvPr>
        </p:nvSpPr>
        <p:spPr>
          <a:xfrm>
            <a:off x="431799" y="5841338"/>
            <a:ext cx="11326813" cy="288000"/>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a:t>Noter</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F7E64F19-F0F7-406F-AC0F-3ECFC744BBDA}" type="datetimeFigureOut">
              <a:rPr lang="da-DK" noProof="0" smtClean="0"/>
              <a:pPr/>
              <a:t>16-03-2026</a:t>
            </a:fld>
            <a:endParaRPr lang="da-DK" noProof="0"/>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noProof="0" smtClean="0"/>
              <a:pPr/>
              <a:t>‹nr.›</a:t>
            </a:fld>
            <a:endParaRPr lang="da-DK" noProof="0"/>
          </a:p>
        </p:txBody>
      </p:sp>
      <p:sp>
        <p:nvSpPr>
          <p:cNvPr id="13" name="Title 12">
            <a:extLst>
              <a:ext uri="{FF2B5EF4-FFF2-40B4-BE49-F238E27FC236}">
                <a16:creationId xmlns:a16="http://schemas.microsoft.com/office/drawing/2014/main" id="{212DDD1D-CF2D-FE1E-8665-2DF511DFB772}"/>
              </a:ext>
            </a:extLst>
          </p:cNvPr>
          <p:cNvSpPr>
            <a:spLocks noGrp="1"/>
          </p:cNvSpPr>
          <p:nvPr>
            <p:ph type="title"/>
          </p:nvPr>
        </p:nvSpPr>
        <p:spPr>
          <a:xfrm>
            <a:off x="431799" y="431800"/>
            <a:ext cx="11326814" cy="864000"/>
          </a:xfrm>
        </p:spPr>
        <p:txBody>
          <a:bodyPr/>
          <a:lstStyle/>
          <a:p>
            <a:r>
              <a:rPr lang="da-DK" noProof="0"/>
              <a:t>Klik for at redigere titeltypografien i masteren</a:t>
            </a:r>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585210"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16" name="Content Placeholder">
            <a:extLst>
              <a:ext uri="{FF2B5EF4-FFF2-40B4-BE49-F238E27FC236}">
                <a16:creationId xmlns:a16="http://schemas.microsoft.com/office/drawing/2014/main" id="{071BC6CF-C0A0-026F-8923-83DEC5C53812}"/>
              </a:ext>
            </a:extLst>
          </p:cNvPr>
          <p:cNvSpPr>
            <a:spLocks noGrp="1"/>
          </p:cNvSpPr>
          <p:nvPr>
            <p:ph sz="quarter" idx="19" hasCustomPrompt="1"/>
          </p:nvPr>
        </p:nvSpPr>
        <p:spPr>
          <a:xfrm>
            <a:off x="4368000"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8" name="Text Placeholder 14">
            <a:extLst>
              <a:ext uri="{FF2B5EF4-FFF2-40B4-BE49-F238E27FC236}">
                <a16:creationId xmlns:a16="http://schemas.microsoft.com/office/drawing/2014/main" id="{CBF7BF71-5BF4-B4EB-6418-C90F6D38E0C3}"/>
              </a:ext>
            </a:extLst>
          </p:cNvPr>
          <p:cNvSpPr>
            <a:spLocks noGrp="1"/>
          </p:cNvSpPr>
          <p:nvPr>
            <p:ph type="body" sz="quarter" idx="20" hasCustomPrompt="1"/>
          </p:nvPr>
        </p:nvSpPr>
        <p:spPr>
          <a:xfrm>
            <a:off x="4367213"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19" name="Content Placeholder">
            <a:extLst>
              <a:ext uri="{FF2B5EF4-FFF2-40B4-BE49-F238E27FC236}">
                <a16:creationId xmlns:a16="http://schemas.microsoft.com/office/drawing/2014/main" id="{FB703B9F-4489-0A5E-3BB0-56D56672CABD}"/>
              </a:ext>
            </a:extLst>
          </p:cNvPr>
          <p:cNvSpPr>
            <a:spLocks noGrp="1"/>
          </p:cNvSpPr>
          <p:nvPr>
            <p:ph sz="quarter" idx="21" hasCustomPrompt="1"/>
          </p:nvPr>
        </p:nvSpPr>
        <p:spPr>
          <a:xfrm>
            <a:off x="8143468"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1" name="Text Placeholder 14">
            <a:extLst>
              <a:ext uri="{FF2B5EF4-FFF2-40B4-BE49-F238E27FC236}">
                <a16:creationId xmlns:a16="http://schemas.microsoft.com/office/drawing/2014/main" id="{8D5872B1-C6FC-9F83-9DDF-D8BCE82E24FD}"/>
              </a:ext>
            </a:extLst>
          </p:cNvPr>
          <p:cNvSpPr>
            <a:spLocks noGrp="1"/>
          </p:cNvSpPr>
          <p:nvPr>
            <p:ph type="body" sz="quarter" idx="22" hasCustomPrompt="1"/>
          </p:nvPr>
        </p:nvSpPr>
        <p:spPr>
          <a:xfrm>
            <a:off x="8142681"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Tree>
    <p:extLst>
      <p:ext uri="{BB962C8B-B14F-4D97-AF65-F5344CB8AC3E}">
        <p14:creationId xmlns:p14="http://schemas.microsoft.com/office/powerpoint/2010/main" val="88835671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o indholdselementer 2">
    <p:bg>
      <p:bgPr>
        <a:solidFill>
          <a:schemeClr val="bg1"/>
        </a:solidFill>
        <a:effectLst/>
      </p:bgPr>
    </p:bg>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431800" y="431799"/>
            <a:ext cx="5580000" cy="5697538"/>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4" name="Date Placeholder 3">
            <a:extLst>
              <a:ext uri="{FF2B5EF4-FFF2-40B4-BE49-F238E27FC236}">
                <a16:creationId xmlns:a16="http://schemas.microsoft.com/office/drawing/2014/main" id="{4452554D-DF05-128A-4BCD-8E3DB1FE52D4}"/>
              </a:ext>
            </a:extLst>
          </p:cNvPr>
          <p:cNvSpPr>
            <a:spLocks noGrp="1"/>
          </p:cNvSpPr>
          <p:nvPr>
            <p:ph type="dt" sz="half" idx="15"/>
          </p:nvPr>
        </p:nvSpPr>
        <p:spPr/>
        <p:txBody>
          <a:bodyPr/>
          <a:lstStyle/>
          <a:p>
            <a:fld id="{A007E8F6-3C5E-41C3-86E2-32876D4B1438}" type="datetime1">
              <a:rPr lang="da-DK" noProof="0" smtClean="0"/>
              <a:t>16-03-2026</a:t>
            </a:fld>
            <a:endParaRPr lang="da-DK" noProof="0"/>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endParaRPr lang="da-DK" noProof="0"/>
          </a:p>
        </p:txBody>
      </p:sp>
      <p:sp>
        <p:nvSpPr>
          <p:cNvPr id="10" name="Slide Number Placeholder 9">
            <a:extLst>
              <a:ext uri="{FF2B5EF4-FFF2-40B4-BE49-F238E27FC236}">
                <a16:creationId xmlns:a16="http://schemas.microsoft.com/office/drawing/2014/main" id="{74FB935E-4BBE-8AE7-4C78-351D6FEA298F}"/>
              </a:ext>
            </a:extLst>
          </p:cNvPr>
          <p:cNvSpPr>
            <a:spLocks noGrp="1"/>
          </p:cNvSpPr>
          <p:nvPr>
            <p:ph type="sldNum" sz="quarter" idx="17"/>
          </p:nvPr>
        </p:nvSpPr>
        <p:spPr/>
        <p:txBody>
          <a:bodyPr/>
          <a:lstStyle/>
          <a:p>
            <a:fld id="{FA9C6259-F55B-47A6-AB0B-9E9F0835A2F0}" type="slidenum">
              <a:rPr lang="da-DK" noProof="0" smtClean="0"/>
              <a:pPr/>
              <a:t>‹nr.›</a:t>
            </a:fld>
            <a:endParaRPr lang="da-DK" noProof="0"/>
          </a:p>
        </p:txBody>
      </p:sp>
      <p:sp>
        <p:nvSpPr>
          <p:cNvPr id="7" name="Content Placeholder">
            <a:extLst>
              <a:ext uri="{FF2B5EF4-FFF2-40B4-BE49-F238E27FC236}">
                <a16:creationId xmlns:a16="http://schemas.microsoft.com/office/drawing/2014/main" id="{1723AB27-3754-226D-A398-7727124900A9}"/>
              </a:ext>
            </a:extLst>
          </p:cNvPr>
          <p:cNvSpPr>
            <a:spLocks noGrp="1"/>
          </p:cNvSpPr>
          <p:nvPr>
            <p:ph sz="quarter" idx="18" hasCustomPrompt="1"/>
          </p:nvPr>
        </p:nvSpPr>
        <p:spPr>
          <a:xfrm>
            <a:off x="6180200" y="1655999"/>
            <a:ext cx="5589743" cy="4473337"/>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3" name="Title 12">
            <a:extLst>
              <a:ext uri="{FF2B5EF4-FFF2-40B4-BE49-F238E27FC236}">
                <a16:creationId xmlns:a16="http://schemas.microsoft.com/office/drawing/2014/main" id="{68DD4317-00BA-5FCB-1A03-A4E94521B303}"/>
              </a:ext>
            </a:extLst>
          </p:cNvPr>
          <p:cNvSpPr>
            <a:spLocks noGrp="1"/>
          </p:cNvSpPr>
          <p:nvPr>
            <p:ph type="title" hasCustomPrompt="1"/>
          </p:nvPr>
        </p:nvSpPr>
        <p:spPr>
          <a:xfrm>
            <a:off x="6178613" y="431800"/>
            <a:ext cx="5580000"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253599131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re cards m. indhold">
    <p:bg>
      <p:bgPr>
        <a:solidFill>
          <a:schemeClr val="bg1"/>
        </a:solidFill>
        <a:effectLst/>
      </p:bgPr>
    </p:bg>
    <p:spTree>
      <p:nvGrpSpPr>
        <p:cNvPr id="1" name=""/>
        <p:cNvGrpSpPr/>
        <p:nvPr/>
      </p:nvGrpSpPr>
      <p:grpSpPr>
        <a:xfrm>
          <a:off x="0" y="0"/>
          <a:ext cx="0" cy="0"/>
          <a:chOff x="0" y="0"/>
          <a:chExt cx="0" cy="0"/>
        </a:xfrm>
      </p:grpSpPr>
      <p:sp>
        <p:nvSpPr>
          <p:cNvPr id="17" name="Rektangel: enkelt hjørne afrundet 16">
            <a:extLst>
              <a:ext uri="{FF2B5EF4-FFF2-40B4-BE49-F238E27FC236}">
                <a16:creationId xmlns:a16="http://schemas.microsoft.com/office/drawing/2014/main" id="{239FAEE3-E58D-2A51-7A83-9E7E086AB2DD}"/>
              </a:ext>
            </a:extLst>
          </p:cNvPr>
          <p:cNvSpPr/>
          <p:nvPr userDrawn="1"/>
        </p:nvSpPr>
        <p:spPr>
          <a:xfrm rot="5400000">
            <a:off x="286992" y="1980955"/>
            <a:ext cx="4053564"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576000" tIns="144000" rIns="288000" bIns="144000" rtlCol="0" anchor="t" anchorCtr="0">
            <a:noAutofit/>
          </a:bodyPr>
          <a:lstStyle/>
          <a:p>
            <a:pPr>
              <a:lnSpc>
                <a:spcPct val="90000"/>
              </a:lnSpc>
            </a:pPr>
            <a:endParaRPr lang="da-DK" sz="1200" noProof="0">
              <a:solidFill>
                <a:schemeClr val="tx1"/>
              </a:solidFill>
              <a:latin typeface="Work Sans" pitchFamily="2" charset="0"/>
            </a:endParaRPr>
          </a:p>
        </p:txBody>
      </p:sp>
      <p:sp>
        <p:nvSpPr>
          <p:cNvPr id="8" name="Content Placeholder">
            <a:extLst>
              <a:ext uri="{FF2B5EF4-FFF2-40B4-BE49-F238E27FC236}">
                <a16:creationId xmlns:a16="http://schemas.microsoft.com/office/drawing/2014/main" id="{4E91CDE7-A150-9C6F-48B3-D2425425F88B}"/>
              </a:ext>
            </a:extLst>
          </p:cNvPr>
          <p:cNvSpPr>
            <a:spLocks noGrp="1" noChangeAspect="1"/>
          </p:cNvSpPr>
          <p:nvPr>
            <p:ph sz="quarter" idx="13" hasCustomPrompt="1"/>
          </p:nvPr>
        </p:nvSpPr>
        <p:spPr>
          <a:xfrm>
            <a:off x="83777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4" name="Pladsholder til tekst 11">
            <a:extLst>
              <a:ext uri="{FF2B5EF4-FFF2-40B4-BE49-F238E27FC236}">
                <a16:creationId xmlns:a16="http://schemas.microsoft.com/office/drawing/2014/main" id="{565CAC02-D4DE-00BD-DC53-5C6A9C07B020}"/>
              </a:ext>
            </a:extLst>
          </p:cNvPr>
          <p:cNvSpPr>
            <a:spLocks noGrp="1"/>
          </p:cNvSpPr>
          <p:nvPr>
            <p:ph type="body" sz="quarter" idx="14" hasCustomPrompt="1"/>
          </p:nvPr>
        </p:nvSpPr>
        <p:spPr>
          <a:xfrm>
            <a:off x="431799" y="5841338"/>
            <a:ext cx="11326813" cy="288000"/>
          </a:xfrm>
        </p:spPr>
        <p:txBody>
          <a:bodyPr wrap="square" anchor="b">
            <a:sp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a:t>Noter</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F7E64F19-F0F7-406F-AC0F-3ECFC744BBDA}" type="datetimeFigureOut">
              <a:rPr lang="da-DK" noProof="0" smtClean="0"/>
              <a:pPr/>
              <a:t>16-03-2026</a:t>
            </a:fld>
            <a:endParaRPr lang="da-DK" noProof="0"/>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noProof="0" smtClean="0"/>
              <a:pPr/>
              <a:t>‹nr.›</a:t>
            </a:fld>
            <a:endParaRPr lang="da-DK" noProof="0"/>
          </a:p>
        </p:txBody>
      </p:sp>
      <p:sp>
        <p:nvSpPr>
          <p:cNvPr id="13" name="Title 12">
            <a:extLst>
              <a:ext uri="{FF2B5EF4-FFF2-40B4-BE49-F238E27FC236}">
                <a16:creationId xmlns:a16="http://schemas.microsoft.com/office/drawing/2014/main" id="{212DDD1D-CF2D-FE1E-8665-2DF511DFB772}"/>
              </a:ext>
            </a:extLst>
          </p:cNvPr>
          <p:cNvSpPr>
            <a:spLocks noGrp="1"/>
          </p:cNvSpPr>
          <p:nvPr>
            <p:ph type="title"/>
          </p:nvPr>
        </p:nvSpPr>
        <p:spPr>
          <a:xfrm>
            <a:off x="431799" y="431800"/>
            <a:ext cx="11326814" cy="864000"/>
          </a:xfrm>
        </p:spPr>
        <p:txBody>
          <a:bodyPr/>
          <a:lstStyle/>
          <a:p>
            <a:r>
              <a:rPr lang="da-DK" noProof="0"/>
              <a:t>Klik for at redigere titeltypografien i masteren</a:t>
            </a:r>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83777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
        <p:nvSpPr>
          <p:cNvPr id="6" name="Rektangel: enkelt hjørne afrundet 3">
            <a:extLst>
              <a:ext uri="{FF2B5EF4-FFF2-40B4-BE49-F238E27FC236}">
                <a16:creationId xmlns:a16="http://schemas.microsoft.com/office/drawing/2014/main" id="{3F44D920-C562-CB3A-A90E-203C61152FDC}"/>
              </a:ext>
            </a:extLst>
          </p:cNvPr>
          <p:cNvSpPr/>
          <p:nvPr userDrawn="1"/>
        </p:nvSpPr>
        <p:spPr>
          <a:xfrm rot="5400000">
            <a:off x="4080000"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7" name="Content Placeholder">
            <a:extLst>
              <a:ext uri="{FF2B5EF4-FFF2-40B4-BE49-F238E27FC236}">
                <a16:creationId xmlns:a16="http://schemas.microsoft.com/office/drawing/2014/main" id="{CB865392-8DC1-3E12-AFFD-90B24E43F8AC}"/>
              </a:ext>
            </a:extLst>
          </p:cNvPr>
          <p:cNvSpPr>
            <a:spLocks noGrp="1" noChangeAspect="1"/>
          </p:cNvSpPr>
          <p:nvPr>
            <p:ph sz="quarter" idx="19" hasCustomPrompt="1"/>
          </p:nvPr>
        </p:nvSpPr>
        <p:spPr>
          <a:xfrm>
            <a:off x="4620000"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9" name="Text Placeholder 14">
            <a:extLst>
              <a:ext uri="{FF2B5EF4-FFF2-40B4-BE49-F238E27FC236}">
                <a16:creationId xmlns:a16="http://schemas.microsoft.com/office/drawing/2014/main" id="{DA071D47-D938-4517-894E-F44F79B81D53}"/>
              </a:ext>
            </a:extLst>
          </p:cNvPr>
          <p:cNvSpPr>
            <a:spLocks noGrp="1"/>
          </p:cNvSpPr>
          <p:nvPr>
            <p:ph type="body" sz="quarter" idx="20" hasCustomPrompt="1"/>
          </p:nvPr>
        </p:nvSpPr>
        <p:spPr>
          <a:xfrm>
            <a:off x="4620000"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
        <p:nvSpPr>
          <p:cNvPr id="10" name="Rektangel: enkelt hjørne afrundet 3">
            <a:extLst>
              <a:ext uri="{FF2B5EF4-FFF2-40B4-BE49-F238E27FC236}">
                <a16:creationId xmlns:a16="http://schemas.microsoft.com/office/drawing/2014/main" id="{5A8845E3-CF08-DCD4-A85C-CA8C47B27A0C}"/>
              </a:ext>
            </a:extLst>
          </p:cNvPr>
          <p:cNvSpPr/>
          <p:nvPr userDrawn="1"/>
        </p:nvSpPr>
        <p:spPr>
          <a:xfrm rot="5400000">
            <a:off x="7862226"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12" name="Content Placeholder">
            <a:extLst>
              <a:ext uri="{FF2B5EF4-FFF2-40B4-BE49-F238E27FC236}">
                <a16:creationId xmlns:a16="http://schemas.microsoft.com/office/drawing/2014/main" id="{09975C7B-92A1-77A3-6DF3-98B1EC362A64}"/>
              </a:ext>
            </a:extLst>
          </p:cNvPr>
          <p:cNvSpPr>
            <a:spLocks noGrp="1" noChangeAspect="1"/>
          </p:cNvSpPr>
          <p:nvPr>
            <p:ph sz="quarter" idx="21" hasCustomPrompt="1"/>
          </p:nvPr>
        </p:nvSpPr>
        <p:spPr>
          <a:xfrm>
            <a:off x="840222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4" name="Text Placeholder 14">
            <a:extLst>
              <a:ext uri="{FF2B5EF4-FFF2-40B4-BE49-F238E27FC236}">
                <a16:creationId xmlns:a16="http://schemas.microsoft.com/office/drawing/2014/main" id="{8306526A-8341-2F8B-ECCF-7F99D0F10D26}"/>
              </a:ext>
            </a:extLst>
          </p:cNvPr>
          <p:cNvSpPr>
            <a:spLocks noGrp="1"/>
          </p:cNvSpPr>
          <p:nvPr>
            <p:ph type="body" sz="quarter" idx="22" hasCustomPrompt="1"/>
          </p:nvPr>
        </p:nvSpPr>
        <p:spPr>
          <a:xfrm>
            <a:off x="840222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Tree>
    <p:extLst>
      <p:ext uri="{BB962C8B-B14F-4D97-AF65-F5344CB8AC3E}">
        <p14:creationId xmlns:p14="http://schemas.microsoft.com/office/powerpoint/2010/main" val="425473661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tor hvid fla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2298AB2-D819-DC76-9043-BEDE7D8D3C12}"/>
              </a:ext>
            </a:extLst>
          </p:cNvPr>
          <p:cNvGraphicFramePr>
            <a:graphicFrameLocks noChangeAspect="1"/>
          </p:cNvGraphicFramePr>
          <p:nvPr userDrawn="1">
            <p:custDataLst>
              <p:tags r:id="rId1"/>
            </p:custDataLst>
            <p:extLst>
              <p:ext uri="{D42A27DB-BD31-4B8C-83A1-F6EECF244321}">
                <p14:modId xmlns:p14="http://schemas.microsoft.com/office/powerpoint/2010/main" val="31895365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8" name="think-cell data - do not delete" hidden="1">
                        <a:extLst>
                          <a:ext uri="{FF2B5EF4-FFF2-40B4-BE49-F238E27FC236}">
                            <a16:creationId xmlns:a16="http://schemas.microsoft.com/office/drawing/2014/main" id="{F2298AB2-D819-DC76-9043-BEDE7D8D3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ktangel: enkelt hjørne afrundet 5">
            <a:extLst>
              <a:ext uri="{FF2B5EF4-FFF2-40B4-BE49-F238E27FC236}">
                <a16:creationId xmlns:a16="http://schemas.microsoft.com/office/drawing/2014/main" id="{45EF9235-5FF1-84BD-32D8-FF150C5A9837}"/>
              </a:ext>
            </a:extLst>
          </p:cNvPr>
          <p:cNvSpPr/>
          <p:nvPr userDrawn="1"/>
        </p:nvSpPr>
        <p:spPr>
          <a:xfrm flipH="1">
            <a:off x="332507" y="2097975"/>
            <a:ext cx="11859491" cy="4760026"/>
          </a:xfrm>
          <a:prstGeom prst="round1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432000" rIns="432000" bIns="720000" rtlCol="0" anchor="b" anchorCtr="0">
            <a:noAutofit/>
          </a:bodyPr>
          <a:lstStyle/>
          <a:p>
            <a:pPr>
              <a:lnSpc>
                <a:spcPct val="90000"/>
              </a:lnSpc>
            </a:pPr>
            <a:endParaRPr lang="da-DK" sz="1400" noProof="0">
              <a:solidFill>
                <a:schemeClr val="bg1"/>
              </a:solidFill>
              <a:latin typeface="Work Sans" pitchFamily="2" charset="0"/>
            </a:endParaRPr>
          </a:p>
        </p:txBody>
      </p:sp>
      <p:sp>
        <p:nvSpPr>
          <p:cNvPr id="2" name="Titel 1">
            <a:extLst>
              <a:ext uri="{FF2B5EF4-FFF2-40B4-BE49-F238E27FC236}">
                <a16:creationId xmlns:a16="http://schemas.microsoft.com/office/drawing/2014/main" id="{B4102C93-51B8-4B00-4389-D8680A73B9E2}"/>
              </a:ext>
            </a:extLst>
          </p:cNvPr>
          <p:cNvSpPr>
            <a:spLocks noGrp="1"/>
          </p:cNvSpPr>
          <p:nvPr>
            <p:ph type="title"/>
          </p:nvPr>
        </p:nvSpPr>
        <p:spPr/>
        <p:txBody>
          <a:bodyPr vert="horz"/>
          <a:lstStyle/>
          <a:p>
            <a:r>
              <a:rPr lang="da-DK"/>
              <a:t>Klik for at redigere titeltypografien i masteren</a:t>
            </a:r>
          </a:p>
        </p:txBody>
      </p:sp>
      <p:sp>
        <p:nvSpPr>
          <p:cNvPr id="4" name="Pladsholder til slidenummer 3">
            <a:extLst>
              <a:ext uri="{FF2B5EF4-FFF2-40B4-BE49-F238E27FC236}">
                <a16:creationId xmlns:a16="http://schemas.microsoft.com/office/drawing/2014/main" id="{39CB9D82-382E-298B-3817-C5C5B1C47E5D}"/>
              </a:ext>
            </a:extLst>
          </p:cNvPr>
          <p:cNvSpPr>
            <a:spLocks noGrp="1"/>
          </p:cNvSpPr>
          <p:nvPr>
            <p:ph type="sldNum" sz="quarter" idx="11"/>
          </p:nvPr>
        </p:nvSpPr>
        <p:spPr/>
        <p:txBody>
          <a:bodyPr/>
          <a:lstStyle/>
          <a:p>
            <a:fld id="{FA9C6259-F55B-47A6-AB0B-9E9F0835A2F0}" type="slidenum">
              <a:rPr lang="da-DK" noProof="0" smtClean="0"/>
              <a:pPr/>
              <a:t>‹nr.›</a:t>
            </a:fld>
            <a:endParaRPr lang="da-DK" noProof="0"/>
          </a:p>
        </p:txBody>
      </p:sp>
      <p:sp>
        <p:nvSpPr>
          <p:cNvPr id="5" name="Pladsholder til sidefod 4">
            <a:extLst>
              <a:ext uri="{FF2B5EF4-FFF2-40B4-BE49-F238E27FC236}">
                <a16:creationId xmlns:a16="http://schemas.microsoft.com/office/drawing/2014/main" id="{822E06CC-EF17-CA2D-D02E-F106338D4C45}"/>
              </a:ext>
            </a:extLst>
          </p:cNvPr>
          <p:cNvSpPr>
            <a:spLocks noGrp="1"/>
          </p:cNvSpPr>
          <p:nvPr>
            <p:ph type="ftr" sz="quarter" idx="12"/>
          </p:nvPr>
        </p:nvSpPr>
        <p:spPr/>
        <p:txBody>
          <a:bodyPr/>
          <a:lstStyle/>
          <a:p>
            <a:endParaRPr lang="da-DK" noProof="0"/>
          </a:p>
        </p:txBody>
      </p:sp>
    </p:spTree>
    <p:extLst>
      <p:ext uri="{BB962C8B-B14F-4D97-AF65-F5344CB8AC3E}">
        <p14:creationId xmlns:p14="http://schemas.microsoft.com/office/powerpoint/2010/main" val="105447885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Lille hvid fla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205B73C-9FCD-D20A-B361-EF7A41384850}"/>
              </a:ext>
            </a:extLst>
          </p:cNvPr>
          <p:cNvGraphicFramePr>
            <a:graphicFrameLocks noChangeAspect="1"/>
          </p:cNvGraphicFramePr>
          <p:nvPr userDrawn="1">
            <p:custDataLst>
              <p:tags r:id="rId1"/>
            </p:custDataLst>
            <p:extLst>
              <p:ext uri="{D42A27DB-BD31-4B8C-83A1-F6EECF244321}">
                <p14:modId xmlns:p14="http://schemas.microsoft.com/office/powerpoint/2010/main" val="4027441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8" name="think-cell data - do not delete" hidden="1">
                        <a:extLst>
                          <a:ext uri="{FF2B5EF4-FFF2-40B4-BE49-F238E27FC236}">
                            <a16:creationId xmlns:a16="http://schemas.microsoft.com/office/drawing/2014/main" id="{6205B73C-9FCD-D20A-B361-EF7A413848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ktangel: enkelt hjørne afrundet 5">
            <a:extLst>
              <a:ext uri="{FF2B5EF4-FFF2-40B4-BE49-F238E27FC236}">
                <a16:creationId xmlns:a16="http://schemas.microsoft.com/office/drawing/2014/main" id="{D38DE1BB-29E9-56DB-E284-8DAD2530B8B3}"/>
              </a:ext>
            </a:extLst>
          </p:cNvPr>
          <p:cNvSpPr/>
          <p:nvPr userDrawn="1"/>
        </p:nvSpPr>
        <p:spPr>
          <a:xfrm flipH="1">
            <a:off x="6095999" y="1290452"/>
            <a:ext cx="6096000" cy="5567549"/>
          </a:xfrm>
          <a:prstGeom prst="round1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432000" rIns="432000" bIns="720000" rtlCol="0" anchor="b" anchorCtr="0">
            <a:noAutofit/>
          </a:bodyPr>
          <a:lstStyle/>
          <a:p>
            <a:pPr>
              <a:lnSpc>
                <a:spcPct val="90000"/>
              </a:lnSpc>
            </a:pPr>
            <a:endParaRPr lang="da-DK" sz="1400" noProof="0">
              <a:solidFill>
                <a:schemeClr val="bg1"/>
              </a:solidFill>
              <a:latin typeface="Work Sans" pitchFamily="2" charset="0"/>
            </a:endParaRPr>
          </a:p>
        </p:txBody>
      </p:sp>
      <p:sp>
        <p:nvSpPr>
          <p:cNvPr id="2" name="Titel 1">
            <a:extLst>
              <a:ext uri="{FF2B5EF4-FFF2-40B4-BE49-F238E27FC236}">
                <a16:creationId xmlns:a16="http://schemas.microsoft.com/office/drawing/2014/main" id="{70CED4E7-24BD-989E-B64D-50981CC128E4}"/>
              </a:ext>
            </a:extLst>
          </p:cNvPr>
          <p:cNvSpPr>
            <a:spLocks noGrp="1"/>
          </p:cNvSpPr>
          <p:nvPr>
            <p:ph type="title"/>
          </p:nvPr>
        </p:nvSpPr>
        <p:spPr>
          <a:xfrm>
            <a:off x="431799" y="431800"/>
            <a:ext cx="4943765" cy="1080000"/>
          </a:xfrm>
        </p:spPr>
        <p:txBody>
          <a:bodyPr vert="horz"/>
          <a:lstStyle/>
          <a:p>
            <a:r>
              <a:rPr lang="da-DK"/>
              <a:t>Klik for at redigere titeltypografien i masteren</a:t>
            </a:r>
          </a:p>
        </p:txBody>
      </p:sp>
      <p:sp>
        <p:nvSpPr>
          <p:cNvPr id="3" name="Pladsholder til dato 2">
            <a:extLst>
              <a:ext uri="{FF2B5EF4-FFF2-40B4-BE49-F238E27FC236}">
                <a16:creationId xmlns:a16="http://schemas.microsoft.com/office/drawing/2014/main" id="{77889C3F-4CA2-1E96-FCD2-DEDE05E056FD}"/>
              </a:ext>
            </a:extLst>
          </p:cNvPr>
          <p:cNvSpPr>
            <a:spLocks noGrp="1"/>
          </p:cNvSpPr>
          <p:nvPr>
            <p:ph type="dt" sz="half" idx="10"/>
          </p:nvPr>
        </p:nvSpPr>
        <p:spPr/>
        <p:txBody>
          <a:bodyPr/>
          <a:lstStyle/>
          <a:p>
            <a:fld id="{F7E64F19-F0F7-406F-AC0F-3ECFC744BBDA}" type="datetimeFigureOut">
              <a:rPr lang="da-DK" noProof="0" smtClean="0"/>
              <a:pPr/>
              <a:t>16-03-2026</a:t>
            </a:fld>
            <a:endParaRPr lang="da-DK" noProof="0"/>
          </a:p>
        </p:txBody>
      </p:sp>
      <p:sp>
        <p:nvSpPr>
          <p:cNvPr id="4" name="Pladsholder til slidenummer 3">
            <a:extLst>
              <a:ext uri="{FF2B5EF4-FFF2-40B4-BE49-F238E27FC236}">
                <a16:creationId xmlns:a16="http://schemas.microsoft.com/office/drawing/2014/main" id="{7D6FC41D-98BB-1029-A664-C24749662821}"/>
              </a:ext>
            </a:extLst>
          </p:cNvPr>
          <p:cNvSpPr>
            <a:spLocks noGrp="1"/>
          </p:cNvSpPr>
          <p:nvPr>
            <p:ph type="sldNum" sz="quarter" idx="11"/>
          </p:nvPr>
        </p:nvSpPr>
        <p:spPr/>
        <p:txBody>
          <a:bodyPr/>
          <a:lstStyle/>
          <a:p>
            <a:fld id="{FA9C6259-F55B-47A6-AB0B-9E9F0835A2F0}" type="slidenum">
              <a:rPr lang="da-DK" noProof="0" smtClean="0"/>
              <a:pPr/>
              <a:t>‹nr.›</a:t>
            </a:fld>
            <a:endParaRPr lang="da-DK" noProof="0"/>
          </a:p>
        </p:txBody>
      </p:sp>
      <p:sp>
        <p:nvSpPr>
          <p:cNvPr id="5" name="Pladsholder til sidefod 4">
            <a:extLst>
              <a:ext uri="{FF2B5EF4-FFF2-40B4-BE49-F238E27FC236}">
                <a16:creationId xmlns:a16="http://schemas.microsoft.com/office/drawing/2014/main" id="{30A20506-F69A-90C2-8DAF-E1A6B3D1DBB0}"/>
              </a:ext>
            </a:extLst>
          </p:cNvPr>
          <p:cNvSpPr>
            <a:spLocks noGrp="1"/>
          </p:cNvSpPr>
          <p:nvPr>
            <p:ph type="ftr" sz="quarter" idx="12"/>
          </p:nvPr>
        </p:nvSpPr>
        <p:spPr/>
        <p:txBody>
          <a:bodyPr/>
          <a:lstStyle/>
          <a:p>
            <a:endParaRPr lang="da-DK" noProof="0"/>
          </a:p>
        </p:txBody>
      </p:sp>
      <p:sp>
        <p:nvSpPr>
          <p:cNvPr id="9" name="Pladsholder til tekst 11">
            <a:extLst>
              <a:ext uri="{FF2B5EF4-FFF2-40B4-BE49-F238E27FC236}">
                <a16:creationId xmlns:a16="http://schemas.microsoft.com/office/drawing/2014/main" id="{9B3DA48B-6E47-70EB-299C-65E1975D2C06}"/>
              </a:ext>
            </a:extLst>
          </p:cNvPr>
          <p:cNvSpPr>
            <a:spLocks noGrp="1"/>
          </p:cNvSpPr>
          <p:nvPr>
            <p:ph type="body" sz="quarter" idx="14" hasCustomPrompt="1"/>
          </p:nvPr>
        </p:nvSpPr>
        <p:spPr>
          <a:xfrm>
            <a:off x="431799" y="5760646"/>
            <a:ext cx="2832101" cy="375674"/>
          </a:xfrm>
        </p:spPr>
        <p:txBody>
          <a:bodyPr wrap="square" anchor="b">
            <a:no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a:t>Noter</a:t>
            </a:r>
          </a:p>
        </p:txBody>
      </p:sp>
    </p:spTree>
    <p:extLst>
      <p:ext uri="{BB962C8B-B14F-4D97-AF65-F5344CB8AC3E}">
        <p14:creationId xmlns:p14="http://schemas.microsoft.com/office/powerpoint/2010/main" val="406881327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iagram 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43ABA4-194E-156C-E41F-4457EDBBAF8A}"/>
              </a:ext>
            </a:extLst>
          </p:cNvPr>
          <p:cNvSpPr>
            <a:spLocks noGrp="1"/>
          </p:cNvSpPr>
          <p:nvPr>
            <p:ph type="title" hasCustomPrompt="1"/>
          </p:nvPr>
        </p:nvSpPr>
        <p:spPr>
          <a:xfrm>
            <a:off x="431799" y="431800"/>
            <a:ext cx="3775076" cy="864000"/>
          </a:xfrm>
        </p:spPr>
        <p:txBody>
          <a:bodyPr>
            <a:noAutofit/>
          </a:bodyPr>
          <a:lstStyle>
            <a:lvl1pPr>
              <a:defRPr/>
            </a:lvl1pPr>
          </a:lstStyle>
          <a:p>
            <a:r>
              <a:rPr lang="da-DK" noProof="0"/>
              <a:t>Klik for at redigere titeltypografien i masteren </a:t>
            </a:r>
          </a:p>
        </p:txBody>
      </p:sp>
      <p:sp>
        <p:nvSpPr>
          <p:cNvPr id="7"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5152318" y="431800"/>
            <a:ext cx="6614556" cy="2664000"/>
          </a:xfrm>
        </p:spPr>
        <p:txBody>
          <a:bodyPr/>
          <a:lstStyle/>
          <a:p>
            <a:r>
              <a:rPr lang="da-DK" noProof="0"/>
              <a:t>Klik på ikonet for at tilføje et diagram</a:t>
            </a:r>
          </a:p>
        </p:txBody>
      </p:sp>
      <p:sp>
        <p:nvSpPr>
          <p:cNvPr id="13" name="Pladsholder til tekst 11">
            <a:extLst>
              <a:ext uri="{FF2B5EF4-FFF2-40B4-BE49-F238E27FC236}">
                <a16:creationId xmlns:a16="http://schemas.microsoft.com/office/drawing/2014/main" id="{EB33E572-2CAB-6349-B79D-239C407C7CFE}"/>
              </a:ext>
            </a:extLst>
          </p:cNvPr>
          <p:cNvSpPr>
            <a:spLocks noGrp="1"/>
          </p:cNvSpPr>
          <p:nvPr>
            <p:ph type="body" sz="quarter" idx="14" hasCustomPrompt="1"/>
          </p:nvPr>
        </p:nvSpPr>
        <p:spPr>
          <a:xfrm>
            <a:off x="431799" y="5760646"/>
            <a:ext cx="2832101" cy="375674"/>
          </a:xfrm>
        </p:spPr>
        <p:txBody>
          <a:bodyPr wrap="square" anchor="b">
            <a:no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a:t>Noter</a:t>
            </a:r>
          </a:p>
        </p:txBody>
      </p:sp>
      <p:sp>
        <p:nvSpPr>
          <p:cNvPr id="6" name="Date Placeholder 5">
            <a:extLst>
              <a:ext uri="{FF2B5EF4-FFF2-40B4-BE49-F238E27FC236}">
                <a16:creationId xmlns:a16="http://schemas.microsoft.com/office/drawing/2014/main" id="{7ED0435C-DCD8-00E5-E76C-4CEB12F79B38}"/>
              </a:ext>
            </a:extLst>
          </p:cNvPr>
          <p:cNvSpPr>
            <a:spLocks noGrp="1"/>
          </p:cNvSpPr>
          <p:nvPr>
            <p:ph type="dt" sz="half" idx="15"/>
          </p:nvPr>
        </p:nvSpPr>
        <p:spPr/>
        <p:txBody>
          <a:bodyPr/>
          <a:lstStyle/>
          <a:p>
            <a:fld id="{F7E64F19-F0F7-406F-AC0F-3ECFC744BBDA}" type="datetimeFigureOut">
              <a:rPr lang="da-DK" noProof="0" smtClean="0"/>
              <a:pPr/>
              <a:t>16-03-2026</a:t>
            </a:fld>
            <a:endParaRPr lang="da-DK" noProof="0"/>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noProof="0"/>
          </a:p>
        </p:txBody>
      </p:sp>
      <p:sp>
        <p:nvSpPr>
          <p:cNvPr id="9" name="Slide Number Placeholder 8">
            <a:extLst>
              <a:ext uri="{FF2B5EF4-FFF2-40B4-BE49-F238E27FC236}">
                <a16:creationId xmlns:a16="http://schemas.microsoft.com/office/drawing/2014/main" id="{79AD1462-A3E1-40E6-B2B0-CB733C384D90}"/>
              </a:ext>
            </a:extLst>
          </p:cNvPr>
          <p:cNvSpPr>
            <a:spLocks noGrp="1"/>
          </p:cNvSpPr>
          <p:nvPr>
            <p:ph type="sldNum" sz="quarter" idx="17"/>
          </p:nvPr>
        </p:nvSpPr>
        <p:spPr/>
        <p:txBody>
          <a:bodyPr/>
          <a:lstStyle/>
          <a:p>
            <a:fld id="{FA9C6259-F55B-47A6-AB0B-9E9F0835A2F0}" type="slidenum">
              <a:rPr lang="da-DK" noProof="0" smtClean="0"/>
              <a:pPr/>
              <a:t>‹nr.›</a:t>
            </a:fld>
            <a:endParaRPr lang="da-DK" noProof="0"/>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296000"/>
            <a:ext cx="3775076" cy="576000"/>
          </a:xfrm>
        </p:spPr>
        <p:txBody>
          <a:bodyPr lIns="0"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5" name="Pladsholder til diagram 6">
            <a:extLst>
              <a:ext uri="{FF2B5EF4-FFF2-40B4-BE49-F238E27FC236}">
                <a16:creationId xmlns:a16="http://schemas.microsoft.com/office/drawing/2014/main" id="{14D904DA-7A51-1AFE-8F7D-6D6101DB4105}"/>
              </a:ext>
            </a:extLst>
          </p:cNvPr>
          <p:cNvSpPr>
            <a:spLocks noGrp="1"/>
          </p:cNvSpPr>
          <p:nvPr>
            <p:ph type="chart" sz="quarter" idx="18"/>
          </p:nvPr>
        </p:nvSpPr>
        <p:spPr>
          <a:xfrm>
            <a:off x="5152319" y="3450754"/>
            <a:ext cx="6614556" cy="2664000"/>
          </a:xfrm>
        </p:spPr>
        <p:txBody>
          <a:bodyPr/>
          <a:lstStyle/>
          <a:p>
            <a:r>
              <a:rPr lang="da-DK" noProof="0"/>
              <a:t>Klik på ikonet for at tilføje et diagram</a:t>
            </a:r>
          </a:p>
        </p:txBody>
      </p:sp>
    </p:spTree>
    <p:extLst>
      <p:ext uri="{BB962C8B-B14F-4D97-AF65-F5344CB8AC3E}">
        <p14:creationId xmlns:p14="http://schemas.microsoft.com/office/powerpoint/2010/main" val="26787358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iagram 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43ABA4-194E-156C-E41F-4457EDBBAF8A}"/>
              </a:ext>
            </a:extLst>
          </p:cNvPr>
          <p:cNvSpPr>
            <a:spLocks noGrp="1"/>
          </p:cNvSpPr>
          <p:nvPr>
            <p:ph type="title" hasCustomPrompt="1"/>
          </p:nvPr>
        </p:nvSpPr>
        <p:spPr>
          <a:xfrm>
            <a:off x="431799" y="431800"/>
            <a:ext cx="11326814" cy="864000"/>
          </a:xfrm>
        </p:spPr>
        <p:txBody>
          <a:bodyPr>
            <a:noAutofit/>
          </a:bodyPr>
          <a:lstStyle>
            <a:lvl1pPr>
              <a:defRPr/>
            </a:lvl1pPr>
          </a:lstStyle>
          <a:p>
            <a:r>
              <a:rPr lang="da-DK" noProof="0"/>
              <a:t>Klik for at redigere titeltypografien i masteren </a:t>
            </a:r>
          </a:p>
        </p:txBody>
      </p:sp>
      <p:sp>
        <p:nvSpPr>
          <p:cNvPr id="7"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431798" y="2026507"/>
            <a:ext cx="11326813" cy="3744000"/>
          </a:xfrm>
        </p:spPr>
        <p:txBody>
          <a:bodyPr/>
          <a:lstStyle/>
          <a:p>
            <a:r>
              <a:rPr lang="da-DK" noProof="0"/>
              <a:t>Klik på ikonet for at tilføje et diagram</a:t>
            </a:r>
          </a:p>
        </p:txBody>
      </p:sp>
      <p:sp>
        <p:nvSpPr>
          <p:cNvPr id="13" name="Pladsholder til tekst 11">
            <a:extLst>
              <a:ext uri="{FF2B5EF4-FFF2-40B4-BE49-F238E27FC236}">
                <a16:creationId xmlns:a16="http://schemas.microsoft.com/office/drawing/2014/main" id="{EB33E572-2CAB-6349-B79D-239C407C7CFE}"/>
              </a:ext>
            </a:extLst>
          </p:cNvPr>
          <p:cNvSpPr>
            <a:spLocks noGrp="1"/>
          </p:cNvSpPr>
          <p:nvPr>
            <p:ph type="body" sz="quarter" idx="14" hasCustomPrompt="1"/>
          </p:nvPr>
        </p:nvSpPr>
        <p:spPr>
          <a:xfrm>
            <a:off x="431799" y="5912313"/>
            <a:ext cx="11326813" cy="216000"/>
          </a:xfrm>
        </p:spPr>
        <p:txBody>
          <a:bodyPr wrap="square" anchor="b">
            <a:no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noProof="0"/>
              <a:t>Noter</a:t>
            </a:r>
          </a:p>
        </p:txBody>
      </p:sp>
      <p:sp>
        <p:nvSpPr>
          <p:cNvPr id="6" name="Date Placeholder 5">
            <a:extLst>
              <a:ext uri="{FF2B5EF4-FFF2-40B4-BE49-F238E27FC236}">
                <a16:creationId xmlns:a16="http://schemas.microsoft.com/office/drawing/2014/main" id="{7ED0435C-DCD8-00E5-E76C-4CEB12F79B38}"/>
              </a:ext>
            </a:extLst>
          </p:cNvPr>
          <p:cNvSpPr>
            <a:spLocks noGrp="1"/>
          </p:cNvSpPr>
          <p:nvPr>
            <p:ph type="dt" sz="half" idx="15"/>
          </p:nvPr>
        </p:nvSpPr>
        <p:spPr/>
        <p:txBody>
          <a:bodyPr/>
          <a:lstStyle/>
          <a:p>
            <a:fld id="{F7E64F19-F0F7-406F-AC0F-3ECFC744BBDA}" type="datetimeFigureOut">
              <a:rPr lang="da-DK" noProof="0" smtClean="0"/>
              <a:pPr/>
              <a:t>16-03-2026</a:t>
            </a:fld>
            <a:endParaRPr lang="da-DK" noProof="0"/>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noProof="0"/>
          </a:p>
        </p:txBody>
      </p:sp>
      <p:sp>
        <p:nvSpPr>
          <p:cNvPr id="9" name="Slide Number Placeholder 8">
            <a:extLst>
              <a:ext uri="{FF2B5EF4-FFF2-40B4-BE49-F238E27FC236}">
                <a16:creationId xmlns:a16="http://schemas.microsoft.com/office/drawing/2014/main" id="{79AD1462-A3E1-40E6-B2B0-CB733C384D90}"/>
              </a:ext>
            </a:extLst>
          </p:cNvPr>
          <p:cNvSpPr>
            <a:spLocks noGrp="1"/>
          </p:cNvSpPr>
          <p:nvPr>
            <p:ph type="sldNum" sz="quarter" idx="17"/>
          </p:nvPr>
        </p:nvSpPr>
        <p:spPr/>
        <p:txBody>
          <a:bodyPr/>
          <a:lstStyle/>
          <a:p>
            <a:fld id="{FA9C6259-F55B-47A6-AB0B-9E9F0835A2F0}" type="slidenum">
              <a:rPr lang="da-DK" noProof="0" smtClean="0"/>
              <a:pPr/>
              <a:t>‹nr.›</a:t>
            </a:fld>
            <a:endParaRPr lang="da-DK" noProof="0"/>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Tree>
    <p:extLst>
      <p:ext uri="{BB962C8B-B14F-4D97-AF65-F5344CB8AC3E}">
        <p14:creationId xmlns:p14="http://schemas.microsoft.com/office/powerpoint/2010/main" val="480075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el + undertitel">
    <p:bg>
      <p:bgPr>
        <a:solidFill>
          <a:schemeClr val="bg1"/>
        </a:solidFill>
        <a:effectLst/>
      </p:bgPr>
    </p:bg>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28FAA754-24BD-1A67-A780-7D8496CEC1D2}"/>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13" name="Titel 1">
            <a:extLst>
              <a:ext uri="{FF2B5EF4-FFF2-40B4-BE49-F238E27FC236}">
                <a16:creationId xmlns:a16="http://schemas.microsoft.com/office/drawing/2014/main" id="{9833738D-1655-2E01-2D96-CF62BAEF1D8B}"/>
              </a:ext>
            </a:extLst>
          </p:cNvPr>
          <p:cNvSpPr>
            <a:spLocks noGrp="1"/>
          </p:cNvSpPr>
          <p:nvPr>
            <p:ph type="title" hasCustomPrompt="1"/>
          </p:nvPr>
        </p:nvSpPr>
        <p:spPr>
          <a:xfrm>
            <a:off x="431799" y="431800"/>
            <a:ext cx="11326814" cy="864000"/>
          </a:xfrm>
        </p:spPr>
        <p:txBody>
          <a:bodyPr>
            <a:noAutofit/>
          </a:bodyPr>
          <a:lstStyle>
            <a:lvl1pPr>
              <a:defRPr/>
            </a:lvl1pPr>
          </a:lstStyle>
          <a:p>
            <a:r>
              <a:rPr lang="da-DK" noProof="0"/>
              <a:t>Klik for at redigere titeltypografien i masteren </a:t>
            </a:r>
          </a:p>
        </p:txBody>
      </p:sp>
      <p:sp>
        <p:nvSpPr>
          <p:cNvPr id="2" name="Date Placeholder 1">
            <a:extLst>
              <a:ext uri="{FF2B5EF4-FFF2-40B4-BE49-F238E27FC236}">
                <a16:creationId xmlns:a16="http://schemas.microsoft.com/office/drawing/2014/main" id="{1D2DB66E-02E7-2A8D-D03B-3C00E434A96C}"/>
              </a:ext>
            </a:extLst>
          </p:cNvPr>
          <p:cNvSpPr>
            <a:spLocks noGrp="1"/>
          </p:cNvSpPr>
          <p:nvPr>
            <p:ph type="dt" sz="half" idx="10"/>
          </p:nvPr>
        </p:nvSpPr>
        <p:spPr/>
        <p:txBody>
          <a:bodyPr/>
          <a:lstStyle/>
          <a:p>
            <a:fld id="{F7E64F19-F0F7-406F-AC0F-3ECFC744BBDA}" type="datetimeFigureOut">
              <a:rPr lang="da-DK" noProof="0" smtClean="0"/>
              <a:pPr/>
              <a:t>16-03-2026</a:t>
            </a:fld>
            <a:endParaRPr lang="da-DK" noProof="0"/>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noProof="0"/>
          </a:p>
        </p:txBody>
      </p:sp>
      <p:sp>
        <p:nvSpPr>
          <p:cNvPr id="4" name="Slide Number Placeholder 3">
            <a:extLst>
              <a:ext uri="{FF2B5EF4-FFF2-40B4-BE49-F238E27FC236}">
                <a16:creationId xmlns:a16="http://schemas.microsoft.com/office/drawing/2014/main" id="{C7A84AD7-DEB8-76C1-8311-45C672833B54}"/>
              </a:ext>
            </a:extLst>
          </p:cNvPr>
          <p:cNvSpPr>
            <a:spLocks noGrp="1"/>
          </p:cNvSpPr>
          <p:nvPr>
            <p:ph type="sldNum" sz="quarter" idx="12"/>
          </p:nvPr>
        </p:nvSpPr>
        <p:spPr/>
        <p:txBody>
          <a:bodyPr/>
          <a:lstStyle/>
          <a:p>
            <a:fld id="{FA9C6259-F55B-47A6-AB0B-9E9F0835A2F0}" type="slidenum">
              <a:rPr lang="da-DK" noProof="0" smtClean="0"/>
              <a:pPr/>
              <a:t>‹nr.›</a:t>
            </a:fld>
            <a:endParaRPr lang="da-DK" noProof="0"/>
          </a:p>
        </p:txBody>
      </p:sp>
    </p:spTree>
    <p:extLst>
      <p:ext uri="{BB962C8B-B14F-4D97-AF65-F5344CB8AC3E}">
        <p14:creationId xmlns:p14="http://schemas.microsoft.com/office/powerpoint/2010/main" val="110254302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Kun titel ">
    <p:bg>
      <p:bgPr>
        <a:solidFill>
          <a:schemeClr val="bg1"/>
        </a:solidFill>
        <a:effectLst/>
      </p:bgPr>
    </p:bg>
    <p:spTree>
      <p:nvGrpSpPr>
        <p:cNvPr id="1" name=""/>
        <p:cNvGrpSpPr/>
        <p:nvPr/>
      </p:nvGrpSpPr>
      <p:grpSpPr>
        <a:xfrm>
          <a:off x="0" y="0"/>
          <a:ext cx="0" cy="0"/>
          <a:chOff x="0" y="0"/>
          <a:chExt cx="0" cy="0"/>
        </a:xfrm>
      </p:grpSpPr>
      <p:sp>
        <p:nvSpPr>
          <p:cNvPr id="13" name="Titel 1">
            <a:extLst>
              <a:ext uri="{FF2B5EF4-FFF2-40B4-BE49-F238E27FC236}">
                <a16:creationId xmlns:a16="http://schemas.microsoft.com/office/drawing/2014/main" id="{9833738D-1655-2E01-2D96-CF62BAEF1D8B}"/>
              </a:ext>
            </a:extLst>
          </p:cNvPr>
          <p:cNvSpPr>
            <a:spLocks noGrp="1"/>
          </p:cNvSpPr>
          <p:nvPr>
            <p:ph type="title" hasCustomPrompt="1"/>
          </p:nvPr>
        </p:nvSpPr>
        <p:spPr>
          <a:xfrm>
            <a:off x="1343025" y="3429000"/>
            <a:ext cx="10415588" cy="2700338"/>
          </a:xfrm>
        </p:spPr>
        <p:txBody>
          <a:bodyPr>
            <a:noAutofit/>
          </a:bodyPr>
          <a:lstStyle>
            <a:lvl1pPr>
              <a:defRPr sz="4800"/>
            </a:lvl1pPr>
          </a:lstStyle>
          <a:p>
            <a:r>
              <a:rPr lang="da-DK" noProof="0"/>
              <a:t>Klik for at redigere titeltypografien i masteren </a:t>
            </a:r>
          </a:p>
        </p:txBody>
      </p:sp>
      <p:sp>
        <p:nvSpPr>
          <p:cNvPr id="2" name="Date Placeholder 1">
            <a:extLst>
              <a:ext uri="{FF2B5EF4-FFF2-40B4-BE49-F238E27FC236}">
                <a16:creationId xmlns:a16="http://schemas.microsoft.com/office/drawing/2014/main" id="{1D2DB66E-02E7-2A8D-D03B-3C00E434A96C}"/>
              </a:ext>
            </a:extLst>
          </p:cNvPr>
          <p:cNvSpPr>
            <a:spLocks noGrp="1"/>
          </p:cNvSpPr>
          <p:nvPr>
            <p:ph type="dt" sz="half" idx="10"/>
          </p:nvPr>
        </p:nvSpPr>
        <p:spPr/>
        <p:txBody>
          <a:bodyPr/>
          <a:lstStyle/>
          <a:p>
            <a:fld id="{F7E64F19-F0F7-406F-AC0F-3ECFC744BBDA}" type="datetimeFigureOut">
              <a:rPr lang="da-DK" noProof="0" smtClean="0"/>
              <a:pPr/>
              <a:t>16-03-2026</a:t>
            </a:fld>
            <a:endParaRPr lang="da-DK" noProof="0"/>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noProof="0"/>
          </a:p>
        </p:txBody>
      </p:sp>
      <p:sp>
        <p:nvSpPr>
          <p:cNvPr id="4" name="Slide Number Placeholder 3">
            <a:extLst>
              <a:ext uri="{FF2B5EF4-FFF2-40B4-BE49-F238E27FC236}">
                <a16:creationId xmlns:a16="http://schemas.microsoft.com/office/drawing/2014/main" id="{C7A84AD7-DEB8-76C1-8311-45C672833B54}"/>
              </a:ext>
            </a:extLst>
          </p:cNvPr>
          <p:cNvSpPr>
            <a:spLocks noGrp="1"/>
          </p:cNvSpPr>
          <p:nvPr>
            <p:ph type="sldNum" sz="quarter" idx="12"/>
          </p:nvPr>
        </p:nvSpPr>
        <p:spPr/>
        <p:txBody>
          <a:bodyPr/>
          <a:lstStyle/>
          <a:p>
            <a:fld id="{FA9C6259-F55B-47A6-AB0B-9E9F0835A2F0}" type="slidenum">
              <a:rPr lang="da-DK" noProof="0" smtClean="0"/>
              <a:pPr/>
              <a:t>‹nr.›</a:t>
            </a:fld>
            <a:endParaRPr lang="da-DK" noProof="0"/>
          </a:p>
        </p:txBody>
      </p:sp>
    </p:spTree>
    <p:extLst>
      <p:ext uri="{BB962C8B-B14F-4D97-AF65-F5344CB8AC3E}">
        <p14:creationId xmlns:p14="http://schemas.microsoft.com/office/powerpoint/2010/main" val="195804769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Konklusion/sidste side">
    <p:bg>
      <p:bgPr>
        <a:solidFill>
          <a:schemeClr val="bg1"/>
        </a:solidFill>
        <a:effectLst/>
      </p:bgPr>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5499103" y="431800"/>
            <a:ext cx="7920000" cy="792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7038975" y="2457338"/>
            <a:ext cx="4719638" cy="2160000"/>
          </a:xfrm>
        </p:spPr>
        <p:txBody>
          <a:bodyPr anchor="b">
            <a:noAutofit/>
          </a:bodyPr>
          <a:lstStyle>
            <a:lvl1pPr algn="l">
              <a:defRPr sz="4800"/>
            </a:lvl1pPr>
          </a:lstStyle>
          <a:p>
            <a:r>
              <a:rPr lang="da-DK" noProof="0"/>
              <a:t>Klik for at redigere titeltypografien i masteren</a:t>
            </a:r>
          </a:p>
        </p:txBody>
      </p:sp>
      <p:sp>
        <p:nvSpPr>
          <p:cNvPr id="4" name="Date Placeholder 3">
            <a:extLst>
              <a:ext uri="{FF2B5EF4-FFF2-40B4-BE49-F238E27FC236}">
                <a16:creationId xmlns:a16="http://schemas.microsoft.com/office/drawing/2014/main" id="{4C4CE7D8-6EC0-2491-8806-3C1E5919B56A}"/>
              </a:ext>
            </a:extLst>
          </p:cNvPr>
          <p:cNvSpPr>
            <a:spLocks noGrp="1"/>
          </p:cNvSpPr>
          <p:nvPr>
            <p:ph type="dt" sz="half" idx="10"/>
          </p:nvPr>
        </p:nvSpPr>
        <p:spPr/>
        <p:txBody>
          <a:bodyPr/>
          <a:lstStyle/>
          <a:p>
            <a:fld id="{F7E64F19-F0F7-406F-AC0F-3ECFC744BBDA}" type="datetimeFigureOut">
              <a:rPr lang="da-DK" noProof="0" smtClean="0"/>
              <a:pPr/>
              <a:t>16-03-2026</a:t>
            </a:fld>
            <a:endParaRPr lang="da-DK" noProof="0"/>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DEDDE538-0CB7-902A-4AB4-ACEC925EBE81}"/>
              </a:ext>
            </a:extLst>
          </p:cNvPr>
          <p:cNvSpPr>
            <a:spLocks noGrp="1"/>
          </p:cNvSpPr>
          <p:nvPr>
            <p:ph type="sldNum" sz="quarter" idx="12"/>
          </p:nvPr>
        </p:nvSpPr>
        <p:spPr/>
        <p:txBody>
          <a:bodyPr/>
          <a:lstStyle/>
          <a:p>
            <a:fld id="{FA9C6259-F55B-47A6-AB0B-9E9F0835A2F0}" type="slidenum">
              <a:rPr lang="da-DK" noProof="0" smtClean="0"/>
              <a:pPr/>
              <a:t>‹nr.›</a:t>
            </a:fld>
            <a:endParaRPr lang="da-DK" noProof="0"/>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7038976" y="4617338"/>
            <a:ext cx="4719638" cy="1512000"/>
          </a:xfrm>
        </p:spPr>
        <p:txBody>
          <a:bodyPr lIns="36000" anchor="t">
            <a:noAutofit/>
          </a:bodyPr>
          <a:lstStyle>
            <a:lvl1pPr marL="342900" indent="-342900" algn="l">
              <a:lnSpc>
                <a:spcPct val="120000"/>
              </a:lnSpc>
              <a:spcBef>
                <a:spcPts val="0"/>
              </a:spcBef>
              <a:buFont typeface="+mj-lt"/>
              <a:buAutoNum type="arabicPeriod"/>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B706AD55-435D-6AC1-C02A-509C8CC7669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428450875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44FE01F-05B3-141E-3A3D-047B8BE685C2}"/>
              </a:ext>
            </a:extLst>
          </p:cNvPr>
          <p:cNvSpPr>
            <a:spLocks noGrp="1"/>
          </p:cNvSpPr>
          <p:nvPr>
            <p:ph type="dt" sz="half" idx="10"/>
          </p:nvPr>
        </p:nvSpPr>
        <p:spPr/>
        <p:txBody>
          <a:bodyPr/>
          <a:lstStyle/>
          <a:p>
            <a:fld id="{F7E64F19-F0F7-406F-AC0F-3ECFC744BBDA}" type="datetimeFigureOut">
              <a:rPr lang="da-DK" noProof="0" smtClean="0"/>
              <a:pPr/>
              <a:t>16-03-2026</a:t>
            </a:fld>
            <a:endParaRPr lang="da-DK" noProof="0"/>
          </a:p>
        </p:txBody>
      </p:sp>
      <p:sp>
        <p:nvSpPr>
          <p:cNvPr id="6" name="Footer Placeholder 5">
            <a:extLst>
              <a:ext uri="{FF2B5EF4-FFF2-40B4-BE49-F238E27FC236}">
                <a16:creationId xmlns:a16="http://schemas.microsoft.com/office/drawing/2014/main" id="{3090F1F2-3AE0-677B-B191-BA5C5084BA79}"/>
              </a:ext>
            </a:extLst>
          </p:cNvPr>
          <p:cNvSpPr>
            <a:spLocks noGrp="1"/>
          </p:cNvSpPr>
          <p:nvPr>
            <p:ph type="ftr" sz="quarter" idx="11"/>
          </p:nvPr>
        </p:nvSpPr>
        <p:spPr/>
        <p:txBody>
          <a:bodyPr/>
          <a:lstStyle/>
          <a:p>
            <a:endParaRPr lang="da-DK" noProof="0"/>
          </a:p>
        </p:txBody>
      </p:sp>
      <p:sp>
        <p:nvSpPr>
          <p:cNvPr id="7" name="Slide Number Placeholder 6">
            <a:extLst>
              <a:ext uri="{FF2B5EF4-FFF2-40B4-BE49-F238E27FC236}">
                <a16:creationId xmlns:a16="http://schemas.microsoft.com/office/drawing/2014/main" id="{CC039739-61FF-0729-466D-1BA3D0939D16}"/>
              </a:ext>
            </a:extLst>
          </p:cNvPr>
          <p:cNvSpPr>
            <a:spLocks noGrp="1"/>
          </p:cNvSpPr>
          <p:nvPr>
            <p:ph type="sldNum" sz="quarter" idx="12"/>
          </p:nvPr>
        </p:nvSpPr>
        <p:spPr/>
        <p:txBody>
          <a:bodyPr/>
          <a:lstStyle/>
          <a:p>
            <a:fld id="{FA9C6259-F55B-47A6-AB0B-9E9F0835A2F0}" type="slidenum">
              <a:rPr lang="da-DK" noProof="0" smtClean="0"/>
              <a:pPr/>
              <a:t>‹nr.›</a:t>
            </a:fld>
            <a:endParaRPr lang="da-DK" noProof="0"/>
          </a:p>
        </p:txBody>
      </p:sp>
    </p:spTree>
    <p:extLst>
      <p:ext uri="{BB962C8B-B14F-4D97-AF65-F5344CB8AC3E}">
        <p14:creationId xmlns:p14="http://schemas.microsoft.com/office/powerpoint/2010/main" val="311863688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bg1"/>
        </a:solidFill>
        <a:effectLst/>
      </p:bgPr>
    </p:bg>
    <p:spTree>
      <p:nvGrpSpPr>
        <p:cNvPr id="1" name=""/>
        <p:cNvGrpSpPr/>
        <p:nvPr/>
      </p:nvGrpSpPr>
      <p:grpSpPr>
        <a:xfrm>
          <a:off x="0" y="0"/>
          <a:ext cx="0" cy="0"/>
          <a:chOff x="0" y="0"/>
          <a:chExt cx="0" cy="0"/>
        </a:xfrm>
      </p:grpSpPr>
      <p:sp>
        <p:nvSpPr>
          <p:cNvPr id="4" name="Titel 1">
            <a:extLst>
              <a:ext uri="{FF2B5EF4-FFF2-40B4-BE49-F238E27FC236}">
                <a16:creationId xmlns:a16="http://schemas.microsoft.com/office/drawing/2014/main" id="{FF9A6091-ED2A-C1F9-A8AE-02565CAC7BBB}"/>
              </a:ext>
            </a:extLst>
          </p:cNvPr>
          <p:cNvSpPr>
            <a:spLocks noGrp="1"/>
          </p:cNvSpPr>
          <p:nvPr>
            <p:ph type="title" hasCustomPrompt="1"/>
          </p:nvPr>
        </p:nvSpPr>
        <p:spPr>
          <a:xfrm>
            <a:off x="431799" y="431800"/>
            <a:ext cx="11326814" cy="864000"/>
          </a:xfrm>
        </p:spPr>
        <p:txBody>
          <a:bodyPr>
            <a:noAutofit/>
          </a:bodyPr>
          <a:lstStyle>
            <a:lvl1pPr>
              <a:defRPr/>
            </a:lvl1pPr>
          </a:lstStyle>
          <a:p>
            <a:r>
              <a:rPr lang="da-DK" noProof="0"/>
              <a:t>Klik for at redigere titeltypografien i masteren </a:t>
            </a:r>
          </a:p>
        </p:txBody>
      </p:sp>
      <p:sp>
        <p:nvSpPr>
          <p:cNvPr id="2" name="Date Placeholder 1">
            <a:extLst>
              <a:ext uri="{FF2B5EF4-FFF2-40B4-BE49-F238E27FC236}">
                <a16:creationId xmlns:a16="http://schemas.microsoft.com/office/drawing/2014/main" id="{82B39A03-0C51-0B8A-9E8B-8E35B30E26EF}"/>
              </a:ext>
            </a:extLst>
          </p:cNvPr>
          <p:cNvSpPr>
            <a:spLocks noGrp="1"/>
          </p:cNvSpPr>
          <p:nvPr>
            <p:ph type="dt" sz="half" idx="10"/>
          </p:nvPr>
        </p:nvSpPr>
        <p:spPr/>
        <p:txBody>
          <a:bodyPr/>
          <a:lstStyle/>
          <a:p>
            <a:fld id="{F7E64F19-F0F7-406F-AC0F-3ECFC744BBDA}" type="datetimeFigureOut">
              <a:rPr lang="da-DK" noProof="0" smtClean="0"/>
              <a:pPr/>
              <a:t>16-03-2026</a:t>
            </a:fld>
            <a:endParaRPr lang="da-DK" noProof="0"/>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AF52A892-3C3A-81B2-F030-F5D87B444B7F}"/>
              </a:ext>
            </a:extLst>
          </p:cNvPr>
          <p:cNvSpPr>
            <a:spLocks noGrp="1"/>
          </p:cNvSpPr>
          <p:nvPr>
            <p:ph type="sldNum" sz="quarter" idx="12"/>
          </p:nvPr>
        </p:nvSpPr>
        <p:spPr/>
        <p:txBody>
          <a:bodyPr/>
          <a:lstStyle/>
          <a:p>
            <a:fld id="{FA9C6259-F55B-47A6-AB0B-9E9F0835A2F0}" type="slidenum">
              <a:rPr lang="da-DK" noProof="0" smtClean="0"/>
              <a:pPr/>
              <a:t>‹nr.›</a:t>
            </a:fld>
            <a:endParaRPr lang="da-DK" noProof="0"/>
          </a:p>
        </p:txBody>
      </p:sp>
      <p:sp>
        <p:nvSpPr>
          <p:cNvPr id="3" name="Subtitle 2">
            <a:extLst>
              <a:ext uri="{FF2B5EF4-FFF2-40B4-BE49-F238E27FC236}">
                <a16:creationId xmlns:a16="http://schemas.microsoft.com/office/drawing/2014/main" id="{48194491-1241-453F-7501-6382C4C29CA4}"/>
              </a:ext>
            </a:extLst>
          </p:cNvPr>
          <p:cNvSpPr>
            <a:spLocks noGrp="1"/>
          </p:cNvSpPr>
          <p:nvPr>
            <p:ph type="subTitle" idx="1"/>
          </p:nvPr>
        </p:nvSpPr>
        <p:spPr>
          <a:xfrm>
            <a:off x="431798" y="1656000"/>
            <a:ext cx="11326815" cy="4473338"/>
          </a:xfrm>
        </p:spPr>
        <p:txBody>
          <a:bodyPr numCol="3" spcCol="144000" anchor="t">
            <a:noAutofit/>
          </a:bodyPr>
          <a:lstStyle>
            <a:lvl1pPr marL="0" indent="0" algn="l">
              <a:lnSpc>
                <a:spcPct val="120000"/>
              </a:lnSpc>
              <a:spcBef>
                <a:spcPts val="0"/>
              </a:spcBef>
              <a:buFont typeface="Arial" panose="020B0604020202020204" pitchFamily="34" charset="0"/>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Tree>
    <p:extLst>
      <p:ext uri="{BB962C8B-B14F-4D97-AF65-F5344CB8AC3E}">
        <p14:creationId xmlns:p14="http://schemas.microsoft.com/office/powerpoint/2010/main" val="231266212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o indholdselementer 3">
    <p:bg>
      <p:bgPr>
        <a:solidFill>
          <a:schemeClr val="bg1"/>
        </a:solidFill>
        <a:effectLst/>
      </p:bgPr>
    </p:bg>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4308201" y="431799"/>
            <a:ext cx="7452000" cy="5697538"/>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B4EF2DD3-5ABA-4B6E-877F-97EB0F318D30}" type="datetime1">
              <a:rPr lang="da-DK" noProof="0" smtClean="0"/>
              <a:t>16-03-2026</a:t>
            </a:fld>
            <a:endParaRPr lang="da-DK" noProof="0"/>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noProof="0" smtClean="0"/>
              <a:pPr/>
              <a:t>‹nr.›</a:t>
            </a:fld>
            <a:endParaRPr lang="da-DK" noProof="0"/>
          </a:p>
        </p:txBody>
      </p:sp>
      <p:sp>
        <p:nvSpPr>
          <p:cNvPr id="14" name="Content Placeholder">
            <a:extLst>
              <a:ext uri="{FF2B5EF4-FFF2-40B4-BE49-F238E27FC236}">
                <a16:creationId xmlns:a16="http://schemas.microsoft.com/office/drawing/2014/main" id="{489CF51D-E9A1-FFB5-DAB7-0216F34E71CF}"/>
              </a:ext>
            </a:extLst>
          </p:cNvPr>
          <p:cNvSpPr>
            <a:spLocks noGrp="1"/>
          </p:cNvSpPr>
          <p:nvPr>
            <p:ph sz="quarter" idx="18" hasCustomPrompt="1"/>
          </p:nvPr>
        </p:nvSpPr>
        <p:spPr>
          <a:xfrm>
            <a:off x="431798" y="1655999"/>
            <a:ext cx="3671999" cy="4473337"/>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4" name="Title 12">
            <a:extLst>
              <a:ext uri="{FF2B5EF4-FFF2-40B4-BE49-F238E27FC236}">
                <a16:creationId xmlns:a16="http://schemas.microsoft.com/office/drawing/2014/main" id="{9B511BD1-62C9-2931-077D-EB10B439CF3E}"/>
              </a:ext>
            </a:extLst>
          </p:cNvPr>
          <p:cNvSpPr>
            <a:spLocks noGrp="1"/>
          </p:cNvSpPr>
          <p:nvPr>
            <p:ph type="title" hasCustomPrompt="1"/>
          </p:nvPr>
        </p:nvSpPr>
        <p:spPr>
          <a:xfrm>
            <a:off x="431799" y="431800"/>
            <a:ext cx="3671998"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62242944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Hvid baggrund">
    <p:bg>
      <p:bgPr>
        <a:solidFill>
          <a:srgbClr val="FFFFFF"/>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2BDC76B8-60F6-62D3-9F73-E81662203017}"/>
              </a:ext>
            </a:extLst>
          </p:cNvPr>
          <p:cNvSpPr>
            <a:spLocks noGrp="1"/>
          </p:cNvSpPr>
          <p:nvPr userDrawn="1">
            <p:ph type="subTitle" idx="1"/>
          </p:nvPr>
        </p:nvSpPr>
        <p:spPr>
          <a:xfrm>
            <a:off x="431798" y="1656000"/>
            <a:ext cx="11326815" cy="4473338"/>
          </a:xfrm>
        </p:spPr>
        <p:txBody>
          <a:bodyPr numCol="3" spcCol="144000" anchor="t">
            <a:noAutofit/>
          </a:bodyPr>
          <a:lstStyle>
            <a:lvl1pPr marL="0" indent="0" algn="l">
              <a:lnSpc>
                <a:spcPct val="120000"/>
              </a:lnSpc>
              <a:spcBef>
                <a:spcPts val="0"/>
              </a:spcBef>
              <a:buFont typeface="Arial" panose="020B0604020202020204" pitchFamily="34" charset="0"/>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4" name="Titel 1">
            <a:extLst>
              <a:ext uri="{FF2B5EF4-FFF2-40B4-BE49-F238E27FC236}">
                <a16:creationId xmlns:a16="http://schemas.microsoft.com/office/drawing/2014/main" id="{FF9A6091-ED2A-C1F9-A8AE-02565CAC7BBB}"/>
              </a:ext>
            </a:extLst>
          </p:cNvPr>
          <p:cNvSpPr>
            <a:spLocks noGrp="1"/>
          </p:cNvSpPr>
          <p:nvPr>
            <p:ph type="title" hasCustomPrompt="1"/>
          </p:nvPr>
        </p:nvSpPr>
        <p:spPr>
          <a:xfrm>
            <a:off x="431799" y="431800"/>
            <a:ext cx="11326814" cy="864000"/>
          </a:xfrm>
        </p:spPr>
        <p:txBody>
          <a:bodyPr>
            <a:noAutofit/>
          </a:bodyPr>
          <a:lstStyle>
            <a:lvl1pPr>
              <a:defRPr/>
            </a:lvl1pPr>
          </a:lstStyle>
          <a:p>
            <a:r>
              <a:rPr lang="da-DK" noProof="0"/>
              <a:t>Klik for at redigere titeltypografien i masteren </a:t>
            </a:r>
          </a:p>
        </p:txBody>
      </p:sp>
      <p:sp>
        <p:nvSpPr>
          <p:cNvPr id="2" name="Date Placeholder 1">
            <a:extLst>
              <a:ext uri="{FF2B5EF4-FFF2-40B4-BE49-F238E27FC236}">
                <a16:creationId xmlns:a16="http://schemas.microsoft.com/office/drawing/2014/main" id="{82B39A03-0C51-0B8A-9E8B-8E35B30E26EF}"/>
              </a:ext>
            </a:extLst>
          </p:cNvPr>
          <p:cNvSpPr>
            <a:spLocks noGrp="1"/>
          </p:cNvSpPr>
          <p:nvPr>
            <p:ph type="dt" sz="half" idx="10"/>
          </p:nvPr>
        </p:nvSpPr>
        <p:spPr/>
        <p:txBody>
          <a:bodyPr/>
          <a:lstStyle/>
          <a:p>
            <a:fld id="{F7E64F19-F0F7-406F-AC0F-3ECFC744BBDA}" type="datetimeFigureOut">
              <a:rPr lang="da-DK" noProof="0" smtClean="0"/>
              <a:pPr/>
              <a:t>16-03-2026</a:t>
            </a:fld>
            <a:endParaRPr lang="da-DK" noProof="0"/>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AF52A892-3C3A-81B2-F030-F5D87B444B7F}"/>
              </a:ext>
            </a:extLst>
          </p:cNvPr>
          <p:cNvSpPr>
            <a:spLocks noGrp="1"/>
          </p:cNvSpPr>
          <p:nvPr>
            <p:ph type="sldNum" sz="quarter" idx="12"/>
          </p:nvPr>
        </p:nvSpPr>
        <p:spPr/>
        <p:txBody>
          <a:bodyPr/>
          <a:lstStyle/>
          <a:p>
            <a:fld id="{FA9C6259-F55B-47A6-AB0B-9E9F0835A2F0}" type="slidenum">
              <a:rPr lang="da-DK" noProof="0" smtClean="0"/>
              <a:pPr/>
              <a:t>‹nr.›</a:t>
            </a:fld>
            <a:endParaRPr lang="da-DK" noProof="0"/>
          </a:p>
        </p:txBody>
      </p:sp>
    </p:spTree>
    <p:extLst>
      <p:ext uri="{BB962C8B-B14F-4D97-AF65-F5344CB8AC3E}">
        <p14:creationId xmlns:p14="http://schemas.microsoft.com/office/powerpoint/2010/main" val="236647096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Title 1">
    <p:bg>
      <p:bgRef idx="1001">
        <a:schemeClr val="bg2"/>
      </p:bgRef>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936100" y="1816678"/>
            <a:ext cx="14400000" cy="1440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hasCustomPrompt="1"/>
          </p:nvPr>
        </p:nvSpPr>
        <p:spPr>
          <a:xfrm>
            <a:off x="431799" y="2088000"/>
            <a:ext cx="7535864" cy="3456000"/>
          </a:xfrm>
        </p:spPr>
        <p:txBody>
          <a:bodyPr anchor="b">
            <a:noAutofit/>
          </a:bodyPr>
          <a:lstStyle>
            <a:lvl1pPr algn="l">
              <a:defRPr sz="4800"/>
            </a:lvl1pPr>
          </a:lstStyle>
          <a:p>
            <a:r>
              <a:rPr lang="en-US"/>
              <a:t>Click to edit Master title style</a:t>
            </a:r>
          </a:p>
        </p:txBody>
      </p:sp>
      <p:sp>
        <p:nvSpPr>
          <p:cNvPr id="4" name="Date Placeholder 3">
            <a:extLst>
              <a:ext uri="{FF2B5EF4-FFF2-40B4-BE49-F238E27FC236}">
                <a16:creationId xmlns:a16="http://schemas.microsoft.com/office/drawing/2014/main" id="{4C4CE7D8-6EC0-2491-8806-3C1E5919B56A}"/>
              </a:ext>
            </a:extLst>
          </p:cNvPr>
          <p:cNvSpPr>
            <a:spLocks noGrp="1"/>
          </p:cNvSpPr>
          <p:nvPr>
            <p:ph type="dt" sz="half" idx="10"/>
          </p:nvPr>
        </p:nvSpPr>
        <p:spPr/>
        <p:txBody>
          <a:bodyPr/>
          <a:lstStyle/>
          <a:p>
            <a:fld id="{F7E64F19-F0F7-406F-AC0F-3ECFC744BBDA}" type="datetimeFigureOut">
              <a:rPr lang="da-DK" smtClean="0"/>
              <a:pPr/>
              <a:t>16-03-2026</a:t>
            </a:fld>
            <a:endParaRPr lang="da-DK"/>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a:p>
        </p:txBody>
      </p:sp>
      <p:sp>
        <p:nvSpPr>
          <p:cNvPr id="9" name="Slide Number Placeholder 8">
            <a:extLst>
              <a:ext uri="{FF2B5EF4-FFF2-40B4-BE49-F238E27FC236}">
                <a16:creationId xmlns:a16="http://schemas.microsoft.com/office/drawing/2014/main" id="{DEDDE538-0CB7-902A-4AB4-ACEC925EBE81}"/>
              </a:ext>
            </a:extLst>
          </p:cNvPr>
          <p:cNvSpPr>
            <a:spLocks noGrp="1"/>
          </p:cNvSpPr>
          <p:nvPr>
            <p:ph type="sldNum" sz="quarter" idx="12"/>
          </p:nvPr>
        </p:nvSpPr>
        <p:spPr/>
        <p:txBody>
          <a:bodyPr/>
          <a:lstStyle/>
          <a:p>
            <a:fld id="{FA9C6259-F55B-47A6-AB0B-9E9F0835A2F0}" type="slidenum">
              <a:rPr lang="da-DK" smtClean="0"/>
              <a:pPr/>
              <a:t>‹nr.›</a:t>
            </a:fld>
            <a:endParaRPr lang="da-DK"/>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3" name="Graphic 2">
            <a:extLst>
              <a:ext uri="{FF2B5EF4-FFF2-40B4-BE49-F238E27FC236}">
                <a16:creationId xmlns:a16="http://schemas.microsoft.com/office/drawing/2014/main" id="{3FC54590-129B-2F4E-C990-7EDBCF0551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390466875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Chart">
    <p:spTree>
      <p:nvGrpSpPr>
        <p:cNvPr id="1" name=""/>
        <p:cNvGrpSpPr/>
        <p:nvPr/>
      </p:nvGrpSpPr>
      <p:grpSpPr>
        <a:xfrm>
          <a:off x="0" y="0"/>
          <a:ext cx="0" cy="0"/>
          <a:chOff x="0" y="0"/>
          <a:chExt cx="0" cy="0"/>
        </a:xfrm>
      </p:grpSpPr>
      <p:sp>
        <p:nvSpPr>
          <p:cNvPr id="7" name="Text Placeholder 17">
            <a:extLst>
              <a:ext uri="{FF2B5EF4-FFF2-40B4-BE49-F238E27FC236}">
                <a16:creationId xmlns:a16="http://schemas.microsoft.com/office/drawing/2014/main" id="{3F0059CA-C4BC-4FFE-8389-D3FCAAE528E1}"/>
              </a:ext>
            </a:extLst>
          </p:cNvPr>
          <p:cNvSpPr>
            <a:spLocks noGrp="1"/>
          </p:cNvSpPr>
          <p:nvPr>
            <p:ph type="body" sz="quarter" idx="20" hasCustomPrompt="1"/>
          </p:nvPr>
        </p:nvSpPr>
        <p:spPr>
          <a:xfrm>
            <a:off x="304800" y="5416551"/>
            <a:ext cx="11582400" cy="1146241"/>
          </a:xfrm>
        </p:spPr>
        <p:txBody>
          <a:bodyPr anchor="b"/>
          <a:lstStyle>
            <a:lvl1pPr>
              <a:lnSpc>
                <a:spcPts val="800"/>
              </a:lnSpc>
              <a:spcBef>
                <a:spcPts val="0"/>
              </a:spcBef>
              <a:spcAft>
                <a:spcPts val="0"/>
              </a:spcAft>
              <a:defRPr sz="800" b="0" i="0" spc="-20" baseline="0">
                <a:solidFill>
                  <a:schemeClr val="tx1"/>
                </a:solidFill>
                <a:latin typeface="Roboto Condensed" panose="02000000000000000000" pitchFamily="2" charset="0"/>
                <a:ea typeface="Roboto Condensed" panose="02000000000000000000" pitchFamily="2" charset="0"/>
              </a:defRPr>
            </a:lvl1pPr>
            <a:lvl2pPr>
              <a:defRPr sz="800" b="0" i="0">
                <a:latin typeface="Roboto Condensed" panose="02000000000000000000" pitchFamily="2" charset="0"/>
                <a:ea typeface="Roboto Condensed" panose="02000000000000000000" pitchFamily="2" charset="0"/>
              </a:defRPr>
            </a:lvl2pPr>
            <a:lvl3pPr>
              <a:defRPr sz="800" b="0" i="0">
                <a:latin typeface="Roboto Condensed" panose="02000000000000000000" pitchFamily="2" charset="0"/>
                <a:ea typeface="Roboto Condensed" panose="02000000000000000000" pitchFamily="2" charset="0"/>
              </a:defRPr>
            </a:lvl3pPr>
            <a:lvl4pPr>
              <a:defRPr sz="800" b="0" i="0">
                <a:latin typeface="Roboto Condensed" panose="02000000000000000000" pitchFamily="2" charset="0"/>
                <a:ea typeface="Roboto Condensed" panose="02000000000000000000" pitchFamily="2" charset="0"/>
              </a:defRPr>
            </a:lvl4pPr>
            <a:lvl5pPr>
              <a:defRPr sz="800" b="0" i="0">
                <a:latin typeface="Roboto Condensed" panose="02000000000000000000" pitchFamily="2" charset="0"/>
                <a:ea typeface="Roboto Condensed" panose="02000000000000000000" pitchFamily="2" charset="0"/>
              </a:defRPr>
            </a:lvl5pPr>
          </a:lstStyle>
          <a:p>
            <a:pPr lvl="0"/>
            <a:r>
              <a:rPr lang="en-US"/>
              <a:t>AS OF MONTH DAY, YEAR | Source and disclaimer text</a:t>
            </a:r>
          </a:p>
        </p:txBody>
      </p:sp>
      <p:sp>
        <p:nvSpPr>
          <p:cNvPr id="5" name="Chart Placeholder 4">
            <a:extLst>
              <a:ext uri="{FF2B5EF4-FFF2-40B4-BE49-F238E27FC236}">
                <a16:creationId xmlns:a16="http://schemas.microsoft.com/office/drawing/2014/main" id="{4059AB90-90CF-E84B-9A75-8E216469031E}"/>
              </a:ext>
            </a:extLst>
          </p:cNvPr>
          <p:cNvSpPr>
            <a:spLocks noGrp="1"/>
          </p:cNvSpPr>
          <p:nvPr>
            <p:ph type="chart" sz="quarter" idx="22"/>
          </p:nvPr>
        </p:nvSpPr>
        <p:spPr>
          <a:xfrm>
            <a:off x="304800" y="1235206"/>
            <a:ext cx="11582400" cy="4143244"/>
          </a:xfrm>
        </p:spPr>
        <p:txBody>
          <a:bodyPr/>
          <a:lstStyle/>
          <a:p>
            <a:r>
              <a:rPr lang="en-US"/>
              <a:t>Click icon to add chart</a:t>
            </a:r>
          </a:p>
        </p:txBody>
      </p:sp>
      <p:sp>
        <p:nvSpPr>
          <p:cNvPr id="8" name="Text Placeholder 9">
            <a:extLst>
              <a:ext uri="{FF2B5EF4-FFF2-40B4-BE49-F238E27FC236}">
                <a16:creationId xmlns:a16="http://schemas.microsoft.com/office/drawing/2014/main" id="{638E9A1B-85F2-4786-A009-06AD09169B71}"/>
              </a:ext>
            </a:extLst>
          </p:cNvPr>
          <p:cNvSpPr>
            <a:spLocks noGrp="1"/>
          </p:cNvSpPr>
          <p:nvPr>
            <p:ph type="body" sz="quarter" idx="13" hasCustomPrompt="1"/>
          </p:nvPr>
        </p:nvSpPr>
        <p:spPr>
          <a:xfrm>
            <a:off x="304800" y="771470"/>
            <a:ext cx="11582400" cy="452399"/>
          </a:xfrm>
          <a:prstGeom prst="rect">
            <a:avLst/>
          </a:prstGeom>
        </p:spPr>
        <p:txBody>
          <a:bodyPr lIns="0" tIns="0" rIns="0" bIns="0" anchor="t" anchorCtr="0">
            <a:noAutofit/>
          </a:bodyPr>
          <a:lstStyle>
            <a:lvl1pPr marL="0" marR="0" indent="0" algn="l" defTabSz="914354" rtl="0" eaLnBrk="1" fontAlgn="auto" latinLnBrk="0" hangingPunct="1">
              <a:lnSpc>
                <a:spcPts val="1700"/>
              </a:lnSpc>
              <a:spcBef>
                <a:spcPts val="0"/>
              </a:spcBef>
              <a:spcAft>
                <a:spcPts val="0"/>
              </a:spcAft>
              <a:buClrTx/>
              <a:buSzTx/>
              <a:buFontTx/>
              <a:buNone/>
              <a:tabLst/>
              <a:defRPr sz="1600" b="1" i="0" baseline="0">
                <a:solidFill>
                  <a:schemeClr val="accent3"/>
                </a:solidFill>
                <a:latin typeface="Montserrat SemiBold" pitchFamily="2" charset="77"/>
                <a:cs typeface="Arial" panose="020B0604020202020204" pitchFamily="34" charset="0"/>
              </a:defRPr>
            </a:lvl1pPr>
            <a:lvl2pPr>
              <a:buFontTx/>
              <a:buNone/>
              <a:defRPr sz="1600">
                <a:solidFill>
                  <a:schemeClr val="bg1"/>
                </a:solidFill>
              </a:defRPr>
            </a:lvl2pPr>
            <a:lvl3pPr>
              <a:buFontTx/>
              <a:buNone/>
              <a:defRPr sz="1600">
                <a:solidFill>
                  <a:schemeClr val="bg1"/>
                </a:solidFill>
              </a:defRPr>
            </a:lvl3pPr>
            <a:lvl4pPr>
              <a:buFontTx/>
              <a:buNone/>
              <a:defRPr sz="1600">
                <a:solidFill>
                  <a:schemeClr val="bg1"/>
                </a:solidFill>
              </a:defRPr>
            </a:lvl4pPr>
            <a:lvl5pPr>
              <a:buFontTx/>
              <a:buNone/>
              <a:defRPr sz="1600">
                <a:solidFill>
                  <a:schemeClr val="bg1"/>
                </a:solidFill>
              </a:defRPr>
            </a:lvl5pPr>
          </a:lstStyle>
          <a:p>
            <a:pPr marL="0" marR="0" lvl="0" indent="0" algn="l" defTabSz="914354" rtl="0" eaLnBrk="1" fontAlgn="auto" latinLnBrk="0" hangingPunct="1">
              <a:lnSpc>
                <a:spcPct val="100000"/>
              </a:lnSpc>
              <a:spcBef>
                <a:spcPts val="201"/>
              </a:spcBef>
              <a:spcAft>
                <a:spcPts val="0"/>
              </a:spcAft>
              <a:buClrTx/>
              <a:buSzTx/>
              <a:buFontTx/>
              <a:buNone/>
              <a:tabLst/>
              <a:defRPr/>
            </a:pPr>
            <a:r>
              <a:rPr lang="en-US"/>
              <a:t>Subhead</a:t>
            </a:r>
          </a:p>
        </p:txBody>
      </p:sp>
      <p:sp>
        <p:nvSpPr>
          <p:cNvPr id="2" name="Title 1"/>
          <p:cNvSpPr>
            <a:spLocks noGrp="1"/>
          </p:cNvSpPr>
          <p:nvPr>
            <p:ph type="title" hasCustomPrompt="1"/>
          </p:nvPr>
        </p:nvSpPr>
        <p:spPr>
          <a:xfrm>
            <a:off x="304800" y="397173"/>
            <a:ext cx="11582400" cy="365760"/>
          </a:xfrm>
          <a:prstGeom prst="rect">
            <a:avLst/>
          </a:prstGeom>
        </p:spPr>
        <p:txBody>
          <a:bodyPr lIns="0" tIns="0" rIns="0" bIns="0"/>
          <a:lstStyle>
            <a:lvl1pPr>
              <a:lnSpc>
                <a:spcPts val="2500"/>
              </a:lnSpc>
              <a:defRPr sz="2400" b="1" i="0" spc="-30" baseline="0">
                <a:latin typeface="Montserrat SemiBold" pitchFamily="2" charset="77"/>
              </a:defRPr>
            </a:lvl1pPr>
          </a:lstStyle>
          <a:p>
            <a:r>
              <a:rPr lang="en-US"/>
              <a:t>Slide Header</a:t>
            </a:r>
          </a:p>
        </p:txBody>
      </p:sp>
      <p:sp>
        <p:nvSpPr>
          <p:cNvPr id="32" name="Text Placeholder 31">
            <a:extLst>
              <a:ext uri="{FF2B5EF4-FFF2-40B4-BE49-F238E27FC236}">
                <a16:creationId xmlns:a16="http://schemas.microsoft.com/office/drawing/2014/main" id="{C1C24F9A-B008-F84D-8B40-EDEC06D6F149}"/>
              </a:ext>
            </a:extLst>
          </p:cNvPr>
          <p:cNvSpPr>
            <a:spLocks noGrp="1"/>
          </p:cNvSpPr>
          <p:nvPr>
            <p:ph type="body" sz="quarter" idx="21" hasCustomPrompt="1"/>
          </p:nvPr>
        </p:nvSpPr>
        <p:spPr>
          <a:xfrm>
            <a:off x="304800" y="201599"/>
            <a:ext cx="4876800" cy="118872"/>
          </a:xfrm>
        </p:spPr>
        <p:txBody>
          <a:bodyPr lIns="18288" anchor="t" anchorCtr="0"/>
          <a:lstStyle>
            <a:lvl1pPr algn="l">
              <a:spcBef>
                <a:spcPts val="0"/>
              </a:spcBef>
              <a:spcAft>
                <a:spcPts val="0"/>
              </a:spcAft>
              <a:defRPr sz="800" b="1" i="0" cap="all" baseline="0">
                <a:solidFill>
                  <a:schemeClr val="accent2"/>
                </a:solidFill>
                <a:latin typeface="Montserrat SemiBold" pitchFamily="2" charset="77"/>
              </a:defRPr>
            </a:lvl1pPr>
          </a:lstStyle>
          <a:p>
            <a:pPr lvl="0"/>
            <a:r>
              <a:rPr lang="en-US"/>
              <a:t>enter CATEGORY HEADER</a:t>
            </a:r>
          </a:p>
        </p:txBody>
      </p:sp>
      <p:sp>
        <p:nvSpPr>
          <p:cNvPr id="3" name="Slide Number Placeholder 5">
            <a:extLst>
              <a:ext uri="{FF2B5EF4-FFF2-40B4-BE49-F238E27FC236}">
                <a16:creationId xmlns:a16="http://schemas.microsoft.com/office/drawing/2014/main" id="{97489CC3-32FD-415F-803A-B46C1310C7F2}"/>
              </a:ext>
            </a:extLst>
          </p:cNvPr>
          <p:cNvSpPr txBox="1">
            <a:spLocks/>
          </p:cNvSpPr>
          <p:nvPr userDrawn="1"/>
        </p:nvSpPr>
        <p:spPr>
          <a:xfrm>
            <a:off x="8016875" y="6583680"/>
            <a:ext cx="3657600" cy="128016"/>
          </a:xfrm>
          <a:prstGeom prst="rect">
            <a:avLst/>
          </a:prstGeom>
        </p:spPr>
        <p:txBody>
          <a:bodyPr vert="horz" lIns="0" tIns="0" rIns="0" bIns="0" anchor="b" anchorCtr="0"/>
          <a:lstStyle>
            <a:defPPr>
              <a:defRPr lang="en-US"/>
            </a:defPPr>
            <a:lvl1pPr marL="0" algn="ctr" defTabSz="914400" rtl="0" eaLnBrk="1" latinLnBrk="0" hangingPunct="1">
              <a:defRPr sz="1050" b="1" kern="1200">
                <a:solidFill>
                  <a:srgbClr val="003A32"/>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marR="0" lvl="0" indent="-171450" algn="r"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800" b="0" i="0" u="none" strike="noStrike" kern="1200" cap="all" spc="0" normalizeH="0" baseline="0" noProof="0">
              <a:ln>
                <a:noFill/>
              </a:ln>
              <a:solidFill>
                <a:schemeClr val="tx1"/>
              </a:solidFill>
              <a:effectLst/>
              <a:uLnTx/>
              <a:uFillTx/>
              <a:latin typeface="Roboto Condensed" panose="02000000000000000000" pitchFamily="2" charset="0"/>
              <a:ea typeface="Roboto Condensed" panose="02000000000000000000" pitchFamily="2" charset="0"/>
              <a:cs typeface="Arial" pitchFamily="34" charset="0"/>
            </a:endParaRPr>
          </a:p>
        </p:txBody>
      </p:sp>
    </p:spTree>
    <p:extLst>
      <p:ext uri="{BB962C8B-B14F-4D97-AF65-F5344CB8AC3E}">
        <p14:creationId xmlns:p14="http://schemas.microsoft.com/office/powerpoint/2010/main" val="128854481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noProof="0"/>
              <a:t>Klik for at redigere titeltypografien i masteren</a:t>
            </a:r>
          </a:p>
        </p:txBody>
      </p:sp>
      <p:sp>
        <p:nvSpPr>
          <p:cNvPr id="14" name="Text Placeholder 13">
            <a:extLst>
              <a:ext uri="{FF2B5EF4-FFF2-40B4-BE49-F238E27FC236}">
                <a16:creationId xmlns:a16="http://schemas.microsoft.com/office/drawing/2014/main" id="{B9142C5D-6C19-4C53-B9BB-13F7D19157B8}"/>
              </a:ext>
            </a:extLst>
          </p:cNvPr>
          <p:cNvSpPr>
            <a:spLocks noGrp="1"/>
          </p:cNvSpPr>
          <p:nvPr>
            <p:ph type="body" sz="quarter" idx="17" hasCustomPrompt="1"/>
          </p:nvPr>
        </p:nvSpPr>
        <p:spPr>
          <a:xfrm>
            <a:off x="358774" y="1611312"/>
            <a:ext cx="11472863" cy="4341600"/>
          </a:xfrm>
        </p:spPr>
        <p:txBody>
          <a:bodyPr/>
          <a:lstStyle>
            <a:lvl1pPr marL="0" indent="0">
              <a:buFont typeface="Arial" panose="020B0604020202020204" pitchFamily="34" charset="0"/>
              <a:buChar char="​"/>
              <a:defRPr sz="2800"/>
            </a:lvl1pPr>
            <a:lvl2pPr marL="270000">
              <a:defRPr sz="1800"/>
            </a:lvl2pPr>
          </a:lstStyle>
          <a:p>
            <a:pPr lvl="0"/>
            <a:r>
              <a:rPr lang="da-DK"/>
              <a:t>Klik for at tilføje punkt, brug Fed tekst for at fremhæve punktet</a:t>
            </a:r>
          </a:p>
          <a:p>
            <a:pPr lvl="1"/>
            <a:r>
              <a:rPr lang="da-DK"/>
              <a:t>Second </a:t>
            </a:r>
            <a:r>
              <a:rPr lang="da-DK" err="1"/>
              <a:t>level</a:t>
            </a:r>
            <a:endParaRPr lang="da-DK"/>
          </a:p>
        </p:txBody>
      </p:sp>
      <p:sp>
        <p:nvSpPr>
          <p:cNvPr id="17" name="Pladsholder til indhold 30">
            <a:extLst>
              <a:ext uri="{FF2B5EF4-FFF2-40B4-BE49-F238E27FC236}">
                <a16:creationId xmlns:a16="http://schemas.microsoft.com/office/drawing/2014/main" id="{7270E2F8-6385-4F00-B864-696DF8F98F8B}"/>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Slide Number Placeholder 8">
            <a:extLst>
              <a:ext uri="{FF2B5EF4-FFF2-40B4-BE49-F238E27FC236}">
                <a16:creationId xmlns:a16="http://schemas.microsoft.com/office/drawing/2014/main" id="{F325DA00-834F-43FF-A9A9-7F622CCE5D33}"/>
              </a:ext>
            </a:extLst>
          </p:cNvPr>
          <p:cNvSpPr>
            <a:spLocks noGrp="1"/>
          </p:cNvSpPr>
          <p:nvPr>
            <p:ph type="sldNum" sz="quarter" idx="16"/>
          </p:nvPr>
        </p:nvSpPr>
        <p:spPr/>
        <p:txBody>
          <a:bodyPr/>
          <a:lstStyle/>
          <a:p>
            <a:fld id="{23AA811B-2EBD-4900-905E-5BE206449611}" type="slidenum">
              <a:rPr lang="da-DK" smtClean="0"/>
              <a:pPr/>
              <a:t>‹nr.›</a:t>
            </a:fld>
            <a:endParaRPr lang="da-DK"/>
          </a:p>
        </p:txBody>
      </p:sp>
      <p:sp>
        <p:nvSpPr>
          <p:cNvPr id="33" name="Date Placeholder 6">
            <a:extLst>
              <a:ext uri="{FF2B5EF4-FFF2-40B4-BE49-F238E27FC236}">
                <a16:creationId xmlns:a16="http://schemas.microsoft.com/office/drawing/2014/main" id="{A83730EE-46FA-4AC1-A400-01432F4775EC}"/>
              </a:ext>
            </a:extLst>
          </p:cNvPr>
          <p:cNvSpPr>
            <a:spLocks noGrp="1"/>
          </p:cNvSpPr>
          <p:nvPr>
            <p:ph type="dt" sz="half" idx="10"/>
          </p:nvPr>
        </p:nvSpPr>
        <p:spPr>
          <a:xfrm>
            <a:off x="0" y="6861600"/>
            <a:ext cx="0" cy="0"/>
          </a:xfrm>
        </p:spPr>
        <p:txBody>
          <a:bodyPr/>
          <a:lstStyle>
            <a:lvl1pPr>
              <a:defRPr>
                <a:noFill/>
              </a:defRPr>
            </a:lvl1pPr>
          </a:lstStyle>
          <a:p>
            <a:fld id="{9D7C1A83-3665-4C5B-A130-B3EC869B5E8B}" type="datetime2">
              <a:rPr lang="da-DK" smtClean="0"/>
              <a:pPr/>
              <a:t>16. marts 2026</a:t>
            </a:fld>
            <a:endParaRPr lang="da-DK"/>
          </a:p>
        </p:txBody>
      </p:sp>
      <p:sp>
        <p:nvSpPr>
          <p:cNvPr id="34" name="Footer Placeholder 7">
            <a:extLst>
              <a:ext uri="{FF2B5EF4-FFF2-40B4-BE49-F238E27FC236}">
                <a16:creationId xmlns:a16="http://schemas.microsoft.com/office/drawing/2014/main" id="{2EE215CA-64DD-4FD6-9F38-919E0C061664}"/>
              </a:ext>
            </a:extLst>
          </p:cNvPr>
          <p:cNvSpPr>
            <a:spLocks noGrp="1"/>
          </p:cNvSpPr>
          <p:nvPr>
            <p:ph type="ftr" sz="quarter" idx="11"/>
          </p:nvPr>
        </p:nvSpPr>
        <p:spPr>
          <a:xfrm>
            <a:off x="0" y="6861600"/>
            <a:ext cx="0" cy="0"/>
          </a:xfrm>
        </p:spPr>
        <p:txBody>
          <a:bodyPr/>
          <a:lstStyle>
            <a:lvl1pPr>
              <a:defRPr>
                <a:noFill/>
              </a:defRPr>
            </a:lvl1pPr>
          </a:lstStyle>
          <a:p>
            <a:endParaRPr lang="da-DK"/>
          </a:p>
        </p:txBody>
      </p:sp>
    </p:spTree>
    <p:extLst>
      <p:ext uri="{BB962C8B-B14F-4D97-AF65-F5344CB8AC3E}">
        <p14:creationId xmlns:p14="http://schemas.microsoft.com/office/powerpoint/2010/main" val="103151977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Content 8_2 graphs horizonta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43ABA4-194E-156C-E41F-4457EDBBAF8A}"/>
              </a:ext>
            </a:extLst>
          </p:cNvPr>
          <p:cNvSpPr>
            <a:spLocks noGrp="1"/>
          </p:cNvSpPr>
          <p:nvPr>
            <p:ph type="title" hasCustomPrompt="1"/>
          </p:nvPr>
        </p:nvSpPr>
        <p:spPr>
          <a:xfrm>
            <a:off x="431799" y="431800"/>
            <a:ext cx="3775076" cy="864000"/>
          </a:xfrm>
        </p:spPr>
        <p:txBody>
          <a:bodyPr>
            <a:noAutofit/>
          </a:bodyPr>
          <a:lstStyle>
            <a:lvl1pPr>
              <a:defRPr/>
            </a:lvl1pPr>
          </a:lstStyle>
          <a:p>
            <a:r>
              <a:rPr lang="da-DK"/>
              <a:t>Klik for at redigere titeltypografien i masteren </a:t>
            </a:r>
          </a:p>
        </p:txBody>
      </p:sp>
      <p:sp>
        <p:nvSpPr>
          <p:cNvPr id="7"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5152318" y="431800"/>
            <a:ext cx="6614556" cy="2664000"/>
          </a:xfrm>
        </p:spPr>
        <p:txBody>
          <a:bodyPr/>
          <a:lstStyle/>
          <a:p>
            <a:r>
              <a:rPr lang="da-DK"/>
              <a:t>Klik på ikonet for at tilføje et diagram</a:t>
            </a:r>
          </a:p>
        </p:txBody>
      </p:sp>
      <p:sp>
        <p:nvSpPr>
          <p:cNvPr id="13" name="Pladsholder til tekst 11">
            <a:extLst>
              <a:ext uri="{FF2B5EF4-FFF2-40B4-BE49-F238E27FC236}">
                <a16:creationId xmlns:a16="http://schemas.microsoft.com/office/drawing/2014/main" id="{EB33E572-2CAB-6349-B79D-239C407C7CFE}"/>
              </a:ext>
            </a:extLst>
          </p:cNvPr>
          <p:cNvSpPr>
            <a:spLocks noGrp="1"/>
          </p:cNvSpPr>
          <p:nvPr>
            <p:ph type="body" sz="quarter" idx="14" hasCustomPrompt="1"/>
          </p:nvPr>
        </p:nvSpPr>
        <p:spPr>
          <a:xfrm>
            <a:off x="431799" y="5760646"/>
            <a:ext cx="2832101" cy="375674"/>
          </a:xfrm>
        </p:spPr>
        <p:txBody>
          <a:bodyPr wrap="square" anchor="b">
            <a:noAutofit/>
          </a:bodyPr>
          <a:lstStyle>
            <a:lvl1pPr marL="0" indent="0">
              <a:lnSpc>
                <a:spcPct val="100000"/>
              </a:lnSpc>
              <a:buNone/>
              <a:defRPr sz="800">
                <a:solidFill>
                  <a:srgbClr val="91A0B2"/>
                </a:solidFill>
              </a:defRPr>
            </a:lvl1pPr>
            <a:lvl2pPr marL="222250" indent="0">
              <a:lnSpc>
                <a:spcPct val="100000"/>
              </a:lnSpc>
              <a:buNone/>
              <a:defRPr sz="800"/>
            </a:lvl2pPr>
            <a:lvl3pPr marL="542925" indent="0">
              <a:lnSpc>
                <a:spcPct val="100000"/>
              </a:lnSpc>
              <a:buNone/>
              <a:defRPr sz="800"/>
            </a:lvl3pPr>
            <a:lvl4pPr marL="895350" indent="0">
              <a:lnSpc>
                <a:spcPct val="100000"/>
              </a:lnSpc>
              <a:buNone/>
              <a:defRPr sz="800"/>
            </a:lvl4pPr>
            <a:lvl5pPr marL="1166813" indent="0">
              <a:lnSpc>
                <a:spcPct val="100000"/>
              </a:lnSpc>
              <a:buNone/>
              <a:defRPr sz="800"/>
            </a:lvl5pPr>
          </a:lstStyle>
          <a:p>
            <a:pPr lvl="0"/>
            <a:r>
              <a:rPr lang="da-DK"/>
              <a:t>Noter</a:t>
            </a:r>
          </a:p>
        </p:txBody>
      </p:sp>
      <p:sp>
        <p:nvSpPr>
          <p:cNvPr id="6" name="Date Placeholder 5">
            <a:extLst>
              <a:ext uri="{FF2B5EF4-FFF2-40B4-BE49-F238E27FC236}">
                <a16:creationId xmlns:a16="http://schemas.microsoft.com/office/drawing/2014/main" id="{7ED0435C-DCD8-00E5-E76C-4CEB12F79B38}"/>
              </a:ext>
            </a:extLst>
          </p:cNvPr>
          <p:cNvSpPr>
            <a:spLocks noGrp="1"/>
          </p:cNvSpPr>
          <p:nvPr>
            <p:ph type="dt" sz="half" idx="15"/>
          </p:nvPr>
        </p:nvSpPr>
        <p:spPr/>
        <p:txBody>
          <a:bodyPr/>
          <a:lstStyle/>
          <a:p>
            <a:fld id="{F7E64F19-F0F7-406F-AC0F-3ECFC744BBDA}" type="datetimeFigureOut">
              <a:rPr lang="da-DK" smtClean="0"/>
              <a:pPr/>
              <a:t>16-03-2026</a:t>
            </a:fld>
            <a:endParaRPr lang="da-DK"/>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a:p>
        </p:txBody>
      </p:sp>
      <p:sp>
        <p:nvSpPr>
          <p:cNvPr id="9" name="Slide Number Placeholder 8">
            <a:extLst>
              <a:ext uri="{FF2B5EF4-FFF2-40B4-BE49-F238E27FC236}">
                <a16:creationId xmlns:a16="http://schemas.microsoft.com/office/drawing/2014/main" id="{79AD1462-A3E1-40E6-B2B0-CB733C384D90}"/>
              </a:ext>
            </a:extLst>
          </p:cNvPr>
          <p:cNvSpPr>
            <a:spLocks noGrp="1"/>
          </p:cNvSpPr>
          <p:nvPr>
            <p:ph type="sldNum" sz="quarter" idx="17"/>
          </p:nvPr>
        </p:nvSpPr>
        <p:spPr/>
        <p:txBody>
          <a:bodyPr/>
          <a:lstStyle/>
          <a:p>
            <a:fld id="{FA9C6259-F55B-47A6-AB0B-9E9F0835A2F0}" type="slidenum">
              <a:rPr lang="da-DK" smtClean="0"/>
              <a:pPr/>
              <a:t>‹nr.›</a:t>
            </a:fld>
            <a:endParaRPr lang="da-DK"/>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296000"/>
            <a:ext cx="3775076" cy="576000"/>
          </a:xfrm>
        </p:spPr>
        <p:txBody>
          <a:bodyPr lIns="0" anchor="t">
            <a:noAutofit/>
          </a:bodyPr>
          <a:lstStyle>
            <a:lvl1pPr marL="0" indent="0" algn="l">
              <a:lnSpc>
                <a:spcPct val="120000"/>
              </a:lnSpc>
              <a:spcBef>
                <a:spcPts val="0"/>
              </a:spcBef>
              <a:buFont typeface="Arial" panose="020B0604020202020204" pitchFamily="34" charset="0"/>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en-US"/>
          </a:p>
        </p:txBody>
      </p:sp>
      <p:sp>
        <p:nvSpPr>
          <p:cNvPr id="5" name="Pladsholder til diagram 6">
            <a:extLst>
              <a:ext uri="{FF2B5EF4-FFF2-40B4-BE49-F238E27FC236}">
                <a16:creationId xmlns:a16="http://schemas.microsoft.com/office/drawing/2014/main" id="{14D904DA-7A51-1AFE-8F7D-6D6101DB4105}"/>
              </a:ext>
            </a:extLst>
          </p:cNvPr>
          <p:cNvSpPr>
            <a:spLocks noGrp="1"/>
          </p:cNvSpPr>
          <p:nvPr>
            <p:ph type="chart" sz="quarter" idx="18"/>
          </p:nvPr>
        </p:nvSpPr>
        <p:spPr>
          <a:xfrm>
            <a:off x="5152319" y="3450754"/>
            <a:ext cx="6614556" cy="2664000"/>
          </a:xfrm>
        </p:spPr>
        <p:txBody>
          <a:bodyPr/>
          <a:lstStyle/>
          <a:p>
            <a:r>
              <a:rPr lang="da-DK"/>
              <a:t>Klik på ikonet for at tilføje et diagram</a:t>
            </a:r>
          </a:p>
        </p:txBody>
      </p:sp>
    </p:spTree>
    <p:extLst>
      <p:ext uri="{BB962C8B-B14F-4D97-AF65-F5344CB8AC3E}">
        <p14:creationId xmlns:p14="http://schemas.microsoft.com/office/powerpoint/2010/main" val="19552488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t indholdselement">
    <p:bg>
      <p:bgPr>
        <a:solidFill>
          <a:schemeClr val="bg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B39A03-0C51-0B8A-9E8B-8E35B30E26EF}"/>
              </a:ext>
            </a:extLst>
          </p:cNvPr>
          <p:cNvSpPr>
            <a:spLocks noGrp="1"/>
          </p:cNvSpPr>
          <p:nvPr>
            <p:ph type="dt" sz="half" idx="10"/>
          </p:nvPr>
        </p:nvSpPr>
        <p:spPr/>
        <p:txBody>
          <a:bodyPr/>
          <a:lstStyle/>
          <a:p>
            <a:fld id="{ED37F5FD-2D32-43E3-BF34-2EA00728DEA9}" type="datetime1">
              <a:rPr lang="da-DK" noProof="0" smtClean="0"/>
              <a:t>16-03-2026</a:t>
            </a:fld>
            <a:endParaRPr lang="da-DK" noProof="0"/>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AF52A892-3C3A-81B2-F030-F5D87B444B7F}"/>
              </a:ext>
            </a:extLst>
          </p:cNvPr>
          <p:cNvSpPr>
            <a:spLocks noGrp="1"/>
          </p:cNvSpPr>
          <p:nvPr>
            <p:ph type="sldNum" sz="quarter" idx="12"/>
          </p:nvPr>
        </p:nvSpPr>
        <p:spPr/>
        <p:txBody>
          <a:bodyPr/>
          <a:lstStyle/>
          <a:p>
            <a:fld id="{FA9C6259-F55B-47A6-AB0B-9E9F0835A2F0}" type="slidenum">
              <a:rPr lang="da-DK" noProof="0" smtClean="0"/>
              <a:pPr/>
              <a:t>‹nr.›</a:t>
            </a:fld>
            <a:endParaRPr lang="da-DK" noProof="0"/>
          </a:p>
        </p:txBody>
      </p:sp>
      <p:sp>
        <p:nvSpPr>
          <p:cNvPr id="6" name="Content Placeholder">
            <a:extLst>
              <a:ext uri="{FF2B5EF4-FFF2-40B4-BE49-F238E27FC236}">
                <a16:creationId xmlns:a16="http://schemas.microsoft.com/office/drawing/2014/main" id="{FE748EBE-5271-38ED-B58F-113D8DD5F652}"/>
              </a:ext>
            </a:extLst>
          </p:cNvPr>
          <p:cNvSpPr>
            <a:spLocks noGrp="1"/>
          </p:cNvSpPr>
          <p:nvPr>
            <p:ph sz="quarter" idx="13"/>
          </p:nvPr>
        </p:nvSpPr>
        <p:spPr>
          <a:xfrm>
            <a:off x="431797" y="1656000"/>
            <a:ext cx="11326813" cy="4473338"/>
          </a:xfrm>
        </p:spPr>
        <p:txBody>
          <a:bodyPr/>
          <a:lstStyle>
            <a:lvl1pPr marL="0" indent="0">
              <a:buNone/>
              <a:defRPr/>
            </a:lvl1pPr>
          </a:lstStyle>
          <a:p>
            <a:pPr lvl="0"/>
            <a:r>
              <a:rPr lang="da-DK" noProof="0"/>
              <a:t>Klik for at redigere teksttypografierne i masteren</a:t>
            </a:r>
          </a:p>
        </p:txBody>
      </p:sp>
      <p:sp>
        <p:nvSpPr>
          <p:cNvPr id="3" name="Title 12">
            <a:extLst>
              <a:ext uri="{FF2B5EF4-FFF2-40B4-BE49-F238E27FC236}">
                <a16:creationId xmlns:a16="http://schemas.microsoft.com/office/drawing/2014/main" id="{667AE106-68BA-78B3-FB5D-0001A9C1883A}"/>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375174092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re indholdselementer">
    <p:bg>
      <p:bgPr>
        <a:solidFill>
          <a:schemeClr val="bg1"/>
        </a:solidFill>
        <a:effectLst/>
      </p:bgPr>
    </p:bg>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585997"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900DD5F3-0113-4728-9513-B42EEEE22A96}" type="datetime1">
              <a:rPr lang="da-DK" noProof="0" smtClean="0"/>
              <a:t>16-03-2026</a:t>
            </a:fld>
            <a:endParaRPr lang="da-DK" noProof="0"/>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noProof="0" smtClean="0"/>
              <a:pPr/>
              <a:t>‹nr.›</a:t>
            </a:fld>
            <a:endParaRPr lang="da-DK" noProof="0"/>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585210"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16" name="Content Placeholder">
            <a:extLst>
              <a:ext uri="{FF2B5EF4-FFF2-40B4-BE49-F238E27FC236}">
                <a16:creationId xmlns:a16="http://schemas.microsoft.com/office/drawing/2014/main" id="{071BC6CF-C0A0-026F-8923-83DEC5C53812}"/>
              </a:ext>
            </a:extLst>
          </p:cNvPr>
          <p:cNvSpPr>
            <a:spLocks noGrp="1"/>
          </p:cNvSpPr>
          <p:nvPr>
            <p:ph sz="quarter" idx="19" hasCustomPrompt="1"/>
          </p:nvPr>
        </p:nvSpPr>
        <p:spPr>
          <a:xfrm>
            <a:off x="4368000"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8" name="Text Placeholder 14">
            <a:extLst>
              <a:ext uri="{FF2B5EF4-FFF2-40B4-BE49-F238E27FC236}">
                <a16:creationId xmlns:a16="http://schemas.microsoft.com/office/drawing/2014/main" id="{CBF7BF71-5BF4-B4EB-6418-C90F6D38E0C3}"/>
              </a:ext>
            </a:extLst>
          </p:cNvPr>
          <p:cNvSpPr>
            <a:spLocks noGrp="1"/>
          </p:cNvSpPr>
          <p:nvPr>
            <p:ph type="body" sz="quarter" idx="20" hasCustomPrompt="1"/>
          </p:nvPr>
        </p:nvSpPr>
        <p:spPr>
          <a:xfrm>
            <a:off x="4367213"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19" name="Content Placeholder">
            <a:extLst>
              <a:ext uri="{FF2B5EF4-FFF2-40B4-BE49-F238E27FC236}">
                <a16:creationId xmlns:a16="http://schemas.microsoft.com/office/drawing/2014/main" id="{FB703B9F-4489-0A5E-3BB0-56D56672CABD}"/>
              </a:ext>
            </a:extLst>
          </p:cNvPr>
          <p:cNvSpPr>
            <a:spLocks noGrp="1"/>
          </p:cNvSpPr>
          <p:nvPr>
            <p:ph sz="quarter" idx="21" hasCustomPrompt="1"/>
          </p:nvPr>
        </p:nvSpPr>
        <p:spPr>
          <a:xfrm>
            <a:off x="8143468"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1" name="Text Placeholder 14">
            <a:extLst>
              <a:ext uri="{FF2B5EF4-FFF2-40B4-BE49-F238E27FC236}">
                <a16:creationId xmlns:a16="http://schemas.microsoft.com/office/drawing/2014/main" id="{8D5872B1-C6FC-9F83-9DDF-D8BCE82E24FD}"/>
              </a:ext>
            </a:extLst>
          </p:cNvPr>
          <p:cNvSpPr>
            <a:spLocks noGrp="1"/>
          </p:cNvSpPr>
          <p:nvPr>
            <p:ph type="body" sz="quarter" idx="22" hasCustomPrompt="1"/>
          </p:nvPr>
        </p:nvSpPr>
        <p:spPr>
          <a:xfrm>
            <a:off x="8142681"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5" name="Title 12">
            <a:extLst>
              <a:ext uri="{FF2B5EF4-FFF2-40B4-BE49-F238E27FC236}">
                <a16:creationId xmlns:a16="http://schemas.microsoft.com/office/drawing/2014/main" id="{861E4C75-244C-D56C-A4DA-D765ABF1389B}"/>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393192686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re cards m. indhold">
    <p:bg>
      <p:bgPr>
        <a:solidFill>
          <a:schemeClr val="bg1"/>
        </a:solidFill>
        <a:effectLst/>
      </p:bgPr>
    </p:bg>
    <p:spTree>
      <p:nvGrpSpPr>
        <p:cNvPr id="1" name=""/>
        <p:cNvGrpSpPr/>
        <p:nvPr/>
      </p:nvGrpSpPr>
      <p:grpSpPr>
        <a:xfrm>
          <a:off x="0" y="0"/>
          <a:ext cx="0" cy="0"/>
          <a:chOff x="0" y="0"/>
          <a:chExt cx="0" cy="0"/>
        </a:xfrm>
      </p:grpSpPr>
      <p:sp>
        <p:nvSpPr>
          <p:cNvPr id="17" name="Rektangel: enkelt hjørne afrundet 16">
            <a:extLst>
              <a:ext uri="{FF2B5EF4-FFF2-40B4-BE49-F238E27FC236}">
                <a16:creationId xmlns:a16="http://schemas.microsoft.com/office/drawing/2014/main" id="{239FAEE3-E58D-2A51-7A83-9E7E086AB2DD}"/>
              </a:ext>
            </a:extLst>
          </p:cNvPr>
          <p:cNvSpPr/>
          <p:nvPr userDrawn="1"/>
        </p:nvSpPr>
        <p:spPr>
          <a:xfrm rot="5400000">
            <a:off x="286992" y="1980955"/>
            <a:ext cx="4053564"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576000" tIns="144000" rIns="288000" bIns="144000" rtlCol="0" anchor="t" anchorCtr="0">
            <a:noAutofit/>
          </a:bodyPr>
          <a:lstStyle/>
          <a:p>
            <a:pPr>
              <a:lnSpc>
                <a:spcPct val="90000"/>
              </a:lnSpc>
            </a:pPr>
            <a:endParaRPr lang="da-DK" sz="1200" noProof="0">
              <a:solidFill>
                <a:schemeClr val="tx1"/>
              </a:solidFill>
              <a:latin typeface="Work Sans" pitchFamily="2" charset="0"/>
            </a:endParaRPr>
          </a:p>
        </p:txBody>
      </p:sp>
      <p:sp>
        <p:nvSpPr>
          <p:cNvPr id="8" name="Content Placeholder">
            <a:extLst>
              <a:ext uri="{FF2B5EF4-FFF2-40B4-BE49-F238E27FC236}">
                <a16:creationId xmlns:a16="http://schemas.microsoft.com/office/drawing/2014/main" id="{4E91CDE7-A150-9C6F-48B3-D2425425F88B}"/>
              </a:ext>
            </a:extLst>
          </p:cNvPr>
          <p:cNvSpPr>
            <a:spLocks noGrp="1" noChangeAspect="1"/>
          </p:cNvSpPr>
          <p:nvPr>
            <p:ph sz="quarter" idx="13" hasCustomPrompt="1"/>
          </p:nvPr>
        </p:nvSpPr>
        <p:spPr>
          <a:xfrm>
            <a:off x="83777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C07CAF74-56BB-4AE5-96CC-9C48E73DE135}" type="datetime1">
              <a:rPr lang="da-DK" noProof="0" smtClean="0"/>
              <a:t>16-03-2026</a:t>
            </a:fld>
            <a:endParaRPr lang="da-DK" noProof="0"/>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noProof="0" smtClean="0"/>
              <a:pPr/>
              <a:t>‹nr.›</a:t>
            </a:fld>
            <a:endParaRPr lang="da-DK" noProof="0"/>
          </a:p>
        </p:txBody>
      </p:sp>
      <p:sp>
        <p:nvSpPr>
          <p:cNvPr id="13" name="Title 12">
            <a:extLst>
              <a:ext uri="{FF2B5EF4-FFF2-40B4-BE49-F238E27FC236}">
                <a16:creationId xmlns:a16="http://schemas.microsoft.com/office/drawing/2014/main" id="{212DDD1D-CF2D-FE1E-8665-2DF511DFB772}"/>
              </a:ext>
            </a:extLst>
          </p:cNvPr>
          <p:cNvSpPr>
            <a:spLocks noGrp="1"/>
          </p:cNvSpPr>
          <p:nvPr>
            <p:ph type="title" hasCustomPrompt="1"/>
          </p:nvPr>
        </p:nvSpPr>
        <p:spPr>
          <a:xfrm>
            <a:off x="431799" y="431800"/>
            <a:ext cx="11326814" cy="864000"/>
          </a:xfrm>
          <a:prstGeom prst="rect">
            <a:avLst/>
          </a:prstGeom>
        </p:spPr>
        <p:txBody>
          <a:bodyPr anchor="ctr"/>
          <a:lstStyle>
            <a:lvl1pPr>
              <a:defRPr/>
            </a:lvl1pPr>
          </a:lstStyle>
          <a:p>
            <a:r>
              <a:rPr lang="da-DK" noProof="0"/>
              <a:t>Klik for at redigere titeltypografien i masteren </a:t>
            </a:r>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83777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
        <p:nvSpPr>
          <p:cNvPr id="6" name="Rektangel: enkelt hjørne afrundet 3">
            <a:extLst>
              <a:ext uri="{FF2B5EF4-FFF2-40B4-BE49-F238E27FC236}">
                <a16:creationId xmlns:a16="http://schemas.microsoft.com/office/drawing/2014/main" id="{3F44D920-C562-CB3A-A90E-203C61152FDC}"/>
              </a:ext>
            </a:extLst>
          </p:cNvPr>
          <p:cNvSpPr/>
          <p:nvPr userDrawn="1"/>
        </p:nvSpPr>
        <p:spPr>
          <a:xfrm rot="5400000">
            <a:off x="4080000"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7" name="Content Placeholder">
            <a:extLst>
              <a:ext uri="{FF2B5EF4-FFF2-40B4-BE49-F238E27FC236}">
                <a16:creationId xmlns:a16="http://schemas.microsoft.com/office/drawing/2014/main" id="{CB865392-8DC1-3E12-AFFD-90B24E43F8AC}"/>
              </a:ext>
            </a:extLst>
          </p:cNvPr>
          <p:cNvSpPr>
            <a:spLocks noGrp="1" noChangeAspect="1"/>
          </p:cNvSpPr>
          <p:nvPr>
            <p:ph sz="quarter" idx="19" hasCustomPrompt="1"/>
          </p:nvPr>
        </p:nvSpPr>
        <p:spPr>
          <a:xfrm>
            <a:off x="4620000"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9" name="Text Placeholder 14">
            <a:extLst>
              <a:ext uri="{FF2B5EF4-FFF2-40B4-BE49-F238E27FC236}">
                <a16:creationId xmlns:a16="http://schemas.microsoft.com/office/drawing/2014/main" id="{DA071D47-D938-4517-894E-F44F79B81D53}"/>
              </a:ext>
            </a:extLst>
          </p:cNvPr>
          <p:cNvSpPr>
            <a:spLocks noGrp="1"/>
          </p:cNvSpPr>
          <p:nvPr>
            <p:ph type="body" sz="quarter" idx="20" hasCustomPrompt="1"/>
          </p:nvPr>
        </p:nvSpPr>
        <p:spPr>
          <a:xfrm>
            <a:off x="4620000"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
        <p:nvSpPr>
          <p:cNvPr id="10" name="Rektangel: enkelt hjørne afrundet 3">
            <a:extLst>
              <a:ext uri="{FF2B5EF4-FFF2-40B4-BE49-F238E27FC236}">
                <a16:creationId xmlns:a16="http://schemas.microsoft.com/office/drawing/2014/main" id="{5A8845E3-CF08-DCD4-A85C-CA8C47B27A0C}"/>
              </a:ext>
            </a:extLst>
          </p:cNvPr>
          <p:cNvSpPr/>
          <p:nvPr userDrawn="1"/>
        </p:nvSpPr>
        <p:spPr>
          <a:xfrm rot="5400000">
            <a:off x="7862226"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12" name="Content Placeholder">
            <a:extLst>
              <a:ext uri="{FF2B5EF4-FFF2-40B4-BE49-F238E27FC236}">
                <a16:creationId xmlns:a16="http://schemas.microsoft.com/office/drawing/2014/main" id="{09975C7B-92A1-77A3-6DF3-98B1EC362A64}"/>
              </a:ext>
            </a:extLst>
          </p:cNvPr>
          <p:cNvSpPr>
            <a:spLocks noGrp="1" noChangeAspect="1"/>
          </p:cNvSpPr>
          <p:nvPr>
            <p:ph sz="quarter" idx="21" hasCustomPrompt="1"/>
          </p:nvPr>
        </p:nvSpPr>
        <p:spPr>
          <a:xfrm>
            <a:off x="840222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4" name="Text Placeholder 14">
            <a:extLst>
              <a:ext uri="{FF2B5EF4-FFF2-40B4-BE49-F238E27FC236}">
                <a16:creationId xmlns:a16="http://schemas.microsoft.com/office/drawing/2014/main" id="{8306526A-8341-2F8B-ECCF-7F99D0F10D26}"/>
              </a:ext>
            </a:extLst>
          </p:cNvPr>
          <p:cNvSpPr>
            <a:spLocks noGrp="1"/>
          </p:cNvSpPr>
          <p:nvPr>
            <p:ph type="body" sz="quarter" idx="22" hasCustomPrompt="1"/>
          </p:nvPr>
        </p:nvSpPr>
        <p:spPr>
          <a:xfrm>
            <a:off x="840222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Tree>
    <p:extLst>
      <p:ext uri="{BB962C8B-B14F-4D97-AF65-F5344CB8AC3E}">
        <p14:creationId xmlns:p14="http://schemas.microsoft.com/office/powerpoint/2010/main" val="136191243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tor hvid fla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2298AB2-D819-DC76-9043-BEDE7D8D3C12}"/>
              </a:ext>
            </a:extLst>
          </p:cNvPr>
          <p:cNvGraphicFramePr>
            <a:graphicFrameLocks noChangeAspect="1"/>
          </p:cNvGraphicFramePr>
          <p:nvPr userDrawn="1">
            <p:custDataLst>
              <p:tags r:id="rId1"/>
            </p:custDataLst>
            <p:extLst>
              <p:ext uri="{D42A27DB-BD31-4B8C-83A1-F6EECF244321}">
                <p14:modId xmlns:p14="http://schemas.microsoft.com/office/powerpoint/2010/main" val="31895365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8" name="think-cell data - do not delete" hidden="1">
                        <a:extLst>
                          <a:ext uri="{FF2B5EF4-FFF2-40B4-BE49-F238E27FC236}">
                            <a16:creationId xmlns:a16="http://schemas.microsoft.com/office/drawing/2014/main" id="{F2298AB2-D819-DC76-9043-BEDE7D8D3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ktangel: enkelt hjørne afrundet 5">
            <a:extLst>
              <a:ext uri="{FF2B5EF4-FFF2-40B4-BE49-F238E27FC236}">
                <a16:creationId xmlns:a16="http://schemas.microsoft.com/office/drawing/2014/main" id="{45EF9235-5FF1-84BD-32D8-FF150C5A9837}"/>
              </a:ext>
            </a:extLst>
          </p:cNvPr>
          <p:cNvSpPr/>
          <p:nvPr userDrawn="1"/>
        </p:nvSpPr>
        <p:spPr>
          <a:xfrm flipH="1">
            <a:off x="332507" y="2097975"/>
            <a:ext cx="11859491" cy="4760026"/>
          </a:xfrm>
          <a:prstGeom prst="round1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432000" rIns="432000" bIns="720000" rtlCol="0" anchor="b" anchorCtr="0">
            <a:noAutofit/>
          </a:bodyPr>
          <a:lstStyle/>
          <a:p>
            <a:pPr>
              <a:lnSpc>
                <a:spcPct val="90000"/>
              </a:lnSpc>
            </a:pPr>
            <a:endParaRPr lang="da-DK" sz="1400" noProof="0">
              <a:solidFill>
                <a:schemeClr val="bg1"/>
              </a:solidFill>
              <a:latin typeface="Work Sans" pitchFamily="2" charset="0"/>
            </a:endParaRPr>
          </a:p>
        </p:txBody>
      </p:sp>
      <p:sp>
        <p:nvSpPr>
          <p:cNvPr id="4" name="Pladsholder til slidenummer 3">
            <a:extLst>
              <a:ext uri="{FF2B5EF4-FFF2-40B4-BE49-F238E27FC236}">
                <a16:creationId xmlns:a16="http://schemas.microsoft.com/office/drawing/2014/main" id="{39CB9D82-382E-298B-3817-C5C5B1C47E5D}"/>
              </a:ext>
            </a:extLst>
          </p:cNvPr>
          <p:cNvSpPr>
            <a:spLocks noGrp="1"/>
          </p:cNvSpPr>
          <p:nvPr>
            <p:ph type="sldNum" sz="quarter" idx="11"/>
          </p:nvPr>
        </p:nvSpPr>
        <p:spPr/>
        <p:txBody>
          <a:bodyPr/>
          <a:lstStyle/>
          <a:p>
            <a:fld id="{FA9C6259-F55B-47A6-AB0B-9E9F0835A2F0}" type="slidenum">
              <a:rPr lang="da-DK" noProof="0" smtClean="0"/>
              <a:pPr/>
              <a:t>‹nr.›</a:t>
            </a:fld>
            <a:endParaRPr lang="da-DK" noProof="0"/>
          </a:p>
        </p:txBody>
      </p:sp>
      <p:sp>
        <p:nvSpPr>
          <p:cNvPr id="5" name="Pladsholder til sidefod 4">
            <a:extLst>
              <a:ext uri="{FF2B5EF4-FFF2-40B4-BE49-F238E27FC236}">
                <a16:creationId xmlns:a16="http://schemas.microsoft.com/office/drawing/2014/main" id="{822E06CC-EF17-CA2D-D02E-F106338D4C45}"/>
              </a:ext>
            </a:extLst>
          </p:cNvPr>
          <p:cNvSpPr>
            <a:spLocks noGrp="1"/>
          </p:cNvSpPr>
          <p:nvPr>
            <p:ph type="ftr" sz="quarter" idx="12"/>
          </p:nvPr>
        </p:nvSpPr>
        <p:spPr/>
        <p:txBody>
          <a:bodyPr/>
          <a:lstStyle/>
          <a:p>
            <a:endParaRPr lang="da-DK" noProof="0"/>
          </a:p>
        </p:txBody>
      </p:sp>
      <p:sp>
        <p:nvSpPr>
          <p:cNvPr id="3" name="Title 12">
            <a:extLst>
              <a:ext uri="{FF2B5EF4-FFF2-40B4-BE49-F238E27FC236}">
                <a16:creationId xmlns:a16="http://schemas.microsoft.com/office/drawing/2014/main" id="{3BF1382A-D154-401E-AD7B-62E00776D589}"/>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40680513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ille hvid fla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205B73C-9FCD-D20A-B361-EF7A41384850}"/>
              </a:ext>
            </a:extLst>
          </p:cNvPr>
          <p:cNvGraphicFramePr>
            <a:graphicFrameLocks noChangeAspect="1"/>
          </p:cNvGraphicFramePr>
          <p:nvPr userDrawn="1">
            <p:custDataLst>
              <p:tags r:id="rId1"/>
            </p:custDataLst>
            <p:extLst>
              <p:ext uri="{D42A27DB-BD31-4B8C-83A1-F6EECF244321}">
                <p14:modId xmlns:p14="http://schemas.microsoft.com/office/powerpoint/2010/main" val="4027441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8" name="think-cell data - do not delete" hidden="1">
                        <a:extLst>
                          <a:ext uri="{FF2B5EF4-FFF2-40B4-BE49-F238E27FC236}">
                            <a16:creationId xmlns:a16="http://schemas.microsoft.com/office/drawing/2014/main" id="{6205B73C-9FCD-D20A-B361-EF7A413848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ktangel: enkelt hjørne afrundet 5">
            <a:extLst>
              <a:ext uri="{FF2B5EF4-FFF2-40B4-BE49-F238E27FC236}">
                <a16:creationId xmlns:a16="http://schemas.microsoft.com/office/drawing/2014/main" id="{D38DE1BB-29E9-56DB-E284-8DAD2530B8B3}"/>
              </a:ext>
            </a:extLst>
          </p:cNvPr>
          <p:cNvSpPr/>
          <p:nvPr userDrawn="1"/>
        </p:nvSpPr>
        <p:spPr>
          <a:xfrm flipH="1">
            <a:off x="6096000" y="2098800"/>
            <a:ext cx="6096000" cy="4759200"/>
          </a:xfrm>
          <a:prstGeom prst="round1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432000" rIns="432000" bIns="720000" rtlCol="0" anchor="b" anchorCtr="0">
            <a:noAutofit/>
          </a:bodyPr>
          <a:lstStyle/>
          <a:p>
            <a:pPr>
              <a:lnSpc>
                <a:spcPct val="90000"/>
              </a:lnSpc>
            </a:pPr>
            <a:endParaRPr lang="da-DK" sz="1400" noProof="0">
              <a:solidFill>
                <a:schemeClr val="bg1"/>
              </a:solidFill>
              <a:latin typeface="Work Sans" pitchFamily="2" charset="0"/>
            </a:endParaRPr>
          </a:p>
        </p:txBody>
      </p:sp>
      <p:sp>
        <p:nvSpPr>
          <p:cNvPr id="3" name="Pladsholder til dato 2">
            <a:extLst>
              <a:ext uri="{FF2B5EF4-FFF2-40B4-BE49-F238E27FC236}">
                <a16:creationId xmlns:a16="http://schemas.microsoft.com/office/drawing/2014/main" id="{77889C3F-4CA2-1E96-FCD2-DEDE05E056FD}"/>
              </a:ext>
            </a:extLst>
          </p:cNvPr>
          <p:cNvSpPr>
            <a:spLocks noGrp="1"/>
          </p:cNvSpPr>
          <p:nvPr>
            <p:ph type="dt" sz="half" idx="10"/>
          </p:nvPr>
        </p:nvSpPr>
        <p:spPr/>
        <p:txBody>
          <a:bodyPr/>
          <a:lstStyle/>
          <a:p>
            <a:fld id="{D115D3A3-C809-4D07-98F4-357048036B5A}" type="datetime1">
              <a:rPr lang="da-DK" noProof="0" smtClean="0"/>
              <a:t>16-03-2026</a:t>
            </a:fld>
            <a:endParaRPr lang="da-DK" noProof="0"/>
          </a:p>
        </p:txBody>
      </p:sp>
      <p:sp>
        <p:nvSpPr>
          <p:cNvPr id="4" name="Pladsholder til slidenummer 3">
            <a:extLst>
              <a:ext uri="{FF2B5EF4-FFF2-40B4-BE49-F238E27FC236}">
                <a16:creationId xmlns:a16="http://schemas.microsoft.com/office/drawing/2014/main" id="{7D6FC41D-98BB-1029-A664-C24749662821}"/>
              </a:ext>
            </a:extLst>
          </p:cNvPr>
          <p:cNvSpPr>
            <a:spLocks noGrp="1"/>
          </p:cNvSpPr>
          <p:nvPr>
            <p:ph type="sldNum" sz="quarter" idx="11"/>
          </p:nvPr>
        </p:nvSpPr>
        <p:spPr/>
        <p:txBody>
          <a:bodyPr/>
          <a:lstStyle/>
          <a:p>
            <a:fld id="{FA9C6259-F55B-47A6-AB0B-9E9F0835A2F0}" type="slidenum">
              <a:rPr lang="da-DK" noProof="0" smtClean="0"/>
              <a:pPr/>
              <a:t>‹nr.›</a:t>
            </a:fld>
            <a:endParaRPr lang="da-DK" noProof="0"/>
          </a:p>
        </p:txBody>
      </p:sp>
      <p:sp>
        <p:nvSpPr>
          <p:cNvPr id="5" name="Pladsholder til sidefod 4">
            <a:extLst>
              <a:ext uri="{FF2B5EF4-FFF2-40B4-BE49-F238E27FC236}">
                <a16:creationId xmlns:a16="http://schemas.microsoft.com/office/drawing/2014/main" id="{30A20506-F69A-90C2-8DAF-E1A6B3D1DBB0}"/>
              </a:ext>
            </a:extLst>
          </p:cNvPr>
          <p:cNvSpPr>
            <a:spLocks noGrp="1"/>
          </p:cNvSpPr>
          <p:nvPr>
            <p:ph type="ftr" sz="quarter" idx="12"/>
          </p:nvPr>
        </p:nvSpPr>
        <p:spPr/>
        <p:txBody>
          <a:bodyPr/>
          <a:lstStyle/>
          <a:p>
            <a:endParaRPr lang="da-DK" noProof="0"/>
          </a:p>
        </p:txBody>
      </p:sp>
      <p:sp>
        <p:nvSpPr>
          <p:cNvPr id="7" name="Title 12">
            <a:extLst>
              <a:ext uri="{FF2B5EF4-FFF2-40B4-BE49-F238E27FC236}">
                <a16:creationId xmlns:a16="http://schemas.microsoft.com/office/drawing/2014/main" id="{67D4C4C4-E315-C8F4-F8FA-05712F77C57C}"/>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624641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agram 1">
    <p:spTree>
      <p:nvGrpSpPr>
        <p:cNvPr id="1" name=""/>
        <p:cNvGrpSpPr/>
        <p:nvPr/>
      </p:nvGrpSpPr>
      <p:grpSpPr>
        <a:xfrm>
          <a:off x="0" y="0"/>
          <a:ext cx="0" cy="0"/>
          <a:chOff x="0" y="0"/>
          <a:chExt cx="0" cy="0"/>
        </a:xfrm>
      </p:grpSpPr>
      <p:sp>
        <p:nvSpPr>
          <p:cNvPr id="7"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5152318" y="431800"/>
            <a:ext cx="6614556" cy="2664000"/>
          </a:xfrm>
        </p:spPr>
        <p:txBody>
          <a:bodyPr/>
          <a:lstStyle/>
          <a:p>
            <a:r>
              <a:rPr lang="da-DK" noProof="0"/>
              <a:t>Klik på ikonet for at tilføje et diagram</a:t>
            </a:r>
          </a:p>
        </p:txBody>
      </p:sp>
      <p:sp>
        <p:nvSpPr>
          <p:cNvPr id="6" name="Date Placeholder 5">
            <a:extLst>
              <a:ext uri="{FF2B5EF4-FFF2-40B4-BE49-F238E27FC236}">
                <a16:creationId xmlns:a16="http://schemas.microsoft.com/office/drawing/2014/main" id="{7ED0435C-DCD8-00E5-E76C-4CEB12F79B38}"/>
              </a:ext>
            </a:extLst>
          </p:cNvPr>
          <p:cNvSpPr>
            <a:spLocks noGrp="1"/>
          </p:cNvSpPr>
          <p:nvPr>
            <p:ph type="dt" sz="half" idx="15"/>
          </p:nvPr>
        </p:nvSpPr>
        <p:spPr/>
        <p:txBody>
          <a:bodyPr/>
          <a:lstStyle/>
          <a:p>
            <a:fld id="{11F4956B-844E-483D-8396-0AAF52DDCAA1}" type="datetime1">
              <a:rPr lang="da-DK" noProof="0" smtClean="0"/>
              <a:t>16-03-2026</a:t>
            </a:fld>
            <a:endParaRPr lang="da-DK" noProof="0"/>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noProof="0"/>
          </a:p>
        </p:txBody>
      </p:sp>
      <p:sp>
        <p:nvSpPr>
          <p:cNvPr id="9" name="Slide Number Placeholder 8">
            <a:extLst>
              <a:ext uri="{FF2B5EF4-FFF2-40B4-BE49-F238E27FC236}">
                <a16:creationId xmlns:a16="http://schemas.microsoft.com/office/drawing/2014/main" id="{79AD1462-A3E1-40E6-B2B0-CB733C384D90}"/>
              </a:ext>
            </a:extLst>
          </p:cNvPr>
          <p:cNvSpPr>
            <a:spLocks noGrp="1"/>
          </p:cNvSpPr>
          <p:nvPr>
            <p:ph type="sldNum" sz="quarter" idx="17"/>
          </p:nvPr>
        </p:nvSpPr>
        <p:spPr/>
        <p:txBody>
          <a:bodyPr/>
          <a:lstStyle/>
          <a:p>
            <a:fld id="{FA9C6259-F55B-47A6-AB0B-9E9F0835A2F0}" type="slidenum">
              <a:rPr lang="da-DK" noProof="0" smtClean="0"/>
              <a:pPr/>
              <a:t>‹nr.›</a:t>
            </a:fld>
            <a:endParaRPr lang="da-DK" noProof="0"/>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414750"/>
            <a:ext cx="3775076" cy="576000"/>
          </a:xfrm>
        </p:spPr>
        <p:txBody>
          <a:bodyPr lIns="0"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5" name="Pladsholder til diagram 6">
            <a:extLst>
              <a:ext uri="{FF2B5EF4-FFF2-40B4-BE49-F238E27FC236}">
                <a16:creationId xmlns:a16="http://schemas.microsoft.com/office/drawing/2014/main" id="{14D904DA-7A51-1AFE-8F7D-6D6101DB4105}"/>
              </a:ext>
            </a:extLst>
          </p:cNvPr>
          <p:cNvSpPr>
            <a:spLocks noGrp="1"/>
          </p:cNvSpPr>
          <p:nvPr>
            <p:ph type="chart" sz="quarter" idx="18"/>
          </p:nvPr>
        </p:nvSpPr>
        <p:spPr>
          <a:xfrm>
            <a:off x="5152319" y="3450754"/>
            <a:ext cx="6614556" cy="2664000"/>
          </a:xfrm>
        </p:spPr>
        <p:txBody>
          <a:bodyPr/>
          <a:lstStyle/>
          <a:p>
            <a:r>
              <a:rPr lang="da-DK" noProof="0"/>
              <a:t>Klik på ikonet for at tilføje et diagram</a:t>
            </a:r>
          </a:p>
        </p:txBody>
      </p:sp>
      <p:sp>
        <p:nvSpPr>
          <p:cNvPr id="4" name="Title 12">
            <a:extLst>
              <a:ext uri="{FF2B5EF4-FFF2-40B4-BE49-F238E27FC236}">
                <a16:creationId xmlns:a16="http://schemas.microsoft.com/office/drawing/2014/main" id="{EC366CA4-3D12-B1FA-C0F1-1146898E22AA}"/>
              </a:ext>
            </a:extLst>
          </p:cNvPr>
          <p:cNvSpPr>
            <a:spLocks noGrp="1"/>
          </p:cNvSpPr>
          <p:nvPr>
            <p:ph type="title" hasCustomPrompt="1"/>
          </p:nvPr>
        </p:nvSpPr>
        <p:spPr>
          <a:xfrm>
            <a:off x="431799" y="431800"/>
            <a:ext cx="3775075"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12663906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orside mellem foto">
    <p:bg>
      <p:bgRef idx="1001">
        <a:schemeClr val="bg2"/>
      </p:bgRef>
    </p:bg>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3E6CE99E-569B-9EF8-3E2C-E9703F108999}"/>
              </a:ext>
            </a:extLst>
          </p:cNvPr>
          <p:cNvSpPr>
            <a:spLocks noGrp="1"/>
          </p:cNvSpPr>
          <p:nvPr userDrawn="1">
            <p:ph type="dt" sz="half" idx="10"/>
          </p:nvPr>
        </p:nvSpPr>
        <p:spPr/>
        <p:txBody>
          <a:bodyPr/>
          <a:lstStyle/>
          <a:p>
            <a:fld id="{2C2F6B5C-F1A3-4A5F-8717-7A58E4CAAEBF}" type="datetime1">
              <a:rPr lang="da-DK" noProof="0" smtClean="0"/>
              <a:t>16-03-2026</a:t>
            </a:fld>
            <a:endParaRPr lang="da-DK" noProof="0"/>
          </a:p>
        </p:txBody>
      </p:sp>
      <p:sp>
        <p:nvSpPr>
          <p:cNvPr id="6" name="Footer Placeholder 5">
            <a:extLst>
              <a:ext uri="{FF2B5EF4-FFF2-40B4-BE49-F238E27FC236}">
                <a16:creationId xmlns:a16="http://schemas.microsoft.com/office/drawing/2014/main" id="{41944FA7-AAA6-D86F-6147-BF737C629904}"/>
              </a:ext>
            </a:extLst>
          </p:cNvPr>
          <p:cNvSpPr>
            <a:spLocks noGrp="1"/>
          </p:cNvSpPr>
          <p:nvPr userDrawn="1">
            <p:ph type="ftr" sz="quarter" idx="11"/>
          </p:nvPr>
        </p:nvSpPr>
        <p:spPr/>
        <p:txBody>
          <a:bodyPr/>
          <a:lstStyle/>
          <a:p>
            <a:endParaRPr lang="da-DK" noProof="0"/>
          </a:p>
        </p:txBody>
      </p:sp>
      <p:sp>
        <p:nvSpPr>
          <p:cNvPr id="7" name="Slide Number Placeholder 6">
            <a:extLst>
              <a:ext uri="{FF2B5EF4-FFF2-40B4-BE49-F238E27FC236}">
                <a16:creationId xmlns:a16="http://schemas.microsoft.com/office/drawing/2014/main" id="{CDB96B87-E1F8-B928-94D1-10C1C20F99FC}"/>
              </a:ext>
            </a:extLst>
          </p:cNvPr>
          <p:cNvSpPr>
            <a:spLocks noGrp="1"/>
          </p:cNvSpPr>
          <p:nvPr userDrawn="1">
            <p:ph type="sldNum" sz="quarter" idx="12"/>
          </p:nvPr>
        </p:nvSpPr>
        <p:spPr/>
        <p:txBody>
          <a:bodyPr/>
          <a:lstStyle/>
          <a:p>
            <a:fld id="{E32394A6-AED1-4B79-B4B6-933D748A7F18}" type="slidenum">
              <a:rPr lang="da-DK" noProof="0" smtClean="0"/>
              <a:t>‹nr.›</a:t>
            </a:fld>
            <a:endParaRPr lang="da-DK" noProof="0"/>
          </a:p>
        </p:txBody>
      </p:sp>
      <p:sp>
        <p:nvSpPr>
          <p:cNvPr id="15" name="Pladsholder til billede 14">
            <a:extLst>
              <a:ext uri="{FF2B5EF4-FFF2-40B4-BE49-F238E27FC236}">
                <a16:creationId xmlns:a16="http://schemas.microsoft.com/office/drawing/2014/main" id="{D4F0A874-BE77-EA98-4884-E920ADA15F98}"/>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r>
              <a:rPr lang="da-DK" noProof="0"/>
              <a:t>Klik på ikonet for at tilføje et billede</a:t>
            </a:r>
          </a:p>
        </p:txBody>
      </p:sp>
      <p:sp>
        <p:nvSpPr>
          <p:cNvPr id="10" name="Title 1">
            <a:extLst>
              <a:ext uri="{FF2B5EF4-FFF2-40B4-BE49-F238E27FC236}">
                <a16:creationId xmlns:a16="http://schemas.microsoft.com/office/drawing/2014/main" id="{4F7F7B28-3669-A985-CDFF-1D1034D69153}"/>
              </a:ext>
            </a:extLst>
          </p:cNvPr>
          <p:cNvSpPr>
            <a:spLocks noGrp="1"/>
          </p:cNvSpPr>
          <p:nvPr>
            <p:ph type="ctrTitle"/>
          </p:nvPr>
        </p:nvSpPr>
        <p:spPr>
          <a:xfrm>
            <a:off x="431799" y="2088000"/>
            <a:ext cx="7535864" cy="3456000"/>
          </a:xfrm>
          <a:prstGeom prst="rect">
            <a:avLst/>
          </a:prstGeom>
        </p:spPr>
        <p:txBody>
          <a:bodyPr anchor="b">
            <a:noAutofit/>
          </a:bodyPr>
          <a:lstStyle>
            <a:lvl1pPr algn="l">
              <a:defRPr sz="4800"/>
            </a:lvl1pPr>
          </a:lstStyle>
          <a:p>
            <a:r>
              <a:rPr lang="da-DK" noProof="0"/>
              <a:t>Klik for at redigere titeltypografien i masteren</a:t>
            </a:r>
          </a:p>
        </p:txBody>
      </p:sp>
      <p:sp>
        <p:nvSpPr>
          <p:cNvPr id="2" name="Subtitle 2">
            <a:extLst>
              <a:ext uri="{FF2B5EF4-FFF2-40B4-BE49-F238E27FC236}">
                <a16:creationId xmlns:a16="http://schemas.microsoft.com/office/drawing/2014/main" id="{DA5B75DC-64B3-F2AC-CB73-2BDE14D81F6B}"/>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38FFD4DE-7414-97A0-A23B-0BF452ECA41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342014513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agram 2">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7ED0435C-DCD8-00E5-E76C-4CEB12F79B38}"/>
              </a:ext>
            </a:extLst>
          </p:cNvPr>
          <p:cNvSpPr>
            <a:spLocks noGrp="1"/>
          </p:cNvSpPr>
          <p:nvPr>
            <p:ph type="dt" sz="half" idx="15"/>
          </p:nvPr>
        </p:nvSpPr>
        <p:spPr/>
        <p:txBody>
          <a:bodyPr/>
          <a:lstStyle/>
          <a:p>
            <a:fld id="{2627680D-DD83-4836-9FA9-97A4B943DC33}" type="datetime1">
              <a:rPr lang="da-DK" noProof="0" smtClean="0"/>
              <a:t>16-03-2026</a:t>
            </a:fld>
            <a:endParaRPr lang="da-DK" noProof="0"/>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noProof="0"/>
          </a:p>
        </p:txBody>
      </p:sp>
      <p:sp>
        <p:nvSpPr>
          <p:cNvPr id="9" name="Slide Number Placeholder 8">
            <a:extLst>
              <a:ext uri="{FF2B5EF4-FFF2-40B4-BE49-F238E27FC236}">
                <a16:creationId xmlns:a16="http://schemas.microsoft.com/office/drawing/2014/main" id="{79AD1462-A3E1-40E6-B2B0-CB733C384D90}"/>
              </a:ext>
            </a:extLst>
          </p:cNvPr>
          <p:cNvSpPr>
            <a:spLocks noGrp="1"/>
          </p:cNvSpPr>
          <p:nvPr>
            <p:ph type="sldNum" sz="quarter" idx="17"/>
          </p:nvPr>
        </p:nvSpPr>
        <p:spPr/>
        <p:txBody>
          <a:bodyPr/>
          <a:lstStyle/>
          <a:p>
            <a:fld id="{FA9C6259-F55B-47A6-AB0B-9E9F0835A2F0}" type="slidenum">
              <a:rPr lang="da-DK" noProof="0" smtClean="0"/>
              <a:pPr/>
              <a:t>‹nr.›</a:t>
            </a:fld>
            <a:endParaRPr lang="da-DK" noProof="0"/>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4" name="Title 12">
            <a:extLst>
              <a:ext uri="{FF2B5EF4-FFF2-40B4-BE49-F238E27FC236}">
                <a16:creationId xmlns:a16="http://schemas.microsoft.com/office/drawing/2014/main" id="{271B2AA6-E7C2-D7D1-1979-13246170887D}"/>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5"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431798" y="2026507"/>
            <a:ext cx="11326813" cy="4101806"/>
          </a:xfrm>
        </p:spPr>
        <p:txBody>
          <a:bodyPr/>
          <a:lstStyle/>
          <a:p>
            <a:r>
              <a:rPr lang="da-DK" noProof="0"/>
              <a:t>Klik på ikonet for at tilføje et diagram</a:t>
            </a:r>
          </a:p>
        </p:txBody>
      </p:sp>
    </p:spTree>
    <p:extLst>
      <p:ext uri="{BB962C8B-B14F-4D97-AF65-F5344CB8AC3E}">
        <p14:creationId xmlns:p14="http://schemas.microsoft.com/office/powerpoint/2010/main" val="299843859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 undertitel">
    <p:bg>
      <p:bgPr>
        <a:solidFill>
          <a:schemeClr val="bg1"/>
        </a:solidFill>
        <a:effectLst/>
      </p:bgPr>
    </p:bg>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28FAA754-24BD-1A67-A780-7D8496CEC1D2}"/>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2" name="Date Placeholder 1">
            <a:extLst>
              <a:ext uri="{FF2B5EF4-FFF2-40B4-BE49-F238E27FC236}">
                <a16:creationId xmlns:a16="http://schemas.microsoft.com/office/drawing/2014/main" id="{1D2DB66E-02E7-2A8D-D03B-3C00E434A96C}"/>
              </a:ext>
            </a:extLst>
          </p:cNvPr>
          <p:cNvSpPr>
            <a:spLocks noGrp="1"/>
          </p:cNvSpPr>
          <p:nvPr>
            <p:ph type="dt" sz="half" idx="10"/>
          </p:nvPr>
        </p:nvSpPr>
        <p:spPr/>
        <p:txBody>
          <a:bodyPr/>
          <a:lstStyle/>
          <a:p>
            <a:fld id="{DCCF473D-A87A-4691-B604-2C98C6FA2A29}" type="datetime1">
              <a:rPr lang="da-DK" noProof="0" smtClean="0"/>
              <a:t>16-03-2026</a:t>
            </a:fld>
            <a:endParaRPr lang="da-DK" noProof="0"/>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noProof="0"/>
          </a:p>
        </p:txBody>
      </p:sp>
      <p:sp>
        <p:nvSpPr>
          <p:cNvPr id="4" name="Slide Number Placeholder 3">
            <a:extLst>
              <a:ext uri="{FF2B5EF4-FFF2-40B4-BE49-F238E27FC236}">
                <a16:creationId xmlns:a16="http://schemas.microsoft.com/office/drawing/2014/main" id="{C7A84AD7-DEB8-76C1-8311-45C672833B54}"/>
              </a:ext>
            </a:extLst>
          </p:cNvPr>
          <p:cNvSpPr>
            <a:spLocks noGrp="1"/>
          </p:cNvSpPr>
          <p:nvPr>
            <p:ph type="sldNum" sz="quarter" idx="12"/>
          </p:nvPr>
        </p:nvSpPr>
        <p:spPr/>
        <p:txBody>
          <a:bodyPr/>
          <a:lstStyle/>
          <a:p>
            <a:fld id="{FA9C6259-F55B-47A6-AB0B-9E9F0835A2F0}" type="slidenum">
              <a:rPr lang="da-DK" noProof="0" smtClean="0"/>
              <a:pPr/>
              <a:t>‹nr.›</a:t>
            </a:fld>
            <a:endParaRPr lang="da-DK" noProof="0"/>
          </a:p>
        </p:txBody>
      </p:sp>
      <p:sp>
        <p:nvSpPr>
          <p:cNvPr id="5" name="Title 12">
            <a:extLst>
              <a:ext uri="{FF2B5EF4-FFF2-40B4-BE49-F238E27FC236}">
                <a16:creationId xmlns:a16="http://schemas.microsoft.com/office/drawing/2014/main" id="{46E026C3-3A91-E1B9-412C-1A5EC27E9BD4}"/>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137973093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Kun titel ">
    <p:bg>
      <p:bgPr>
        <a:solidFill>
          <a:schemeClr val="bg1"/>
        </a:solidFill>
        <a:effectLst/>
      </p:bgPr>
    </p:bg>
    <p:spTree>
      <p:nvGrpSpPr>
        <p:cNvPr id="1" name=""/>
        <p:cNvGrpSpPr/>
        <p:nvPr/>
      </p:nvGrpSpPr>
      <p:grpSpPr>
        <a:xfrm>
          <a:off x="0" y="0"/>
          <a:ext cx="0" cy="0"/>
          <a:chOff x="0" y="0"/>
          <a:chExt cx="0" cy="0"/>
        </a:xfrm>
      </p:grpSpPr>
      <p:sp>
        <p:nvSpPr>
          <p:cNvPr id="13" name="Titel 1">
            <a:extLst>
              <a:ext uri="{FF2B5EF4-FFF2-40B4-BE49-F238E27FC236}">
                <a16:creationId xmlns:a16="http://schemas.microsoft.com/office/drawing/2014/main" id="{9833738D-1655-2E01-2D96-CF62BAEF1D8B}"/>
              </a:ext>
            </a:extLst>
          </p:cNvPr>
          <p:cNvSpPr>
            <a:spLocks noGrp="1"/>
          </p:cNvSpPr>
          <p:nvPr>
            <p:ph type="title" hasCustomPrompt="1"/>
          </p:nvPr>
        </p:nvSpPr>
        <p:spPr>
          <a:xfrm>
            <a:off x="1343025" y="3429000"/>
            <a:ext cx="10415588" cy="2700338"/>
          </a:xfrm>
          <a:prstGeom prst="rect">
            <a:avLst/>
          </a:prstGeom>
        </p:spPr>
        <p:txBody>
          <a:bodyPr>
            <a:noAutofit/>
          </a:bodyPr>
          <a:lstStyle>
            <a:lvl1pPr>
              <a:defRPr sz="4800"/>
            </a:lvl1pPr>
          </a:lstStyle>
          <a:p>
            <a:r>
              <a:rPr lang="da-DK" noProof="0"/>
              <a:t>Klik for at redigere titeltypografien i masteren </a:t>
            </a:r>
          </a:p>
        </p:txBody>
      </p:sp>
      <p:sp>
        <p:nvSpPr>
          <p:cNvPr id="2" name="Date Placeholder 1">
            <a:extLst>
              <a:ext uri="{FF2B5EF4-FFF2-40B4-BE49-F238E27FC236}">
                <a16:creationId xmlns:a16="http://schemas.microsoft.com/office/drawing/2014/main" id="{1D2DB66E-02E7-2A8D-D03B-3C00E434A96C}"/>
              </a:ext>
            </a:extLst>
          </p:cNvPr>
          <p:cNvSpPr>
            <a:spLocks noGrp="1"/>
          </p:cNvSpPr>
          <p:nvPr>
            <p:ph type="dt" sz="half" idx="10"/>
          </p:nvPr>
        </p:nvSpPr>
        <p:spPr/>
        <p:txBody>
          <a:bodyPr/>
          <a:lstStyle/>
          <a:p>
            <a:fld id="{3ABF8C8A-17EE-4F10-80AA-CB4F8B096969}" type="datetime1">
              <a:rPr lang="da-DK" noProof="0" smtClean="0"/>
              <a:t>16-03-2026</a:t>
            </a:fld>
            <a:endParaRPr lang="da-DK" noProof="0"/>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noProof="0"/>
          </a:p>
        </p:txBody>
      </p:sp>
      <p:sp>
        <p:nvSpPr>
          <p:cNvPr id="4" name="Slide Number Placeholder 3">
            <a:extLst>
              <a:ext uri="{FF2B5EF4-FFF2-40B4-BE49-F238E27FC236}">
                <a16:creationId xmlns:a16="http://schemas.microsoft.com/office/drawing/2014/main" id="{C7A84AD7-DEB8-76C1-8311-45C672833B54}"/>
              </a:ext>
            </a:extLst>
          </p:cNvPr>
          <p:cNvSpPr>
            <a:spLocks noGrp="1"/>
          </p:cNvSpPr>
          <p:nvPr>
            <p:ph type="sldNum" sz="quarter" idx="12"/>
          </p:nvPr>
        </p:nvSpPr>
        <p:spPr/>
        <p:txBody>
          <a:bodyPr/>
          <a:lstStyle/>
          <a:p>
            <a:fld id="{FA9C6259-F55B-47A6-AB0B-9E9F0835A2F0}" type="slidenum">
              <a:rPr lang="da-DK" noProof="0" smtClean="0"/>
              <a:pPr/>
              <a:t>‹nr.›</a:t>
            </a:fld>
            <a:endParaRPr lang="da-DK" noProof="0"/>
          </a:p>
        </p:txBody>
      </p:sp>
    </p:spTree>
    <p:extLst>
      <p:ext uri="{BB962C8B-B14F-4D97-AF65-F5344CB8AC3E}">
        <p14:creationId xmlns:p14="http://schemas.microsoft.com/office/powerpoint/2010/main" val="202427670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Konklusion/sidste side">
    <p:bg>
      <p:bgPr>
        <a:solidFill>
          <a:schemeClr val="bg1"/>
        </a:solidFill>
        <a:effectLst/>
      </p:bgPr>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5499103" y="431800"/>
            <a:ext cx="7920000" cy="792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7038975" y="2457338"/>
            <a:ext cx="4719638" cy="2160000"/>
          </a:xfrm>
          <a:prstGeom prst="rect">
            <a:avLst/>
          </a:prstGeom>
        </p:spPr>
        <p:txBody>
          <a:bodyPr anchor="b">
            <a:noAutofit/>
          </a:bodyPr>
          <a:lstStyle>
            <a:lvl1pPr algn="l">
              <a:defRPr sz="4800"/>
            </a:lvl1pPr>
          </a:lstStyle>
          <a:p>
            <a:r>
              <a:rPr lang="da-DK" noProof="0"/>
              <a:t>Klik for at redigere titeltypografien i masteren</a:t>
            </a:r>
          </a:p>
        </p:txBody>
      </p:sp>
      <p:sp>
        <p:nvSpPr>
          <p:cNvPr id="4" name="Date Placeholder 3">
            <a:extLst>
              <a:ext uri="{FF2B5EF4-FFF2-40B4-BE49-F238E27FC236}">
                <a16:creationId xmlns:a16="http://schemas.microsoft.com/office/drawing/2014/main" id="{4C4CE7D8-6EC0-2491-8806-3C1E5919B56A}"/>
              </a:ext>
            </a:extLst>
          </p:cNvPr>
          <p:cNvSpPr>
            <a:spLocks noGrp="1"/>
          </p:cNvSpPr>
          <p:nvPr>
            <p:ph type="dt" sz="half" idx="10"/>
          </p:nvPr>
        </p:nvSpPr>
        <p:spPr/>
        <p:txBody>
          <a:bodyPr/>
          <a:lstStyle/>
          <a:p>
            <a:fld id="{F479E343-641A-46FC-9968-EBC45DF8115A}" type="datetime1">
              <a:rPr lang="da-DK" noProof="0" smtClean="0"/>
              <a:t>16-03-2026</a:t>
            </a:fld>
            <a:endParaRPr lang="da-DK" noProof="0"/>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DEDDE538-0CB7-902A-4AB4-ACEC925EBE81}"/>
              </a:ext>
            </a:extLst>
          </p:cNvPr>
          <p:cNvSpPr>
            <a:spLocks noGrp="1"/>
          </p:cNvSpPr>
          <p:nvPr>
            <p:ph type="sldNum" sz="quarter" idx="12"/>
          </p:nvPr>
        </p:nvSpPr>
        <p:spPr/>
        <p:txBody>
          <a:bodyPr/>
          <a:lstStyle/>
          <a:p>
            <a:fld id="{FA9C6259-F55B-47A6-AB0B-9E9F0835A2F0}" type="slidenum">
              <a:rPr lang="da-DK" noProof="0" smtClean="0"/>
              <a:pPr/>
              <a:t>‹nr.›</a:t>
            </a:fld>
            <a:endParaRPr lang="da-DK" noProof="0"/>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7038976" y="4617338"/>
            <a:ext cx="4719638" cy="1512000"/>
          </a:xfrm>
        </p:spPr>
        <p:txBody>
          <a:bodyPr lIns="36000" anchor="t">
            <a:noAutofit/>
          </a:bodyPr>
          <a:lstStyle>
            <a:lvl1pPr marL="342900" indent="-342900" algn="l">
              <a:lnSpc>
                <a:spcPct val="120000"/>
              </a:lnSpc>
              <a:spcBef>
                <a:spcPts val="0"/>
              </a:spcBef>
              <a:buFont typeface="+mj-lt"/>
              <a:buAutoNum type="arabicPeriod"/>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B706AD55-435D-6AC1-C02A-509C8CC7669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247194675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44FE01F-05B3-141E-3A3D-047B8BE685C2}"/>
              </a:ext>
            </a:extLst>
          </p:cNvPr>
          <p:cNvSpPr>
            <a:spLocks noGrp="1"/>
          </p:cNvSpPr>
          <p:nvPr>
            <p:ph type="dt" sz="half" idx="10"/>
          </p:nvPr>
        </p:nvSpPr>
        <p:spPr/>
        <p:txBody>
          <a:bodyPr/>
          <a:lstStyle/>
          <a:p>
            <a:fld id="{A5B0D015-8BA4-463B-B0AB-FE92B81873B9}" type="datetime1">
              <a:rPr lang="da-DK" noProof="0" smtClean="0"/>
              <a:t>16-03-2026</a:t>
            </a:fld>
            <a:endParaRPr lang="da-DK" noProof="0"/>
          </a:p>
        </p:txBody>
      </p:sp>
      <p:sp>
        <p:nvSpPr>
          <p:cNvPr id="6" name="Footer Placeholder 5">
            <a:extLst>
              <a:ext uri="{FF2B5EF4-FFF2-40B4-BE49-F238E27FC236}">
                <a16:creationId xmlns:a16="http://schemas.microsoft.com/office/drawing/2014/main" id="{3090F1F2-3AE0-677B-B191-BA5C5084BA79}"/>
              </a:ext>
            </a:extLst>
          </p:cNvPr>
          <p:cNvSpPr>
            <a:spLocks noGrp="1"/>
          </p:cNvSpPr>
          <p:nvPr>
            <p:ph type="ftr" sz="quarter" idx="11"/>
          </p:nvPr>
        </p:nvSpPr>
        <p:spPr/>
        <p:txBody>
          <a:bodyPr/>
          <a:lstStyle/>
          <a:p>
            <a:endParaRPr lang="da-DK" noProof="0"/>
          </a:p>
        </p:txBody>
      </p:sp>
      <p:sp>
        <p:nvSpPr>
          <p:cNvPr id="7" name="Slide Number Placeholder 6">
            <a:extLst>
              <a:ext uri="{FF2B5EF4-FFF2-40B4-BE49-F238E27FC236}">
                <a16:creationId xmlns:a16="http://schemas.microsoft.com/office/drawing/2014/main" id="{CC039739-61FF-0729-466D-1BA3D0939D16}"/>
              </a:ext>
            </a:extLst>
          </p:cNvPr>
          <p:cNvSpPr>
            <a:spLocks noGrp="1"/>
          </p:cNvSpPr>
          <p:nvPr>
            <p:ph type="sldNum" sz="quarter" idx="12"/>
          </p:nvPr>
        </p:nvSpPr>
        <p:spPr/>
        <p:txBody>
          <a:bodyPr/>
          <a:lstStyle/>
          <a:p>
            <a:fld id="{FA9C6259-F55B-47A6-AB0B-9E9F0835A2F0}" type="slidenum">
              <a:rPr lang="da-DK" noProof="0" smtClean="0"/>
              <a:pPr/>
              <a:t>‹nr.›</a:t>
            </a:fld>
            <a:endParaRPr lang="da-DK" noProof="0"/>
          </a:p>
        </p:txBody>
      </p:sp>
    </p:spTree>
    <p:extLst>
      <p:ext uri="{BB962C8B-B14F-4D97-AF65-F5344CB8AC3E}">
        <p14:creationId xmlns:p14="http://schemas.microsoft.com/office/powerpoint/2010/main" val="154803061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bg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B39A03-0C51-0B8A-9E8B-8E35B30E26EF}"/>
              </a:ext>
            </a:extLst>
          </p:cNvPr>
          <p:cNvSpPr>
            <a:spLocks noGrp="1"/>
          </p:cNvSpPr>
          <p:nvPr>
            <p:ph type="dt" sz="half" idx="10"/>
          </p:nvPr>
        </p:nvSpPr>
        <p:spPr/>
        <p:txBody>
          <a:bodyPr/>
          <a:lstStyle/>
          <a:p>
            <a:fld id="{815397AD-7000-49B6-A0DA-AD239289F06F}" type="datetime1">
              <a:rPr lang="da-DK" noProof="0" smtClean="0"/>
              <a:t>16-03-2026</a:t>
            </a:fld>
            <a:endParaRPr lang="da-DK" noProof="0"/>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AF52A892-3C3A-81B2-F030-F5D87B444B7F}"/>
              </a:ext>
            </a:extLst>
          </p:cNvPr>
          <p:cNvSpPr>
            <a:spLocks noGrp="1"/>
          </p:cNvSpPr>
          <p:nvPr>
            <p:ph type="sldNum" sz="quarter" idx="12"/>
          </p:nvPr>
        </p:nvSpPr>
        <p:spPr/>
        <p:txBody>
          <a:bodyPr/>
          <a:lstStyle/>
          <a:p>
            <a:fld id="{FA9C6259-F55B-47A6-AB0B-9E9F0835A2F0}" type="slidenum">
              <a:rPr lang="da-DK" noProof="0" smtClean="0"/>
              <a:pPr/>
              <a:t>‹nr.›</a:t>
            </a:fld>
            <a:endParaRPr lang="da-DK" noProof="0"/>
          </a:p>
        </p:txBody>
      </p:sp>
      <p:sp>
        <p:nvSpPr>
          <p:cNvPr id="3" name="Subtitle 2">
            <a:extLst>
              <a:ext uri="{FF2B5EF4-FFF2-40B4-BE49-F238E27FC236}">
                <a16:creationId xmlns:a16="http://schemas.microsoft.com/office/drawing/2014/main" id="{48194491-1241-453F-7501-6382C4C29CA4}"/>
              </a:ext>
            </a:extLst>
          </p:cNvPr>
          <p:cNvSpPr>
            <a:spLocks noGrp="1"/>
          </p:cNvSpPr>
          <p:nvPr>
            <p:ph type="subTitle" idx="1"/>
          </p:nvPr>
        </p:nvSpPr>
        <p:spPr>
          <a:xfrm>
            <a:off x="431798" y="1656000"/>
            <a:ext cx="11326815" cy="4473338"/>
          </a:xfrm>
        </p:spPr>
        <p:txBody>
          <a:bodyPr numCol="3" spcCol="144000" anchor="t">
            <a:noAutofit/>
          </a:bodyPr>
          <a:lstStyle>
            <a:lvl1pPr marL="0" indent="0" algn="l">
              <a:lnSpc>
                <a:spcPct val="120000"/>
              </a:lnSpc>
              <a:spcBef>
                <a:spcPts val="0"/>
              </a:spcBef>
              <a:buFont typeface="Arial" panose="020B0604020202020204" pitchFamily="34" charset="0"/>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5" name="Title 12">
            <a:extLst>
              <a:ext uri="{FF2B5EF4-FFF2-40B4-BE49-F238E27FC236}">
                <a16:creationId xmlns:a16="http://schemas.microsoft.com/office/drawing/2014/main" id="{FDAF7E88-9764-D25E-F5F5-32CDA064F806}"/>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222040867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vid baggrund">
    <p:bg>
      <p:bgPr>
        <a:solidFill>
          <a:srgbClr val="FFFFFF"/>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2BDC76B8-60F6-62D3-9F73-E81662203017}"/>
              </a:ext>
            </a:extLst>
          </p:cNvPr>
          <p:cNvSpPr>
            <a:spLocks noGrp="1"/>
          </p:cNvSpPr>
          <p:nvPr userDrawn="1">
            <p:ph type="subTitle" idx="1"/>
          </p:nvPr>
        </p:nvSpPr>
        <p:spPr>
          <a:xfrm>
            <a:off x="431798" y="1656000"/>
            <a:ext cx="11326815" cy="4473338"/>
          </a:xfrm>
        </p:spPr>
        <p:txBody>
          <a:bodyPr numCol="3" spcCol="144000" anchor="t">
            <a:noAutofit/>
          </a:bodyPr>
          <a:lstStyle>
            <a:lvl1pPr marL="0" indent="0" algn="l">
              <a:lnSpc>
                <a:spcPct val="120000"/>
              </a:lnSpc>
              <a:spcBef>
                <a:spcPts val="0"/>
              </a:spcBef>
              <a:buFont typeface="Arial" panose="020B0604020202020204" pitchFamily="34" charset="0"/>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2" name="Date Placeholder 1">
            <a:extLst>
              <a:ext uri="{FF2B5EF4-FFF2-40B4-BE49-F238E27FC236}">
                <a16:creationId xmlns:a16="http://schemas.microsoft.com/office/drawing/2014/main" id="{82B39A03-0C51-0B8A-9E8B-8E35B30E26EF}"/>
              </a:ext>
            </a:extLst>
          </p:cNvPr>
          <p:cNvSpPr>
            <a:spLocks noGrp="1"/>
          </p:cNvSpPr>
          <p:nvPr>
            <p:ph type="dt" sz="half" idx="10"/>
          </p:nvPr>
        </p:nvSpPr>
        <p:spPr/>
        <p:txBody>
          <a:bodyPr/>
          <a:lstStyle/>
          <a:p>
            <a:fld id="{B3B9B20F-1EC2-4BC1-8CBC-6B9A0DDF5DCA}" type="datetime1">
              <a:rPr lang="da-DK" noProof="0" smtClean="0"/>
              <a:t>16-03-2026</a:t>
            </a:fld>
            <a:endParaRPr lang="da-DK" noProof="0"/>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AF52A892-3C3A-81B2-F030-F5D87B444B7F}"/>
              </a:ext>
            </a:extLst>
          </p:cNvPr>
          <p:cNvSpPr>
            <a:spLocks noGrp="1"/>
          </p:cNvSpPr>
          <p:nvPr>
            <p:ph type="sldNum" sz="quarter" idx="12"/>
          </p:nvPr>
        </p:nvSpPr>
        <p:spPr/>
        <p:txBody>
          <a:bodyPr/>
          <a:lstStyle/>
          <a:p>
            <a:fld id="{FA9C6259-F55B-47A6-AB0B-9E9F0835A2F0}" type="slidenum">
              <a:rPr lang="da-DK" noProof="0" smtClean="0"/>
              <a:pPr/>
              <a:t>‹nr.›</a:t>
            </a:fld>
            <a:endParaRPr lang="da-DK" noProof="0"/>
          </a:p>
        </p:txBody>
      </p:sp>
      <p:sp>
        <p:nvSpPr>
          <p:cNvPr id="5" name="Title 12">
            <a:extLst>
              <a:ext uri="{FF2B5EF4-FFF2-40B4-BE49-F238E27FC236}">
                <a16:creationId xmlns:a16="http://schemas.microsoft.com/office/drawing/2014/main" id="{F5D34E66-28FF-1EF0-A52B-001830E65E89}"/>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284392934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orside stort foto">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5151438" y="3305251"/>
            <a:ext cx="4320000" cy="432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13" name="Pladsholder til billede 12">
            <a:extLst>
              <a:ext uri="{FF2B5EF4-FFF2-40B4-BE49-F238E27FC236}">
                <a16:creationId xmlns:a16="http://schemas.microsoft.com/office/drawing/2014/main" id="{B4BB3258-0B60-1552-4805-6DF2745AB181}"/>
              </a:ext>
            </a:extLst>
          </p:cNvPr>
          <p:cNvSpPr>
            <a:spLocks noGrp="1"/>
          </p:cNvSpPr>
          <p:nvPr>
            <p:ph type="pic" sz="quarter" idx="14"/>
          </p:nvPr>
        </p:nvSpPr>
        <p:spPr>
          <a:xfrm>
            <a:off x="6431999" y="766"/>
            <a:ext cx="5760000" cy="5759234"/>
          </a:xfrm>
          <a:custGeom>
            <a:avLst/>
            <a:gdLst>
              <a:gd name="connsiteX0" fmla="*/ 246529 w 5760000"/>
              <a:gd name="connsiteY0" fmla="*/ 0 h 5759234"/>
              <a:gd name="connsiteX1" fmla="*/ 5760000 w 5760000"/>
              <a:gd name="connsiteY1" fmla="*/ 0 h 5759234"/>
              <a:gd name="connsiteX2" fmla="*/ 5760000 w 5760000"/>
              <a:gd name="connsiteY2" fmla="*/ 5512446 h 5759234"/>
              <a:gd name="connsiteX3" fmla="*/ 5604636 w 5760000"/>
              <a:gd name="connsiteY3" fmla="*/ 5565016 h 5759234"/>
              <a:gd name="connsiteX4" fmla="*/ 4320000 w 5760000"/>
              <a:gd name="connsiteY4" fmla="*/ 5759234 h 5759234"/>
              <a:gd name="connsiteX5" fmla="*/ 0 w 5760000"/>
              <a:gd name="connsiteY5" fmla="*/ 1439234 h 5759234"/>
              <a:gd name="connsiteX6" fmla="*/ 194219 w 5760000"/>
              <a:gd name="connsiteY6" fmla="*/ 154598 h 5759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60000" h="5759234">
                <a:moveTo>
                  <a:pt x="246529" y="0"/>
                </a:moveTo>
                <a:lnTo>
                  <a:pt x="5760000" y="0"/>
                </a:lnTo>
                <a:lnTo>
                  <a:pt x="5760000" y="5512446"/>
                </a:lnTo>
                <a:lnTo>
                  <a:pt x="5604636" y="5565016"/>
                </a:lnTo>
                <a:cubicBezTo>
                  <a:pt x="5198820" y="5691238"/>
                  <a:pt x="4767351" y="5759234"/>
                  <a:pt x="4320000" y="5759234"/>
                </a:cubicBezTo>
                <a:cubicBezTo>
                  <a:pt x="1934130" y="5759234"/>
                  <a:pt x="0" y="3825104"/>
                  <a:pt x="0" y="1439234"/>
                </a:cubicBezTo>
                <a:cubicBezTo>
                  <a:pt x="0" y="991884"/>
                  <a:pt x="67997" y="560414"/>
                  <a:pt x="194219" y="154598"/>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a:noAutofit/>
          </a:bodyPr>
          <a:lstStyle/>
          <a:p>
            <a:endParaRPr lang="da-DK" noProof="0"/>
          </a:p>
        </p:txBody>
      </p:sp>
      <p:sp>
        <p:nvSpPr>
          <p:cNvPr id="10" name="Title 1">
            <a:extLst>
              <a:ext uri="{FF2B5EF4-FFF2-40B4-BE49-F238E27FC236}">
                <a16:creationId xmlns:a16="http://schemas.microsoft.com/office/drawing/2014/main" id="{C34E04C9-69D3-EB50-5ED9-9026462005DA}"/>
              </a:ext>
            </a:extLst>
          </p:cNvPr>
          <p:cNvSpPr>
            <a:spLocks noGrp="1"/>
          </p:cNvSpPr>
          <p:nvPr>
            <p:ph type="ctrTitle"/>
          </p:nvPr>
        </p:nvSpPr>
        <p:spPr>
          <a:xfrm>
            <a:off x="431799" y="2088000"/>
            <a:ext cx="7535864" cy="3456000"/>
          </a:xfrm>
        </p:spPr>
        <p:txBody>
          <a:bodyPr anchor="b">
            <a:noAutofit/>
          </a:bodyPr>
          <a:lstStyle>
            <a:lvl1pPr algn="l">
              <a:defRPr sz="4800" b="0" i="0">
                <a:latin typeface="Work Sans Light" pitchFamily="2" charset="77"/>
              </a:defRPr>
            </a:lvl1pPr>
          </a:lstStyle>
          <a:p>
            <a:r>
              <a:rPr lang="da-DK" noProof="0" err="1"/>
              <a:t>Click</a:t>
            </a:r>
            <a:r>
              <a:rPr lang="da-DK" noProof="0"/>
              <a:t> to </a:t>
            </a:r>
            <a:r>
              <a:rPr lang="da-DK" noProof="0" err="1"/>
              <a:t>edit</a:t>
            </a:r>
            <a:r>
              <a:rPr lang="da-DK" noProof="0"/>
              <a:t> Master </a:t>
            </a:r>
            <a:r>
              <a:rPr lang="da-DK" noProof="0" err="1"/>
              <a:t>title</a:t>
            </a:r>
            <a:r>
              <a:rPr lang="da-DK" noProof="0"/>
              <a:t> style</a:t>
            </a:r>
          </a:p>
        </p:txBody>
      </p:sp>
      <p:sp>
        <p:nvSpPr>
          <p:cNvPr id="18" name="Footer Placeholder 17">
            <a:extLst>
              <a:ext uri="{FF2B5EF4-FFF2-40B4-BE49-F238E27FC236}">
                <a16:creationId xmlns:a16="http://schemas.microsoft.com/office/drawing/2014/main" id="{0EB72483-46D8-AF30-C0D9-889B0ECCCC92}"/>
              </a:ext>
            </a:extLst>
          </p:cNvPr>
          <p:cNvSpPr>
            <a:spLocks noGrp="1"/>
          </p:cNvSpPr>
          <p:nvPr>
            <p:ph type="ftr" sz="quarter" idx="16"/>
          </p:nvPr>
        </p:nvSpPr>
        <p:spPr/>
        <p:txBody>
          <a:bodyPr/>
          <a:lstStyle/>
          <a:p>
            <a:endParaRPr lang="da-DK" noProof="0"/>
          </a:p>
        </p:txBody>
      </p:sp>
      <p:sp>
        <p:nvSpPr>
          <p:cNvPr id="2" name="Subtitle 2">
            <a:extLst>
              <a:ext uri="{FF2B5EF4-FFF2-40B4-BE49-F238E27FC236}">
                <a16:creationId xmlns:a16="http://schemas.microsoft.com/office/drawing/2014/main" id="{EA0C4E0F-96AB-1CC4-4CA1-F997F4CD40A1}"/>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pic>
        <p:nvPicPr>
          <p:cNvPr id="4" name="Graphic 3">
            <a:extLst>
              <a:ext uri="{FF2B5EF4-FFF2-40B4-BE49-F238E27FC236}">
                <a16:creationId xmlns:a16="http://schemas.microsoft.com/office/drawing/2014/main" id="{39D4A5DC-CCA9-9442-65B1-14B23574D71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29600"/>
            <a:ext cx="1435201" cy="144000"/>
          </a:xfrm>
          <a:prstGeom prst="rect">
            <a:avLst/>
          </a:prstGeom>
        </p:spPr>
      </p:pic>
      <p:sp>
        <p:nvSpPr>
          <p:cNvPr id="3" name="Date Placeholder 3">
            <a:extLst>
              <a:ext uri="{FF2B5EF4-FFF2-40B4-BE49-F238E27FC236}">
                <a16:creationId xmlns:a16="http://schemas.microsoft.com/office/drawing/2014/main" id="{2A6CDFBD-D35D-7351-AD4D-221B1F6E5F2B}"/>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6-03-2026</a:t>
            </a:fld>
            <a:endParaRPr lang="da-DK"/>
          </a:p>
        </p:txBody>
      </p:sp>
      <p:sp>
        <p:nvSpPr>
          <p:cNvPr id="5" name="Slide Number Placeholder 5">
            <a:extLst>
              <a:ext uri="{FF2B5EF4-FFF2-40B4-BE49-F238E27FC236}">
                <a16:creationId xmlns:a16="http://schemas.microsoft.com/office/drawing/2014/main" id="{25E050D3-615D-7D97-7834-A381561A31D8}"/>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a:p>
        </p:txBody>
      </p:sp>
    </p:spTree>
    <p:extLst>
      <p:ext uri="{BB962C8B-B14F-4D97-AF65-F5344CB8AC3E}">
        <p14:creationId xmlns:p14="http://schemas.microsoft.com/office/powerpoint/2010/main" val="2337366875"/>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rside mellem foto">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41944FA7-AAA6-D86F-6147-BF737C629904}"/>
              </a:ext>
            </a:extLst>
          </p:cNvPr>
          <p:cNvSpPr>
            <a:spLocks noGrp="1"/>
          </p:cNvSpPr>
          <p:nvPr userDrawn="1">
            <p:ph type="ftr" sz="quarter" idx="11"/>
          </p:nvPr>
        </p:nvSpPr>
        <p:spPr/>
        <p:txBody>
          <a:bodyPr/>
          <a:lstStyle/>
          <a:p>
            <a:endParaRPr lang="da-DK" noProof="0"/>
          </a:p>
        </p:txBody>
      </p:sp>
      <p:sp>
        <p:nvSpPr>
          <p:cNvPr id="15" name="Pladsholder til billede 14">
            <a:extLst>
              <a:ext uri="{FF2B5EF4-FFF2-40B4-BE49-F238E27FC236}">
                <a16:creationId xmlns:a16="http://schemas.microsoft.com/office/drawing/2014/main" id="{D4F0A874-BE77-EA98-4884-E920ADA15F98}"/>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endParaRPr lang="da-DK" noProof="0"/>
          </a:p>
        </p:txBody>
      </p:sp>
      <p:sp>
        <p:nvSpPr>
          <p:cNvPr id="10" name="Title 1">
            <a:extLst>
              <a:ext uri="{FF2B5EF4-FFF2-40B4-BE49-F238E27FC236}">
                <a16:creationId xmlns:a16="http://schemas.microsoft.com/office/drawing/2014/main" id="{4F7F7B28-3669-A985-CDFF-1D1034D69153}"/>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err="1"/>
              <a:t>Click</a:t>
            </a:r>
            <a:r>
              <a:rPr lang="da-DK" noProof="0"/>
              <a:t> to </a:t>
            </a:r>
            <a:r>
              <a:rPr lang="da-DK" noProof="0" err="1"/>
              <a:t>edit</a:t>
            </a:r>
            <a:r>
              <a:rPr lang="da-DK" noProof="0"/>
              <a:t> Master </a:t>
            </a:r>
            <a:r>
              <a:rPr lang="da-DK" noProof="0" err="1"/>
              <a:t>title</a:t>
            </a:r>
            <a:r>
              <a:rPr lang="da-DK" noProof="0"/>
              <a:t> style</a:t>
            </a:r>
          </a:p>
        </p:txBody>
      </p:sp>
      <p:sp>
        <p:nvSpPr>
          <p:cNvPr id="2" name="Subtitle 2">
            <a:extLst>
              <a:ext uri="{FF2B5EF4-FFF2-40B4-BE49-F238E27FC236}">
                <a16:creationId xmlns:a16="http://schemas.microsoft.com/office/drawing/2014/main" id="{DA5B75DC-64B3-F2AC-CB73-2BDE14D81F6B}"/>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pic>
        <p:nvPicPr>
          <p:cNvPr id="4" name="Graphic 3">
            <a:extLst>
              <a:ext uri="{FF2B5EF4-FFF2-40B4-BE49-F238E27FC236}">
                <a16:creationId xmlns:a16="http://schemas.microsoft.com/office/drawing/2014/main" id="{126433F0-F19A-6A16-0CB7-52D2C4A5D47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29600"/>
            <a:ext cx="1435201" cy="144000"/>
          </a:xfrm>
          <a:prstGeom prst="rect">
            <a:avLst/>
          </a:prstGeom>
        </p:spPr>
      </p:pic>
      <p:sp>
        <p:nvSpPr>
          <p:cNvPr id="3" name="Date Placeholder 3">
            <a:extLst>
              <a:ext uri="{FF2B5EF4-FFF2-40B4-BE49-F238E27FC236}">
                <a16:creationId xmlns:a16="http://schemas.microsoft.com/office/drawing/2014/main" id="{C2DC901F-686D-AA4F-87BC-550FF86A7496}"/>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6-03-2026</a:t>
            </a:fld>
            <a:endParaRPr lang="da-DK"/>
          </a:p>
        </p:txBody>
      </p:sp>
      <p:sp>
        <p:nvSpPr>
          <p:cNvPr id="8" name="Slide Number Placeholder 5">
            <a:extLst>
              <a:ext uri="{FF2B5EF4-FFF2-40B4-BE49-F238E27FC236}">
                <a16:creationId xmlns:a16="http://schemas.microsoft.com/office/drawing/2014/main" id="{92F8FE35-13D6-934C-9828-BADB81383BD1}"/>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a:p>
        </p:txBody>
      </p:sp>
    </p:spTree>
    <p:extLst>
      <p:ext uri="{BB962C8B-B14F-4D97-AF65-F5344CB8AC3E}">
        <p14:creationId xmlns:p14="http://schemas.microsoft.com/office/powerpoint/2010/main" val="3464502135"/>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r- og mellemside">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839847" y="1828710"/>
            <a:ext cx="14400000" cy="1440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431799" y="2088000"/>
            <a:ext cx="7535864" cy="3456000"/>
          </a:xfrm>
        </p:spPr>
        <p:txBody>
          <a:bodyPr anchor="b">
            <a:noAutofit/>
          </a:bodyPr>
          <a:lstStyle>
            <a:lvl1pPr algn="l">
              <a:defRPr sz="4800"/>
            </a:lvl1pPr>
          </a:lstStyle>
          <a:p>
            <a:r>
              <a:rPr lang="da-DK" noProof="0" err="1"/>
              <a:t>Click</a:t>
            </a:r>
            <a:r>
              <a:rPr lang="da-DK" noProof="0"/>
              <a:t> to </a:t>
            </a:r>
            <a:r>
              <a:rPr lang="da-DK" noProof="0" err="1"/>
              <a:t>edit</a:t>
            </a:r>
            <a:r>
              <a:rPr lang="da-DK" noProof="0"/>
              <a:t> Master </a:t>
            </a:r>
            <a:r>
              <a:rPr lang="da-DK" noProof="0" err="1"/>
              <a:t>title</a:t>
            </a:r>
            <a:r>
              <a:rPr lang="da-DK" noProof="0"/>
              <a:t> style</a:t>
            </a:r>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noProof="0"/>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pic>
        <p:nvPicPr>
          <p:cNvPr id="13" name="Graphic 12">
            <a:extLst>
              <a:ext uri="{FF2B5EF4-FFF2-40B4-BE49-F238E27FC236}">
                <a16:creationId xmlns:a16="http://schemas.microsoft.com/office/drawing/2014/main" id="{AF7E3EF3-9AD3-AC8E-EFA2-F5E75D8FEFA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29600"/>
            <a:ext cx="1435201" cy="144000"/>
          </a:xfrm>
          <a:prstGeom prst="rect">
            <a:avLst/>
          </a:prstGeom>
        </p:spPr>
      </p:pic>
      <p:sp>
        <p:nvSpPr>
          <p:cNvPr id="3" name="Date Placeholder 3">
            <a:extLst>
              <a:ext uri="{FF2B5EF4-FFF2-40B4-BE49-F238E27FC236}">
                <a16:creationId xmlns:a16="http://schemas.microsoft.com/office/drawing/2014/main" id="{D14FAE37-E008-9877-66ED-CC0E615C9994}"/>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6-03-2026</a:t>
            </a:fld>
            <a:endParaRPr lang="da-DK"/>
          </a:p>
        </p:txBody>
      </p:sp>
      <p:sp>
        <p:nvSpPr>
          <p:cNvPr id="6" name="Slide Number Placeholder 5">
            <a:extLst>
              <a:ext uri="{FF2B5EF4-FFF2-40B4-BE49-F238E27FC236}">
                <a16:creationId xmlns:a16="http://schemas.microsoft.com/office/drawing/2014/main" id="{BD5E2A8F-83C2-131D-7E07-4D7728AEC2EC}"/>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a:p>
        </p:txBody>
      </p:sp>
    </p:spTree>
    <p:extLst>
      <p:ext uri="{BB962C8B-B14F-4D97-AF65-F5344CB8AC3E}">
        <p14:creationId xmlns:p14="http://schemas.microsoft.com/office/powerpoint/2010/main" val="1027483295"/>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 og mellemside 1">
    <p:bg>
      <p:bgRef idx="1001">
        <a:schemeClr val="bg2"/>
      </p:bgRef>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936100" y="1816678"/>
            <a:ext cx="14400000" cy="1440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431799" y="2088000"/>
            <a:ext cx="7535864" cy="3456000"/>
          </a:xfrm>
          <a:prstGeom prst="rect">
            <a:avLst/>
          </a:prstGeom>
        </p:spPr>
        <p:txBody>
          <a:bodyPr anchor="b">
            <a:noAutofit/>
          </a:bodyPr>
          <a:lstStyle>
            <a:lvl1pPr algn="l">
              <a:defRPr sz="4800"/>
            </a:lvl1pPr>
          </a:lstStyle>
          <a:p>
            <a:r>
              <a:rPr lang="da-DK" noProof="0"/>
              <a:t>Klik for at redigere titeltypografien i masteren</a:t>
            </a:r>
          </a:p>
        </p:txBody>
      </p:sp>
      <p:sp>
        <p:nvSpPr>
          <p:cNvPr id="4" name="Date Placeholder 3">
            <a:extLst>
              <a:ext uri="{FF2B5EF4-FFF2-40B4-BE49-F238E27FC236}">
                <a16:creationId xmlns:a16="http://schemas.microsoft.com/office/drawing/2014/main" id="{4C4CE7D8-6EC0-2491-8806-3C1E5919B56A}"/>
              </a:ext>
            </a:extLst>
          </p:cNvPr>
          <p:cNvSpPr>
            <a:spLocks noGrp="1"/>
          </p:cNvSpPr>
          <p:nvPr>
            <p:ph type="dt" sz="half" idx="10"/>
          </p:nvPr>
        </p:nvSpPr>
        <p:spPr/>
        <p:txBody>
          <a:bodyPr/>
          <a:lstStyle/>
          <a:p>
            <a:fld id="{A54B0AC0-78FD-45F0-9974-0FE60876724D}" type="datetime1">
              <a:rPr lang="da-DK" noProof="0" smtClean="0"/>
              <a:t>16-03-2026</a:t>
            </a:fld>
            <a:endParaRPr lang="da-DK" noProof="0"/>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DEDDE538-0CB7-902A-4AB4-ACEC925EBE81}"/>
              </a:ext>
            </a:extLst>
          </p:cNvPr>
          <p:cNvSpPr>
            <a:spLocks noGrp="1"/>
          </p:cNvSpPr>
          <p:nvPr>
            <p:ph type="sldNum" sz="quarter" idx="12"/>
          </p:nvPr>
        </p:nvSpPr>
        <p:spPr/>
        <p:txBody>
          <a:bodyPr/>
          <a:lstStyle/>
          <a:p>
            <a:fld id="{FA9C6259-F55B-47A6-AB0B-9E9F0835A2F0}" type="slidenum">
              <a:rPr lang="da-DK" noProof="0" smtClean="0"/>
              <a:pPr/>
              <a:t>‹nr.›</a:t>
            </a:fld>
            <a:endParaRPr lang="da-DK" noProof="0"/>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3FC54590-129B-2F4E-C990-7EDBCF0551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111121732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or- og mellemside 2">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803305" y="-10033678"/>
            <a:ext cx="14400000" cy="1440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12" name="Title 1">
            <a:extLst>
              <a:ext uri="{FF2B5EF4-FFF2-40B4-BE49-F238E27FC236}">
                <a16:creationId xmlns:a16="http://schemas.microsoft.com/office/drawing/2014/main" id="{A07F47E0-90FC-E8B7-B715-D3C7DEAA0FD6}"/>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err="1"/>
              <a:t>Click</a:t>
            </a:r>
            <a:r>
              <a:rPr lang="da-DK" noProof="0"/>
              <a:t> to </a:t>
            </a:r>
            <a:r>
              <a:rPr lang="da-DK" noProof="0" err="1"/>
              <a:t>edit</a:t>
            </a:r>
            <a:r>
              <a:rPr lang="da-DK" noProof="0"/>
              <a:t> Master </a:t>
            </a:r>
            <a:r>
              <a:rPr lang="da-DK" noProof="0" err="1"/>
              <a:t>title</a:t>
            </a:r>
            <a:r>
              <a:rPr lang="da-DK" noProof="0"/>
              <a:t> style</a:t>
            </a:r>
          </a:p>
        </p:txBody>
      </p:sp>
      <p:sp>
        <p:nvSpPr>
          <p:cNvPr id="16" name="Footer Placeholder 15">
            <a:extLst>
              <a:ext uri="{FF2B5EF4-FFF2-40B4-BE49-F238E27FC236}">
                <a16:creationId xmlns:a16="http://schemas.microsoft.com/office/drawing/2014/main" id="{5C96EA94-779A-6A0C-8DAF-15DD10091434}"/>
              </a:ext>
            </a:extLst>
          </p:cNvPr>
          <p:cNvSpPr>
            <a:spLocks noGrp="1"/>
          </p:cNvSpPr>
          <p:nvPr>
            <p:ph type="ftr" sz="quarter" idx="11"/>
          </p:nvPr>
        </p:nvSpPr>
        <p:spPr/>
        <p:txBody>
          <a:bodyPr/>
          <a:lstStyle/>
          <a:p>
            <a:endParaRPr lang="da-DK" noProof="0"/>
          </a:p>
        </p:txBody>
      </p:sp>
      <p:sp>
        <p:nvSpPr>
          <p:cNvPr id="2" name="Subtitle 2">
            <a:extLst>
              <a:ext uri="{FF2B5EF4-FFF2-40B4-BE49-F238E27FC236}">
                <a16:creationId xmlns:a16="http://schemas.microsoft.com/office/drawing/2014/main" id="{E07C53AB-35E0-E874-E5AB-A22135039BAD}"/>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pic>
        <p:nvPicPr>
          <p:cNvPr id="6" name="Graphic 5">
            <a:extLst>
              <a:ext uri="{FF2B5EF4-FFF2-40B4-BE49-F238E27FC236}">
                <a16:creationId xmlns:a16="http://schemas.microsoft.com/office/drawing/2014/main" id="{F1134F24-3881-EF79-66F9-8F80C6AC2E9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29600"/>
            <a:ext cx="1435201" cy="144000"/>
          </a:xfrm>
          <a:prstGeom prst="rect">
            <a:avLst/>
          </a:prstGeom>
        </p:spPr>
      </p:pic>
      <p:sp>
        <p:nvSpPr>
          <p:cNvPr id="5" name="Date Placeholder 3">
            <a:extLst>
              <a:ext uri="{FF2B5EF4-FFF2-40B4-BE49-F238E27FC236}">
                <a16:creationId xmlns:a16="http://schemas.microsoft.com/office/drawing/2014/main" id="{B9002E4B-BD64-1A4C-0625-21E76EF0148D}"/>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6-03-2026</a:t>
            </a:fld>
            <a:endParaRPr lang="da-DK"/>
          </a:p>
        </p:txBody>
      </p:sp>
      <p:sp>
        <p:nvSpPr>
          <p:cNvPr id="7" name="Slide Number Placeholder 5">
            <a:extLst>
              <a:ext uri="{FF2B5EF4-FFF2-40B4-BE49-F238E27FC236}">
                <a16:creationId xmlns:a16="http://schemas.microsoft.com/office/drawing/2014/main" id="{16C374E6-4CC6-E9B5-AEBD-7A0B6309BEBF}"/>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a:p>
        </p:txBody>
      </p:sp>
    </p:spTree>
    <p:extLst>
      <p:ext uri="{BB962C8B-B14F-4D97-AF65-F5344CB8AC3E}">
        <p14:creationId xmlns:p14="http://schemas.microsoft.com/office/powerpoint/2010/main" val="1913511902"/>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Mellemside lille foto">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1892371" y="-5095322"/>
            <a:ext cx="8640000" cy="864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8188364" y="1269001"/>
            <a:ext cx="4319999" cy="4319999"/>
          </a:xfrm>
          <a:prstGeom prst="ellipse">
            <a:avLst/>
          </a:prstGeom>
          <a:blipFill>
            <a:blip r:embed="rId2" cstate="screen">
              <a:extLst>
                <a:ext uri="{28A0092B-C50C-407E-A947-70E740481C1C}">
                  <a14:useLocalDpi xmlns:a14="http://schemas.microsoft.com/office/drawing/2010/main"/>
                </a:ext>
              </a:extLst>
            </a:blip>
            <a:srcRect/>
            <a:stretch>
              <a:fillRect/>
            </a:stretch>
          </a:blipFill>
        </p:spPr>
        <p:txBody>
          <a:bodyPr/>
          <a:lstStyle/>
          <a:p>
            <a:endParaRPr lang="da-DK" noProof="0"/>
          </a:p>
        </p:txBody>
      </p:sp>
      <p:sp>
        <p:nvSpPr>
          <p:cNvPr id="8" name="Pladsholder til tekst 7">
            <a:extLst>
              <a:ext uri="{FF2B5EF4-FFF2-40B4-BE49-F238E27FC236}">
                <a16:creationId xmlns:a16="http://schemas.microsoft.com/office/drawing/2014/main" id="{0912F1B6-40D3-0A36-D413-1ECBF33CBD40}"/>
              </a:ext>
            </a:extLst>
          </p:cNvPr>
          <p:cNvSpPr>
            <a:spLocks noGrp="1"/>
          </p:cNvSpPr>
          <p:nvPr>
            <p:ph type="body" sz="quarter" idx="14" hasCustomPrompt="1"/>
          </p:nvPr>
        </p:nvSpPr>
        <p:spPr>
          <a:xfrm>
            <a:off x="431800" y="3670711"/>
            <a:ext cx="7535863" cy="272639"/>
          </a:xfrm>
        </p:spPr>
        <p:txBody>
          <a:bodyPr anchor="b">
            <a:spAutoFit/>
          </a:bodyPr>
          <a:lstStyle>
            <a:lvl1pPr marL="0" indent="0">
              <a:buNone/>
              <a:defRPr>
                <a:solidFill>
                  <a:schemeClr val="accent1"/>
                </a:solidFill>
                <a:latin typeface="Work Sans SemiBold" pitchFamily="2" charset="0"/>
              </a:defRPr>
            </a:lvl1pPr>
            <a:lvl2pPr marL="222250" indent="0">
              <a:buNone/>
              <a:defRPr>
                <a:latin typeface="Work Sans SemiBold" pitchFamily="2" charset="0"/>
              </a:defRPr>
            </a:lvl2pPr>
            <a:lvl3pPr marL="542925" indent="0">
              <a:buNone/>
              <a:defRPr>
                <a:latin typeface="Work Sans SemiBold" pitchFamily="2" charset="0"/>
              </a:defRPr>
            </a:lvl3pPr>
            <a:lvl4pPr marL="895350" indent="0">
              <a:buNone/>
              <a:defRPr>
                <a:latin typeface="Work Sans SemiBold" pitchFamily="2" charset="0"/>
              </a:defRPr>
            </a:lvl4pPr>
            <a:lvl5pPr marL="1166813" indent="0">
              <a:buNone/>
              <a:defRPr>
                <a:latin typeface="Work Sans SemiBold" pitchFamily="2" charset="0"/>
              </a:defRPr>
            </a:lvl5pPr>
          </a:lstStyle>
          <a:p>
            <a:pPr lvl="0"/>
            <a:r>
              <a:rPr lang="da-DK" noProof="0" err="1"/>
              <a:t>Click</a:t>
            </a:r>
            <a:r>
              <a:rPr lang="da-DK" noProof="0"/>
              <a:t> to </a:t>
            </a:r>
            <a:r>
              <a:rPr lang="da-DK" noProof="0" err="1"/>
              <a:t>edit</a:t>
            </a:r>
            <a:r>
              <a:rPr lang="da-DK" noProof="0"/>
              <a:t> Event information</a:t>
            </a:r>
          </a:p>
        </p:txBody>
      </p:sp>
      <p:sp>
        <p:nvSpPr>
          <p:cNvPr id="12" name="Title 1">
            <a:extLst>
              <a:ext uri="{FF2B5EF4-FFF2-40B4-BE49-F238E27FC236}">
                <a16:creationId xmlns:a16="http://schemas.microsoft.com/office/drawing/2014/main" id="{0CD0DD1B-C53E-3CED-42BA-6674B4F31035}"/>
              </a:ext>
            </a:extLst>
          </p:cNvPr>
          <p:cNvSpPr>
            <a:spLocks noGrp="1"/>
          </p:cNvSpPr>
          <p:nvPr>
            <p:ph type="ctrTitle"/>
          </p:nvPr>
        </p:nvSpPr>
        <p:spPr>
          <a:xfrm>
            <a:off x="431799" y="3943350"/>
            <a:ext cx="7535864" cy="1600650"/>
          </a:xfrm>
        </p:spPr>
        <p:txBody>
          <a:bodyPr anchor="b">
            <a:noAutofit/>
          </a:bodyPr>
          <a:lstStyle>
            <a:lvl1pPr algn="l">
              <a:defRPr sz="4800"/>
            </a:lvl1pPr>
          </a:lstStyle>
          <a:p>
            <a:r>
              <a:rPr lang="da-DK" noProof="0" err="1"/>
              <a:t>Click</a:t>
            </a:r>
            <a:r>
              <a:rPr lang="da-DK" noProof="0"/>
              <a:t> to </a:t>
            </a:r>
            <a:r>
              <a:rPr lang="da-DK" noProof="0" err="1"/>
              <a:t>edit</a:t>
            </a:r>
            <a:r>
              <a:rPr lang="da-DK" noProof="0"/>
              <a:t> Master </a:t>
            </a:r>
            <a:r>
              <a:rPr lang="da-DK" noProof="0" err="1"/>
              <a:t>title</a:t>
            </a:r>
            <a:r>
              <a:rPr lang="da-DK" noProof="0"/>
              <a:t> style</a:t>
            </a:r>
          </a:p>
        </p:txBody>
      </p:sp>
      <p:sp>
        <p:nvSpPr>
          <p:cNvPr id="18" name="Footer Placeholder 17">
            <a:extLst>
              <a:ext uri="{FF2B5EF4-FFF2-40B4-BE49-F238E27FC236}">
                <a16:creationId xmlns:a16="http://schemas.microsoft.com/office/drawing/2014/main" id="{61AB509A-C619-03F1-10C6-5550B9D788FB}"/>
              </a:ext>
            </a:extLst>
          </p:cNvPr>
          <p:cNvSpPr>
            <a:spLocks noGrp="1"/>
          </p:cNvSpPr>
          <p:nvPr>
            <p:ph type="ftr" sz="quarter" idx="16"/>
          </p:nvPr>
        </p:nvSpPr>
        <p:spPr/>
        <p:txBody>
          <a:bodyPr/>
          <a:lstStyle/>
          <a:p>
            <a:endParaRPr lang="da-DK" noProof="0"/>
          </a:p>
        </p:txBody>
      </p:sp>
      <p:sp>
        <p:nvSpPr>
          <p:cNvPr id="2" name="Subtitle 2">
            <a:extLst>
              <a:ext uri="{FF2B5EF4-FFF2-40B4-BE49-F238E27FC236}">
                <a16:creationId xmlns:a16="http://schemas.microsoft.com/office/drawing/2014/main" id="{70903153-4847-5E42-3465-3B918ADE2019}"/>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pic>
        <p:nvPicPr>
          <p:cNvPr id="4" name="Graphic 3">
            <a:extLst>
              <a:ext uri="{FF2B5EF4-FFF2-40B4-BE49-F238E27FC236}">
                <a16:creationId xmlns:a16="http://schemas.microsoft.com/office/drawing/2014/main" id="{8456B0AF-9B0C-83C0-625C-FE0CCB9F20F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29600"/>
            <a:ext cx="1435201" cy="144000"/>
          </a:xfrm>
          <a:prstGeom prst="rect">
            <a:avLst/>
          </a:prstGeom>
        </p:spPr>
      </p:pic>
      <p:sp>
        <p:nvSpPr>
          <p:cNvPr id="3" name="Date Placeholder 3">
            <a:extLst>
              <a:ext uri="{FF2B5EF4-FFF2-40B4-BE49-F238E27FC236}">
                <a16:creationId xmlns:a16="http://schemas.microsoft.com/office/drawing/2014/main" id="{1A0E0B17-D1B4-A851-535C-6538431BFFAA}"/>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6-03-2026</a:t>
            </a:fld>
            <a:endParaRPr lang="da-DK"/>
          </a:p>
        </p:txBody>
      </p:sp>
      <p:sp>
        <p:nvSpPr>
          <p:cNvPr id="5" name="Slide Number Placeholder 5">
            <a:extLst>
              <a:ext uri="{FF2B5EF4-FFF2-40B4-BE49-F238E27FC236}">
                <a16:creationId xmlns:a16="http://schemas.microsoft.com/office/drawing/2014/main" id="{958D328E-3BD1-8C49-8898-92F8AC556D2A}"/>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a:p>
        </p:txBody>
      </p:sp>
    </p:spTree>
    <p:extLst>
      <p:ext uri="{BB962C8B-B14F-4D97-AF65-F5344CB8AC3E}">
        <p14:creationId xmlns:p14="http://schemas.microsoft.com/office/powerpoint/2010/main" val="1907021118"/>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Mellemside lille foto 2">
    <p:spTree>
      <p:nvGrpSpPr>
        <p:cNvPr id="1" name=""/>
        <p:cNvGrpSpPr/>
        <p:nvPr/>
      </p:nvGrpSpPr>
      <p:grpSpPr>
        <a:xfrm>
          <a:off x="0" y="0"/>
          <a:ext cx="0" cy="0"/>
          <a:chOff x="0" y="0"/>
          <a:chExt cx="0" cy="0"/>
        </a:xfrm>
      </p:grpSpPr>
      <p:sp>
        <p:nvSpPr>
          <p:cNvPr id="10" name="Pladsholder til tekst 9">
            <a:extLst>
              <a:ext uri="{FF2B5EF4-FFF2-40B4-BE49-F238E27FC236}">
                <a16:creationId xmlns:a16="http://schemas.microsoft.com/office/drawing/2014/main" id="{8EAB7028-35CF-586A-9D7B-4652BD5AD207}"/>
              </a:ext>
            </a:extLst>
          </p:cNvPr>
          <p:cNvSpPr>
            <a:spLocks noGrp="1"/>
          </p:cNvSpPr>
          <p:nvPr>
            <p:ph type="body" sz="quarter" idx="15" hasCustomPrompt="1"/>
          </p:nvPr>
        </p:nvSpPr>
        <p:spPr>
          <a:xfrm>
            <a:off x="1307024" y="4772373"/>
            <a:ext cx="3775075" cy="665451"/>
          </a:xfrm>
        </p:spPr>
        <p:txBody>
          <a:bodyPr/>
          <a:lstStyle>
            <a:lvl1pPr marL="0" indent="0" algn="ctr">
              <a:lnSpc>
                <a:spcPct val="100000"/>
              </a:lnSpc>
              <a:buNone/>
              <a:defRPr/>
            </a:lvl1pPr>
            <a:lvl2pPr marL="222250" indent="0" algn="ctr">
              <a:buNone/>
              <a:defRPr/>
            </a:lvl2pPr>
            <a:lvl3pPr marL="542925" indent="0" algn="ctr">
              <a:buNone/>
              <a:defRPr/>
            </a:lvl3pPr>
            <a:lvl4pPr marL="895350" indent="0" algn="ctr">
              <a:buNone/>
              <a:defRPr/>
            </a:lvl4pPr>
            <a:lvl5pPr marL="1166813" indent="0" algn="ctr">
              <a:buNone/>
              <a:defRPr/>
            </a:lvl5pPr>
          </a:lstStyle>
          <a:p>
            <a:pPr lvl="0"/>
            <a:r>
              <a:rPr lang="da-DK" noProof="0"/>
              <a:t>Klik for at redigere teksttypografierne i masteren</a:t>
            </a:r>
          </a:p>
        </p:txBody>
      </p:sp>
      <p:sp>
        <p:nvSpPr>
          <p:cNvPr id="12" name="Footer Placeholder 11">
            <a:extLst>
              <a:ext uri="{FF2B5EF4-FFF2-40B4-BE49-F238E27FC236}">
                <a16:creationId xmlns:a16="http://schemas.microsoft.com/office/drawing/2014/main" id="{6AAA001F-86A6-9EAE-DE70-6B4F55F32BE5}"/>
              </a:ext>
            </a:extLst>
          </p:cNvPr>
          <p:cNvSpPr>
            <a:spLocks noGrp="1"/>
          </p:cNvSpPr>
          <p:nvPr>
            <p:ph type="ftr" sz="quarter" idx="17"/>
          </p:nvPr>
        </p:nvSpPr>
        <p:spPr/>
        <p:txBody>
          <a:bodyPr/>
          <a:lstStyle/>
          <a:p>
            <a:endParaRPr lang="da-DK" noProof="0"/>
          </a:p>
        </p:txBody>
      </p:sp>
      <p:pic>
        <p:nvPicPr>
          <p:cNvPr id="4" name="Graphic 3">
            <a:extLst>
              <a:ext uri="{FF2B5EF4-FFF2-40B4-BE49-F238E27FC236}">
                <a16:creationId xmlns:a16="http://schemas.microsoft.com/office/drawing/2014/main" id="{1D6CB448-15A2-5C6F-D76C-FEE39B94C56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29600"/>
            <a:ext cx="1435201" cy="144000"/>
          </a:xfrm>
          <a:prstGeom prst="rect">
            <a:avLst/>
          </a:prstGeom>
        </p:spPr>
      </p:pic>
      <p:sp>
        <p:nvSpPr>
          <p:cNvPr id="5" name="Title 1">
            <a:extLst>
              <a:ext uri="{FF2B5EF4-FFF2-40B4-BE49-F238E27FC236}">
                <a16:creationId xmlns:a16="http://schemas.microsoft.com/office/drawing/2014/main" id="{52B8246C-3B15-E60B-E032-0BDE231A942B}"/>
              </a:ext>
            </a:extLst>
          </p:cNvPr>
          <p:cNvSpPr>
            <a:spLocks noGrp="1"/>
          </p:cNvSpPr>
          <p:nvPr>
            <p:ph type="ctrTitle"/>
          </p:nvPr>
        </p:nvSpPr>
        <p:spPr>
          <a:xfrm>
            <a:off x="6096000" y="1900771"/>
            <a:ext cx="5662613" cy="997196"/>
          </a:xfrm>
          <a:prstGeom prst="rect">
            <a:avLst/>
          </a:prstGeom>
        </p:spPr>
        <p:txBody>
          <a:bodyPr wrap="square" anchor="b">
            <a:spAutoFit/>
          </a:bodyPr>
          <a:lstStyle>
            <a:lvl1pPr algn="l">
              <a:defRPr sz="3600"/>
            </a:lvl1pPr>
          </a:lstStyle>
          <a:p>
            <a:r>
              <a:rPr lang="da-DK" noProof="0"/>
              <a:t>Klik for at redigere titeltypografien i masteren</a:t>
            </a:r>
          </a:p>
        </p:txBody>
      </p:sp>
      <p:sp>
        <p:nvSpPr>
          <p:cNvPr id="6" name="Subtitle 2">
            <a:extLst>
              <a:ext uri="{FF2B5EF4-FFF2-40B4-BE49-F238E27FC236}">
                <a16:creationId xmlns:a16="http://schemas.microsoft.com/office/drawing/2014/main" id="{6EFA6118-2A1A-E16F-D0C7-FAA0E4F2D081}"/>
              </a:ext>
            </a:extLst>
          </p:cNvPr>
          <p:cNvSpPr>
            <a:spLocks noGrp="1"/>
          </p:cNvSpPr>
          <p:nvPr>
            <p:ph type="subTitle" idx="1"/>
          </p:nvPr>
        </p:nvSpPr>
        <p:spPr>
          <a:xfrm>
            <a:off x="6103144" y="3084095"/>
            <a:ext cx="5655470" cy="2549872"/>
          </a:xfrm>
        </p:spPr>
        <p:txBody>
          <a:bodyPr anchor="t">
            <a:noAutofit/>
          </a:bodyPr>
          <a:lstStyle>
            <a:lvl1pPr marL="285750" indent="-285750" algn="l">
              <a:lnSpc>
                <a:spcPct val="120000"/>
              </a:lnSpc>
              <a:spcBef>
                <a:spcPts val="0"/>
              </a:spcBef>
              <a:buFont typeface="Arial" panose="020B0604020202020204" pitchFamily="34" charset="0"/>
              <a:buChar char="•"/>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7" name="Pladsholder til tekst 7">
            <a:extLst>
              <a:ext uri="{FF2B5EF4-FFF2-40B4-BE49-F238E27FC236}">
                <a16:creationId xmlns:a16="http://schemas.microsoft.com/office/drawing/2014/main" id="{8AB4E988-4628-95B3-0447-D9BDE7BBFB06}"/>
              </a:ext>
            </a:extLst>
          </p:cNvPr>
          <p:cNvSpPr>
            <a:spLocks noGrp="1"/>
          </p:cNvSpPr>
          <p:nvPr>
            <p:ph type="body" sz="quarter" idx="14" hasCustomPrompt="1"/>
          </p:nvPr>
        </p:nvSpPr>
        <p:spPr>
          <a:xfrm>
            <a:off x="6096000" y="1430496"/>
            <a:ext cx="5662612" cy="272639"/>
          </a:xfrm>
        </p:spPr>
        <p:txBody>
          <a:bodyPr wrap="square" anchor="b">
            <a:spAutoFit/>
          </a:bodyPr>
          <a:lstStyle>
            <a:lvl1pPr marL="0" indent="0">
              <a:buNone/>
              <a:defRPr>
                <a:solidFill>
                  <a:schemeClr val="accent1"/>
                </a:solidFill>
                <a:latin typeface="Work Sans SemiBold" pitchFamily="2" charset="0"/>
              </a:defRPr>
            </a:lvl1pPr>
            <a:lvl2pPr marL="222250" indent="0">
              <a:buNone/>
              <a:defRPr>
                <a:latin typeface="Work Sans SemiBold" pitchFamily="2" charset="0"/>
              </a:defRPr>
            </a:lvl2pPr>
            <a:lvl3pPr marL="542925" indent="0">
              <a:buNone/>
              <a:defRPr>
                <a:latin typeface="Work Sans SemiBold" pitchFamily="2" charset="0"/>
              </a:defRPr>
            </a:lvl3pPr>
            <a:lvl4pPr marL="895350" indent="0">
              <a:buNone/>
              <a:defRPr>
                <a:latin typeface="Work Sans SemiBold" pitchFamily="2" charset="0"/>
              </a:defRPr>
            </a:lvl4pPr>
            <a:lvl5pPr marL="1166813" indent="0">
              <a:buNone/>
              <a:defRPr>
                <a:latin typeface="Work Sans SemiBold" pitchFamily="2" charset="0"/>
              </a:defRPr>
            </a:lvl5pPr>
          </a:lstStyle>
          <a:p>
            <a:pPr lvl="0"/>
            <a:r>
              <a:rPr lang="da-DK" noProof="0" err="1"/>
              <a:t>Click</a:t>
            </a:r>
            <a:r>
              <a:rPr lang="da-DK" noProof="0"/>
              <a:t> to </a:t>
            </a:r>
            <a:r>
              <a:rPr lang="da-DK" noProof="0" err="1"/>
              <a:t>edit</a:t>
            </a:r>
            <a:r>
              <a:rPr lang="da-DK" noProof="0"/>
              <a:t> Event information</a:t>
            </a:r>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1343025" y="864000"/>
            <a:ext cx="3739073" cy="3739073"/>
          </a:xfrm>
          <a:prstGeom prst="ellipse">
            <a:avLst/>
          </a:prstGeom>
          <a:blipFill>
            <a:blip r:embed="rId4" cstate="screen">
              <a:extLst>
                <a:ext uri="{28A0092B-C50C-407E-A947-70E740481C1C}">
                  <a14:useLocalDpi xmlns:a14="http://schemas.microsoft.com/office/drawing/2010/main"/>
                </a:ext>
              </a:extLst>
            </a:blip>
            <a:srcRect/>
            <a:stretch>
              <a:fillRect/>
            </a:stretch>
          </a:blipFill>
        </p:spPr>
        <p:txBody>
          <a:bodyPr/>
          <a:lstStyle/>
          <a:p>
            <a:endParaRPr lang="da-DK" noProof="0"/>
          </a:p>
        </p:txBody>
      </p:sp>
      <p:sp>
        <p:nvSpPr>
          <p:cNvPr id="11" name="Date Placeholder 3">
            <a:extLst>
              <a:ext uri="{FF2B5EF4-FFF2-40B4-BE49-F238E27FC236}">
                <a16:creationId xmlns:a16="http://schemas.microsoft.com/office/drawing/2014/main" id="{A47C8A39-4A17-037C-50FC-A2BD79DB1578}"/>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6-03-2026</a:t>
            </a:fld>
            <a:endParaRPr lang="da-DK"/>
          </a:p>
        </p:txBody>
      </p:sp>
      <p:sp>
        <p:nvSpPr>
          <p:cNvPr id="14" name="Slide Number Placeholder 5">
            <a:extLst>
              <a:ext uri="{FF2B5EF4-FFF2-40B4-BE49-F238E27FC236}">
                <a16:creationId xmlns:a16="http://schemas.microsoft.com/office/drawing/2014/main" id="{BBDE46C5-71EB-375B-EBD6-D1B33EA56661}"/>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a:p>
        </p:txBody>
      </p:sp>
    </p:spTree>
    <p:extLst>
      <p:ext uri="{BB962C8B-B14F-4D97-AF65-F5344CB8AC3E}">
        <p14:creationId xmlns:p14="http://schemas.microsoft.com/office/powerpoint/2010/main" val="4031599025"/>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otobaggrund">
    <p:spTree>
      <p:nvGrpSpPr>
        <p:cNvPr id="1" name=""/>
        <p:cNvGrpSpPr/>
        <p:nvPr/>
      </p:nvGrpSpPr>
      <p:grpSpPr>
        <a:xfrm>
          <a:off x="0" y="0"/>
          <a:ext cx="0" cy="0"/>
          <a:chOff x="0" y="0"/>
          <a:chExt cx="0" cy="0"/>
        </a:xfrm>
      </p:grpSpPr>
      <p:sp>
        <p:nvSpPr>
          <p:cNvPr id="21" name="Pladsholder til billede 20">
            <a:extLst>
              <a:ext uri="{FF2B5EF4-FFF2-40B4-BE49-F238E27FC236}">
                <a16:creationId xmlns:a16="http://schemas.microsoft.com/office/drawing/2014/main" id="{87ACCDF2-438B-3952-1B50-A08B33E4181A}"/>
              </a:ext>
            </a:extLst>
          </p:cNvPr>
          <p:cNvSpPr>
            <a:spLocks noGrp="1"/>
          </p:cNvSpPr>
          <p:nvPr>
            <p:ph type="pic" sz="quarter" idx="14"/>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4317599 w 12192000"/>
              <a:gd name="connsiteY3" fmla="*/ 6858000 h 6858000"/>
              <a:gd name="connsiteX4" fmla="*/ 4173417 w 12192000"/>
              <a:gd name="connsiteY4" fmla="*/ 6765567 h 6858000"/>
              <a:gd name="connsiteX5" fmla="*/ 107135 w 12192000"/>
              <a:gd name="connsiteY5" fmla="*/ 2064956 h 6858000"/>
              <a:gd name="connsiteX6" fmla="*/ 0 w 12192000"/>
              <a:gd name="connsiteY6" fmla="*/ 182797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6858000"/>
                </a:lnTo>
                <a:lnTo>
                  <a:pt x="4317599" y="6858000"/>
                </a:lnTo>
                <a:lnTo>
                  <a:pt x="4173417" y="6765567"/>
                </a:lnTo>
                <a:cubicBezTo>
                  <a:pt x="2435362" y="5591360"/>
                  <a:pt x="1024740" y="3969295"/>
                  <a:pt x="107135" y="2064956"/>
                </a:cubicBezTo>
                <a:lnTo>
                  <a:pt x="0" y="1827979"/>
                </a:lnTo>
                <a:close/>
              </a:path>
            </a:pathLst>
          </a:custGeom>
          <a:blipFill dpi="0" rotWithShape="1">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endParaRPr lang="da-DK" noProof="0"/>
          </a:p>
        </p:txBody>
      </p:sp>
      <p:pic>
        <p:nvPicPr>
          <p:cNvPr id="4" name="Grafik 10">
            <a:extLst>
              <a:ext uri="{FF2B5EF4-FFF2-40B4-BE49-F238E27FC236}">
                <a16:creationId xmlns:a16="http://schemas.microsoft.com/office/drawing/2014/main" id="{338930BB-ED3B-9B59-A12C-1FE9A9787C6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298042" y="6430133"/>
            <a:ext cx="1460571" cy="144000"/>
          </a:xfrm>
          <a:prstGeom prst="rect">
            <a:avLst/>
          </a:prstGeom>
        </p:spPr>
      </p:pic>
      <p:sp>
        <p:nvSpPr>
          <p:cNvPr id="10" name="Title 1">
            <a:extLst>
              <a:ext uri="{FF2B5EF4-FFF2-40B4-BE49-F238E27FC236}">
                <a16:creationId xmlns:a16="http://schemas.microsoft.com/office/drawing/2014/main" id="{BD12AD03-B76E-BE2B-C389-00DD8A910DA3}"/>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err="1"/>
              <a:t>Click</a:t>
            </a:r>
            <a:r>
              <a:rPr lang="da-DK" noProof="0"/>
              <a:t> to </a:t>
            </a:r>
            <a:r>
              <a:rPr lang="da-DK" noProof="0" err="1"/>
              <a:t>edit</a:t>
            </a:r>
            <a:r>
              <a:rPr lang="da-DK" noProof="0"/>
              <a:t> Master </a:t>
            </a:r>
            <a:r>
              <a:rPr lang="da-DK" noProof="0" err="1"/>
              <a:t>title</a:t>
            </a:r>
            <a:r>
              <a:rPr lang="da-DK" noProof="0"/>
              <a:t> style</a:t>
            </a:r>
          </a:p>
        </p:txBody>
      </p:sp>
      <p:sp>
        <p:nvSpPr>
          <p:cNvPr id="14" name="Footer Placeholder 13">
            <a:extLst>
              <a:ext uri="{FF2B5EF4-FFF2-40B4-BE49-F238E27FC236}">
                <a16:creationId xmlns:a16="http://schemas.microsoft.com/office/drawing/2014/main" id="{21EA0916-AA0A-2A0A-E000-40B07DE48FE0}"/>
              </a:ext>
            </a:extLst>
          </p:cNvPr>
          <p:cNvSpPr>
            <a:spLocks noGrp="1"/>
          </p:cNvSpPr>
          <p:nvPr>
            <p:ph type="ftr" sz="quarter" idx="16"/>
          </p:nvPr>
        </p:nvSpPr>
        <p:spPr/>
        <p:txBody>
          <a:bodyPr/>
          <a:lstStyle/>
          <a:p>
            <a:endParaRPr lang="da-DK" noProof="0"/>
          </a:p>
        </p:txBody>
      </p:sp>
      <p:sp>
        <p:nvSpPr>
          <p:cNvPr id="2" name="Subtitle 2">
            <a:extLst>
              <a:ext uri="{FF2B5EF4-FFF2-40B4-BE49-F238E27FC236}">
                <a16:creationId xmlns:a16="http://schemas.microsoft.com/office/drawing/2014/main" id="{B8CA00F9-D4F2-A44A-A187-002C7CA04E1A}"/>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sp>
        <p:nvSpPr>
          <p:cNvPr id="3" name="Date Placeholder 3">
            <a:extLst>
              <a:ext uri="{FF2B5EF4-FFF2-40B4-BE49-F238E27FC236}">
                <a16:creationId xmlns:a16="http://schemas.microsoft.com/office/drawing/2014/main" id="{F543B46C-F34D-BA55-AF15-507FC5271A25}"/>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6-03-2026</a:t>
            </a:fld>
            <a:endParaRPr lang="da-DK"/>
          </a:p>
        </p:txBody>
      </p:sp>
      <p:sp>
        <p:nvSpPr>
          <p:cNvPr id="5" name="Slide Number Placeholder 5">
            <a:extLst>
              <a:ext uri="{FF2B5EF4-FFF2-40B4-BE49-F238E27FC236}">
                <a16:creationId xmlns:a16="http://schemas.microsoft.com/office/drawing/2014/main" id="{44007A94-A96C-8AC4-6610-4A7F60FC8264}"/>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a:p>
        </p:txBody>
      </p:sp>
    </p:spTree>
    <p:extLst>
      <p:ext uri="{BB962C8B-B14F-4D97-AF65-F5344CB8AC3E}">
        <p14:creationId xmlns:p14="http://schemas.microsoft.com/office/powerpoint/2010/main" val="3279263357"/>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8" name="Pladsholder til tekst 27">
            <a:extLst>
              <a:ext uri="{FF2B5EF4-FFF2-40B4-BE49-F238E27FC236}">
                <a16:creationId xmlns:a16="http://schemas.microsoft.com/office/drawing/2014/main" id="{74399AB2-9F15-DAB9-D5AF-57ADA09960C0}"/>
              </a:ext>
            </a:extLst>
          </p:cNvPr>
          <p:cNvSpPr>
            <a:spLocks noGrp="1"/>
          </p:cNvSpPr>
          <p:nvPr>
            <p:ph type="body" sz="quarter" idx="13" hasCustomPrompt="1"/>
          </p:nvPr>
        </p:nvSpPr>
        <p:spPr>
          <a:xfrm>
            <a:off x="5948079" y="2894811"/>
            <a:ext cx="3922996"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9" name="Pladsholder til indhold 38">
            <a:extLst>
              <a:ext uri="{FF2B5EF4-FFF2-40B4-BE49-F238E27FC236}">
                <a16:creationId xmlns:a16="http://schemas.microsoft.com/office/drawing/2014/main" id="{D4FBA7D3-9EE0-3E27-EC3F-4047A1FED231}"/>
              </a:ext>
            </a:extLst>
          </p:cNvPr>
          <p:cNvSpPr>
            <a:spLocks noGrp="1"/>
          </p:cNvSpPr>
          <p:nvPr>
            <p:ph sz="quarter" idx="21" hasCustomPrompt="1"/>
          </p:nvPr>
        </p:nvSpPr>
        <p:spPr>
          <a:xfrm>
            <a:off x="5156077" y="2894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53" name="Tekstfelt 52">
            <a:extLst>
              <a:ext uri="{FF2B5EF4-FFF2-40B4-BE49-F238E27FC236}">
                <a16:creationId xmlns:a16="http://schemas.microsoft.com/office/drawing/2014/main" id="{FE9A4707-7B12-AF25-E12E-5AFDD851AF02}"/>
              </a:ext>
            </a:extLst>
          </p:cNvPr>
          <p:cNvSpPr txBox="1"/>
          <p:nvPr userDrawn="1"/>
        </p:nvSpPr>
        <p:spPr>
          <a:xfrm>
            <a:off x="549275" y="2843486"/>
            <a:ext cx="3657600" cy="738664"/>
          </a:xfrm>
          <a:prstGeom prst="rect">
            <a:avLst/>
          </a:prstGeom>
          <a:noFill/>
        </p:spPr>
        <p:txBody>
          <a:bodyPr wrap="square" lIns="0" tIns="0" rIns="0" bIns="0" rtlCol="0">
            <a:spAutoFit/>
          </a:bodyPr>
          <a:lstStyle/>
          <a:p>
            <a:pPr algn="r"/>
            <a:r>
              <a:rPr lang="da-DK" sz="4800" noProof="0">
                <a:latin typeface="Work Sans Light" pitchFamily="2" charset="0"/>
              </a:rPr>
              <a:t>Agenda</a:t>
            </a:r>
          </a:p>
        </p:txBody>
      </p:sp>
      <p:sp>
        <p:nvSpPr>
          <p:cNvPr id="4" name="Pladsholder til tekst 27">
            <a:extLst>
              <a:ext uri="{FF2B5EF4-FFF2-40B4-BE49-F238E27FC236}">
                <a16:creationId xmlns:a16="http://schemas.microsoft.com/office/drawing/2014/main" id="{9ED5405B-E6D8-0AA4-7093-43C41471FFFC}"/>
              </a:ext>
            </a:extLst>
          </p:cNvPr>
          <p:cNvSpPr>
            <a:spLocks noGrp="1"/>
          </p:cNvSpPr>
          <p:nvPr>
            <p:ph type="body" sz="quarter" idx="22" hasCustomPrompt="1"/>
          </p:nvPr>
        </p:nvSpPr>
        <p:spPr>
          <a:xfrm>
            <a:off x="5948079" y="2030811"/>
            <a:ext cx="3922996"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8" name="Pladsholder til indhold 38">
            <a:extLst>
              <a:ext uri="{FF2B5EF4-FFF2-40B4-BE49-F238E27FC236}">
                <a16:creationId xmlns:a16="http://schemas.microsoft.com/office/drawing/2014/main" id="{089FDB5C-95FC-6228-25A0-FFA44B117D1F}"/>
              </a:ext>
            </a:extLst>
          </p:cNvPr>
          <p:cNvSpPr>
            <a:spLocks noGrp="1"/>
          </p:cNvSpPr>
          <p:nvPr>
            <p:ph sz="quarter" idx="23" hasCustomPrompt="1"/>
          </p:nvPr>
        </p:nvSpPr>
        <p:spPr>
          <a:xfrm>
            <a:off x="5156077" y="2030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10" name="Pladsholder til tekst 27">
            <a:extLst>
              <a:ext uri="{FF2B5EF4-FFF2-40B4-BE49-F238E27FC236}">
                <a16:creationId xmlns:a16="http://schemas.microsoft.com/office/drawing/2014/main" id="{60FFD07F-A2FE-6C41-F11E-A76EC796912E}"/>
              </a:ext>
            </a:extLst>
          </p:cNvPr>
          <p:cNvSpPr>
            <a:spLocks noGrp="1"/>
          </p:cNvSpPr>
          <p:nvPr>
            <p:ph type="body" sz="quarter" idx="24" hasCustomPrompt="1"/>
          </p:nvPr>
        </p:nvSpPr>
        <p:spPr>
          <a:xfrm>
            <a:off x="5948079" y="1166811"/>
            <a:ext cx="3922996"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5156077" y="1166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12" name="Pladsholder til tekst 27">
            <a:extLst>
              <a:ext uri="{FF2B5EF4-FFF2-40B4-BE49-F238E27FC236}">
                <a16:creationId xmlns:a16="http://schemas.microsoft.com/office/drawing/2014/main" id="{E7449D5C-4889-7C85-B135-D9BCC5B3F010}"/>
              </a:ext>
            </a:extLst>
          </p:cNvPr>
          <p:cNvSpPr>
            <a:spLocks noGrp="1"/>
          </p:cNvSpPr>
          <p:nvPr>
            <p:ph type="body" sz="quarter" idx="26" hasCustomPrompt="1"/>
          </p:nvPr>
        </p:nvSpPr>
        <p:spPr>
          <a:xfrm>
            <a:off x="5948079" y="3758811"/>
            <a:ext cx="3922996"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3" name="Pladsholder til indhold 38">
            <a:extLst>
              <a:ext uri="{FF2B5EF4-FFF2-40B4-BE49-F238E27FC236}">
                <a16:creationId xmlns:a16="http://schemas.microsoft.com/office/drawing/2014/main" id="{BF611594-5934-4853-7B72-D1FAC3DC23DF}"/>
              </a:ext>
            </a:extLst>
          </p:cNvPr>
          <p:cNvSpPr>
            <a:spLocks noGrp="1"/>
          </p:cNvSpPr>
          <p:nvPr>
            <p:ph sz="quarter" idx="27" hasCustomPrompt="1"/>
          </p:nvPr>
        </p:nvSpPr>
        <p:spPr>
          <a:xfrm>
            <a:off x="5156077" y="3758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4</a:t>
            </a:r>
          </a:p>
        </p:txBody>
      </p:sp>
      <p:sp>
        <p:nvSpPr>
          <p:cNvPr id="15" name="Pladsholder til tekst 27">
            <a:extLst>
              <a:ext uri="{FF2B5EF4-FFF2-40B4-BE49-F238E27FC236}">
                <a16:creationId xmlns:a16="http://schemas.microsoft.com/office/drawing/2014/main" id="{3F6B035A-D85E-F504-732F-8690B44F6A86}"/>
              </a:ext>
            </a:extLst>
          </p:cNvPr>
          <p:cNvSpPr>
            <a:spLocks noGrp="1"/>
          </p:cNvSpPr>
          <p:nvPr>
            <p:ph type="body" sz="quarter" idx="28" hasCustomPrompt="1"/>
          </p:nvPr>
        </p:nvSpPr>
        <p:spPr>
          <a:xfrm>
            <a:off x="5948079" y="4631550"/>
            <a:ext cx="3922996"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6" name="Pladsholder til indhold 38">
            <a:extLst>
              <a:ext uri="{FF2B5EF4-FFF2-40B4-BE49-F238E27FC236}">
                <a16:creationId xmlns:a16="http://schemas.microsoft.com/office/drawing/2014/main" id="{6C2CF3A2-B959-2F57-1DB2-791F198185F0}"/>
              </a:ext>
            </a:extLst>
          </p:cNvPr>
          <p:cNvSpPr>
            <a:spLocks noGrp="1"/>
          </p:cNvSpPr>
          <p:nvPr>
            <p:ph sz="quarter" idx="29" hasCustomPrompt="1"/>
          </p:nvPr>
        </p:nvSpPr>
        <p:spPr>
          <a:xfrm>
            <a:off x="5156077" y="4631550"/>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5</a:t>
            </a:r>
          </a:p>
        </p:txBody>
      </p:sp>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endParaRPr lang="da-DK" noProof="0"/>
          </a:p>
        </p:txBody>
      </p:sp>
      <p:sp>
        <p:nvSpPr>
          <p:cNvPr id="5" name="Date Placeholder 3">
            <a:extLst>
              <a:ext uri="{FF2B5EF4-FFF2-40B4-BE49-F238E27FC236}">
                <a16:creationId xmlns:a16="http://schemas.microsoft.com/office/drawing/2014/main" id="{5FC43009-0BB6-9094-D097-E6DAE8BCF838}"/>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6-03-2026</a:t>
            </a:fld>
            <a:endParaRPr lang="da-DK"/>
          </a:p>
        </p:txBody>
      </p:sp>
      <p:sp>
        <p:nvSpPr>
          <p:cNvPr id="6" name="Slide Number Placeholder 5">
            <a:extLst>
              <a:ext uri="{FF2B5EF4-FFF2-40B4-BE49-F238E27FC236}">
                <a16:creationId xmlns:a16="http://schemas.microsoft.com/office/drawing/2014/main" id="{7F9C9CE8-4F72-2E98-400F-B79982D605BF}"/>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a:p>
        </p:txBody>
      </p:sp>
    </p:spTree>
    <p:extLst>
      <p:ext uri="{BB962C8B-B14F-4D97-AF65-F5344CB8AC3E}">
        <p14:creationId xmlns:p14="http://schemas.microsoft.com/office/powerpoint/2010/main" val="1413026334"/>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endParaRPr lang="da-DK" noProof="0"/>
          </a:p>
        </p:txBody>
      </p:sp>
      <p:sp>
        <p:nvSpPr>
          <p:cNvPr id="23" name="Pladsholder til tekst 27">
            <a:extLst>
              <a:ext uri="{FF2B5EF4-FFF2-40B4-BE49-F238E27FC236}">
                <a16:creationId xmlns:a16="http://schemas.microsoft.com/office/drawing/2014/main" id="{E379CB5C-E2AC-9C53-BA56-A847A4C6F182}"/>
              </a:ext>
            </a:extLst>
          </p:cNvPr>
          <p:cNvSpPr>
            <a:spLocks noGrp="1"/>
          </p:cNvSpPr>
          <p:nvPr>
            <p:ph type="body" sz="quarter" idx="13" hasCustomPrompt="1"/>
          </p:nvPr>
        </p:nvSpPr>
        <p:spPr>
          <a:xfrm>
            <a:off x="3149255"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4" name="Pladsholder til indhold 38">
            <a:extLst>
              <a:ext uri="{FF2B5EF4-FFF2-40B4-BE49-F238E27FC236}">
                <a16:creationId xmlns:a16="http://schemas.microsoft.com/office/drawing/2014/main" id="{C34F1D52-4741-E939-8039-57EF891412EB}"/>
              </a:ext>
            </a:extLst>
          </p:cNvPr>
          <p:cNvSpPr>
            <a:spLocks noGrp="1"/>
          </p:cNvSpPr>
          <p:nvPr>
            <p:ph sz="quarter" idx="21" hasCustomPrompt="1"/>
          </p:nvPr>
        </p:nvSpPr>
        <p:spPr>
          <a:xfrm>
            <a:off x="2357253"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25" name="Pladsholder til tekst 27">
            <a:extLst>
              <a:ext uri="{FF2B5EF4-FFF2-40B4-BE49-F238E27FC236}">
                <a16:creationId xmlns:a16="http://schemas.microsoft.com/office/drawing/2014/main" id="{62943C01-8003-4E8C-CE1A-61097EACCD6B}"/>
              </a:ext>
            </a:extLst>
          </p:cNvPr>
          <p:cNvSpPr>
            <a:spLocks noGrp="1"/>
          </p:cNvSpPr>
          <p:nvPr>
            <p:ph type="body" sz="quarter" idx="22" hasCustomPrompt="1"/>
          </p:nvPr>
        </p:nvSpPr>
        <p:spPr>
          <a:xfrm>
            <a:off x="3149255"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6" name="Pladsholder til indhold 38">
            <a:extLst>
              <a:ext uri="{FF2B5EF4-FFF2-40B4-BE49-F238E27FC236}">
                <a16:creationId xmlns:a16="http://schemas.microsoft.com/office/drawing/2014/main" id="{11132FD0-77E2-028D-CA37-F7409765A477}"/>
              </a:ext>
            </a:extLst>
          </p:cNvPr>
          <p:cNvSpPr>
            <a:spLocks noGrp="1"/>
          </p:cNvSpPr>
          <p:nvPr>
            <p:ph sz="quarter" idx="23" hasCustomPrompt="1"/>
          </p:nvPr>
        </p:nvSpPr>
        <p:spPr>
          <a:xfrm>
            <a:off x="2357253"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27" name="Pladsholder til tekst 27">
            <a:extLst>
              <a:ext uri="{FF2B5EF4-FFF2-40B4-BE49-F238E27FC236}">
                <a16:creationId xmlns:a16="http://schemas.microsoft.com/office/drawing/2014/main" id="{500B8224-A01F-15E1-0985-2B24FBAF3D54}"/>
              </a:ext>
            </a:extLst>
          </p:cNvPr>
          <p:cNvSpPr>
            <a:spLocks noGrp="1"/>
          </p:cNvSpPr>
          <p:nvPr>
            <p:ph type="body" sz="quarter" idx="24" hasCustomPrompt="1"/>
          </p:nvPr>
        </p:nvSpPr>
        <p:spPr>
          <a:xfrm>
            <a:off x="3149255" y="1944599"/>
            <a:ext cx="3744912"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9" name="Pladsholder til indhold 38">
            <a:extLst>
              <a:ext uri="{FF2B5EF4-FFF2-40B4-BE49-F238E27FC236}">
                <a16:creationId xmlns:a16="http://schemas.microsoft.com/office/drawing/2014/main" id="{F3E6E751-5930-4B9F-F9AF-C1CBB7DEB57C}"/>
              </a:ext>
            </a:extLst>
          </p:cNvPr>
          <p:cNvSpPr>
            <a:spLocks noGrp="1"/>
          </p:cNvSpPr>
          <p:nvPr>
            <p:ph sz="quarter" idx="25" hasCustomPrompt="1"/>
          </p:nvPr>
        </p:nvSpPr>
        <p:spPr>
          <a:xfrm>
            <a:off x="2357253"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30" name="Pladsholder til tekst 27">
            <a:extLst>
              <a:ext uri="{FF2B5EF4-FFF2-40B4-BE49-F238E27FC236}">
                <a16:creationId xmlns:a16="http://schemas.microsoft.com/office/drawing/2014/main" id="{CE2B3114-29AD-9D6C-AD18-A016D8452E1D}"/>
              </a:ext>
            </a:extLst>
          </p:cNvPr>
          <p:cNvSpPr>
            <a:spLocks noGrp="1"/>
          </p:cNvSpPr>
          <p:nvPr>
            <p:ph type="body" sz="quarter" idx="26" hasCustomPrompt="1"/>
          </p:nvPr>
        </p:nvSpPr>
        <p:spPr>
          <a:xfrm>
            <a:off x="3149255"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1" name="Pladsholder til indhold 38">
            <a:extLst>
              <a:ext uri="{FF2B5EF4-FFF2-40B4-BE49-F238E27FC236}">
                <a16:creationId xmlns:a16="http://schemas.microsoft.com/office/drawing/2014/main" id="{A851D3DC-5E8A-29FC-0FC8-0CE7FCBABE2E}"/>
              </a:ext>
            </a:extLst>
          </p:cNvPr>
          <p:cNvSpPr>
            <a:spLocks noGrp="1"/>
          </p:cNvSpPr>
          <p:nvPr>
            <p:ph sz="quarter" idx="27" hasCustomPrompt="1"/>
          </p:nvPr>
        </p:nvSpPr>
        <p:spPr>
          <a:xfrm>
            <a:off x="2357253"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4</a:t>
            </a:r>
          </a:p>
        </p:txBody>
      </p:sp>
      <p:sp>
        <p:nvSpPr>
          <p:cNvPr id="32" name="Pladsholder til tekst 27">
            <a:extLst>
              <a:ext uri="{FF2B5EF4-FFF2-40B4-BE49-F238E27FC236}">
                <a16:creationId xmlns:a16="http://schemas.microsoft.com/office/drawing/2014/main" id="{DD844EAE-3700-6A21-F9D2-A93926D2E90F}"/>
              </a:ext>
            </a:extLst>
          </p:cNvPr>
          <p:cNvSpPr>
            <a:spLocks noGrp="1"/>
          </p:cNvSpPr>
          <p:nvPr>
            <p:ph type="body" sz="quarter" idx="28" hasCustomPrompt="1"/>
          </p:nvPr>
        </p:nvSpPr>
        <p:spPr>
          <a:xfrm>
            <a:off x="3149255"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3" name="Pladsholder til indhold 38">
            <a:extLst>
              <a:ext uri="{FF2B5EF4-FFF2-40B4-BE49-F238E27FC236}">
                <a16:creationId xmlns:a16="http://schemas.microsoft.com/office/drawing/2014/main" id="{4F5BB7CA-C703-71A2-14BB-D6978110908B}"/>
              </a:ext>
            </a:extLst>
          </p:cNvPr>
          <p:cNvSpPr>
            <a:spLocks noGrp="1"/>
          </p:cNvSpPr>
          <p:nvPr>
            <p:ph sz="quarter" idx="29" hasCustomPrompt="1"/>
          </p:nvPr>
        </p:nvSpPr>
        <p:spPr>
          <a:xfrm>
            <a:off x="2357253"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5</a:t>
            </a:r>
          </a:p>
        </p:txBody>
      </p:sp>
      <p:sp>
        <p:nvSpPr>
          <p:cNvPr id="34" name="Pladsholder til tekst 27">
            <a:extLst>
              <a:ext uri="{FF2B5EF4-FFF2-40B4-BE49-F238E27FC236}">
                <a16:creationId xmlns:a16="http://schemas.microsoft.com/office/drawing/2014/main" id="{B30DFB6D-079C-8B47-D8A2-672666BB4328}"/>
              </a:ext>
            </a:extLst>
          </p:cNvPr>
          <p:cNvSpPr>
            <a:spLocks noGrp="1"/>
          </p:cNvSpPr>
          <p:nvPr>
            <p:ph type="body" sz="quarter" idx="33" hasCustomPrompt="1"/>
          </p:nvPr>
        </p:nvSpPr>
        <p:spPr>
          <a:xfrm>
            <a:off x="7830977"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5" name="Pladsholder til indhold 38">
            <a:extLst>
              <a:ext uri="{FF2B5EF4-FFF2-40B4-BE49-F238E27FC236}">
                <a16:creationId xmlns:a16="http://schemas.microsoft.com/office/drawing/2014/main" id="{E4007F68-EB55-4361-1B64-2AD90CA4258D}"/>
              </a:ext>
            </a:extLst>
          </p:cNvPr>
          <p:cNvSpPr>
            <a:spLocks noGrp="1"/>
          </p:cNvSpPr>
          <p:nvPr>
            <p:ph sz="quarter" idx="34" hasCustomPrompt="1"/>
          </p:nvPr>
        </p:nvSpPr>
        <p:spPr>
          <a:xfrm>
            <a:off x="7038975"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8</a:t>
            </a:r>
          </a:p>
        </p:txBody>
      </p:sp>
      <p:sp>
        <p:nvSpPr>
          <p:cNvPr id="36" name="Pladsholder til tekst 27">
            <a:extLst>
              <a:ext uri="{FF2B5EF4-FFF2-40B4-BE49-F238E27FC236}">
                <a16:creationId xmlns:a16="http://schemas.microsoft.com/office/drawing/2014/main" id="{536C8716-06B3-785C-9A91-4ACE0A60D66F}"/>
              </a:ext>
            </a:extLst>
          </p:cNvPr>
          <p:cNvSpPr>
            <a:spLocks noGrp="1"/>
          </p:cNvSpPr>
          <p:nvPr>
            <p:ph type="body" sz="quarter" idx="35" hasCustomPrompt="1"/>
          </p:nvPr>
        </p:nvSpPr>
        <p:spPr>
          <a:xfrm>
            <a:off x="7830977"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7" name="Pladsholder til indhold 38">
            <a:extLst>
              <a:ext uri="{FF2B5EF4-FFF2-40B4-BE49-F238E27FC236}">
                <a16:creationId xmlns:a16="http://schemas.microsoft.com/office/drawing/2014/main" id="{92426736-5966-D2C5-5E13-648B728A0C6E}"/>
              </a:ext>
            </a:extLst>
          </p:cNvPr>
          <p:cNvSpPr>
            <a:spLocks noGrp="1"/>
          </p:cNvSpPr>
          <p:nvPr>
            <p:ph sz="quarter" idx="36" hasCustomPrompt="1"/>
          </p:nvPr>
        </p:nvSpPr>
        <p:spPr>
          <a:xfrm>
            <a:off x="7038975"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7</a:t>
            </a:r>
          </a:p>
        </p:txBody>
      </p:sp>
      <p:sp>
        <p:nvSpPr>
          <p:cNvPr id="38" name="Pladsholder til tekst 27">
            <a:extLst>
              <a:ext uri="{FF2B5EF4-FFF2-40B4-BE49-F238E27FC236}">
                <a16:creationId xmlns:a16="http://schemas.microsoft.com/office/drawing/2014/main" id="{CEC9C6C5-5E5F-69C1-512D-F1C09C9739BD}"/>
              </a:ext>
            </a:extLst>
          </p:cNvPr>
          <p:cNvSpPr>
            <a:spLocks noGrp="1"/>
          </p:cNvSpPr>
          <p:nvPr>
            <p:ph type="body" sz="quarter" idx="37" hasCustomPrompt="1"/>
          </p:nvPr>
        </p:nvSpPr>
        <p:spPr>
          <a:xfrm>
            <a:off x="7830977" y="1944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0" name="Pladsholder til indhold 38">
            <a:extLst>
              <a:ext uri="{FF2B5EF4-FFF2-40B4-BE49-F238E27FC236}">
                <a16:creationId xmlns:a16="http://schemas.microsoft.com/office/drawing/2014/main" id="{D40291E1-1A01-93BF-7F57-220EE961DBBA}"/>
              </a:ext>
            </a:extLst>
          </p:cNvPr>
          <p:cNvSpPr>
            <a:spLocks noGrp="1"/>
          </p:cNvSpPr>
          <p:nvPr>
            <p:ph sz="quarter" idx="38" hasCustomPrompt="1"/>
          </p:nvPr>
        </p:nvSpPr>
        <p:spPr>
          <a:xfrm>
            <a:off x="7038975"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6</a:t>
            </a:r>
          </a:p>
        </p:txBody>
      </p:sp>
      <p:sp>
        <p:nvSpPr>
          <p:cNvPr id="41" name="Pladsholder til tekst 27">
            <a:extLst>
              <a:ext uri="{FF2B5EF4-FFF2-40B4-BE49-F238E27FC236}">
                <a16:creationId xmlns:a16="http://schemas.microsoft.com/office/drawing/2014/main" id="{D1C277A7-919F-CA28-B00F-4D2C7CD58933}"/>
              </a:ext>
            </a:extLst>
          </p:cNvPr>
          <p:cNvSpPr>
            <a:spLocks noGrp="1"/>
          </p:cNvSpPr>
          <p:nvPr>
            <p:ph type="body" sz="quarter" idx="39" hasCustomPrompt="1"/>
          </p:nvPr>
        </p:nvSpPr>
        <p:spPr>
          <a:xfrm>
            <a:off x="7830977"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2" name="Pladsholder til indhold 38">
            <a:extLst>
              <a:ext uri="{FF2B5EF4-FFF2-40B4-BE49-F238E27FC236}">
                <a16:creationId xmlns:a16="http://schemas.microsoft.com/office/drawing/2014/main" id="{FFAF27CD-066B-D81F-5FBE-6A9FAE459893}"/>
              </a:ext>
            </a:extLst>
          </p:cNvPr>
          <p:cNvSpPr>
            <a:spLocks noGrp="1"/>
          </p:cNvSpPr>
          <p:nvPr>
            <p:ph sz="quarter" idx="40" hasCustomPrompt="1"/>
          </p:nvPr>
        </p:nvSpPr>
        <p:spPr>
          <a:xfrm>
            <a:off x="7038975"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9</a:t>
            </a:r>
          </a:p>
        </p:txBody>
      </p:sp>
      <p:sp>
        <p:nvSpPr>
          <p:cNvPr id="43" name="Pladsholder til tekst 27">
            <a:extLst>
              <a:ext uri="{FF2B5EF4-FFF2-40B4-BE49-F238E27FC236}">
                <a16:creationId xmlns:a16="http://schemas.microsoft.com/office/drawing/2014/main" id="{4BDC77FD-B70E-7972-99F3-0233B6DADF59}"/>
              </a:ext>
            </a:extLst>
          </p:cNvPr>
          <p:cNvSpPr>
            <a:spLocks noGrp="1"/>
          </p:cNvSpPr>
          <p:nvPr>
            <p:ph type="body" sz="quarter" idx="41" hasCustomPrompt="1"/>
          </p:nvPr>
        </p:nvSpPr>
        <p:spPr>
          <a:xfrm>
            <a:off x="7830977"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4" name="Pladsholder til indhold 38">
            <a:extLst>
              <a:ext uri="{FF2B5EF4-FFF2-40B4-BE49-F238E27FC236}">
                <a16:creationId xmlns:a16="http://schemas.microsoft.com/office/drawing/2014/main" id="{9190FB13-7976-8BE1-BB0C-5B608569B43D}"/>
              </a:ext>
            </a:extLst>
          </p:cNvPr>
          <p:cNvSpPr>
            <a:spLocks noGrp="1"/>
          </p:cNvSpPr>
          <p:nvPr>
            <p:ph sz="quarter" idx="42" hasCustomPrompt="1"/>
          </p:nvPr>
        </p:nvSpPr>
        <p:spPr>
          <a:xfrm>
            <a:off x="7038975"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0</a:t>
            </a:r>
          </a:p>
        </p:txBody>
      </p:sp>
      <p:sp>
        <p:nvSpPr>
          <p:cNvPr id="5" name="Pladsholder til tekst 5">
            <a:extLst>
              <a:ext uri="{FF2B5EF4-FFF2-40B4-BE49-F238E27FC236}">
                <a16:creationId xmlns:a16="http://schemas.microsoft.com/office/drawing/2014/main" id="{C621C992-121E-489B-5837-4762CC9BDC20}"/>
              </a:ext>
            </a:extLst>
          </p:cNvPr>
          <p:cNvSpPr>
            <a:spLocks noGrp="1"/>
          </p:cNvSpPr>
          <p:nvPr>
            <p:ph type="body" sz="quarter" idx="43" hasCustomPrompt="1"/>
          </p:nvPr>
        </p:nvSpPr>
        <p:spPr>
          <a:xfrm>
            <a:off x="1343025" y="916738"/>
            <a:ext cx="5551142" cy="738188"/>
          </a:xfrm>
        </p:spPr>
        <p:txBody>
          <a:bodyPr/>
          <a:lstStyle>
            <a:lvl1pPr marL="0" indent="0" algn="l">
              <a:buNone/>
              <a:defRPr sz="4800">
                <a:latin typeface="Work Sans Light" pitchFamily="2" charset="0"/>
              </a:defRPr>
            </a:lvl1pPr>
          </a:lstStyle>
          <a:p>
            <a:pPr lvl="0"/>
            <a:r>
              <a:rPr lang="en-US"/>
              <a:t>Agenda</a:t>
            </a:r>
            <a:endParaRPr lang="da-DK"/>
          </a:p>
        </p:txBody>
      </p:sp>
      <p:sp>
        <p:nvSpPr>
          <p:cNvPr id="4" name="Date Placeholder 3">
            <a:extLst>
              <a:ext uri="{FF2B5EF4-FFF2-40B4-BE49-F238E27FC236}">
                <a16:creationId xmlns:a16="http://schemas.microsoft.com/office/drawing/2014/main" id="{F84C1ED8-971F-D27C-5AEA-11AB11F710FA}"/>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6-03-2026</a:t>
            </a:fld>
            <a:endParaRPr lang="da-DK"/>
          </a:p>
        </p:txBody>
      </p:sp>
      <p:sp>
        <p:nvSpPr>
          <p:cNvPr id="6" name="Slide Number Placeholder 5">
            <a:extLst>
              <a:ext uri="{FF2B5EF4-FFF2-40B4-BE49-F238E27FC236}">
                <a16:creationId xmlns:a16="http://schemas.microsoft.com/office/drawing/2014/main" id="{6BCAC577-9627-D685-C4D8-7693F7FB6F90}"/>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a:p>
        </p:txBody>
      </p:sp>
    </p:spTree>
    <p:extLst>
      <p:ext uri="{BB962C8B-B14F-4D97-AF65-F5344CB8AC3E}">
        <p14:creationId xmlns:p14="http://schemas.microsoft.com/office/powerpoint/2010/main" val="98390727"/>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re pointer/tekstelementer">
    <p:spTree>
      <p:nvGrpSpPr>
        <p:cNvPr id="1" name=""/>
        <p:cNvGrpSpPr/>
        <p:nvPr/>
      </p:nvGrpSpPr>
      <p:grpSpPr>
        <a:xfrm>
          <a:off x="0" y="0"/>
          <a:ext cx="0" cy="0"/>
          <a:chOff x="0" y="0"/>
          <a:chExt cx="0" cy="0"/>
        </a:xfrm>
      </p:grpSpPr>
      <p:sp>
        <p:nvSpPr>
          <p:cNvPr id="8" name="Pladsholder til billede 14">
            <a:extLst>
              <a:ext uri="{FF2B5EF4-FFF2-40B4-BE49-F238E27FC236}">
                <a16:creationId xmlns:a16="http://schemas.microsoft.com/office/drawing/2014/main" id="{553E5F1F-8BAB-6D02-6AE4-D74E4E360DEF}"/>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endParaRPr lang="da-DK" noProof="0"/>
          </a:p>
        </p:txBody>
      </p:sp>
      <p:sp>
        <p:nvSpPr>
          <p:cNvPr id="3" name="Pladsholder til tekst 2">
            <a:extLst>
              <a:ext uri="{FF2B5EF4-FFF2-40B4-BE49-F238E27FC236}">
                <a16:creationId xmlns:a16="http://schemas.microsoft.com/office/drawing/2014/main" id="{52A32D22-6497-111B-5ED8-EC302ED9F6D3}"/>
              </a:ext>
            </a:extLst>
          </p:cNvPr>
          <p:cNvSpPr>
            <a:spLocks noGrp="1"/>
          </p:cNvSpPr>
          <p:nvPr>
            <p:ph type="body" sz="quarter" idx="26" hasCustomPrompt="1"/>
          </p:nvPr>
        </p:nvSpPr>
        <p:spPr>
          <a:xfrm rot="5400000">
            <a:off x="1343025"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3141450"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24" name="Subtitle 2">
            <a:extLst>
              <a:ext uri="{FF2B5EF4-FFF2-40B4-BE49-F238E27FC236}">
                <a16:creationId xmlns:a16="http://schemas.microsoft.com/office/drawing/2014/main" id="{4DD335D4-2565-8E09-739E-B31DF249384D}"/>
              </a:ext>
            </a:extLst>
          </p:cNvPr>
          <p:cNvSpPr>
            <a:spLocks noGrp="1"/>
          </p:cNvSpPr>
          <p:nvPr>
            <p:ph type="subTitle" idx="1"/>
          </p:nvPr>
        </p:nvSpPr>
        <p:spPr>
          <a:xfrm>
            <a:off x="431798" y="1511800"/>
            <a:ext cx="5664201" cy="576000"/>
          </a:xfrm>
        </p:spPr>
        <p:txBody>
          <a:bodyPr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sp>
        <p:nvSpPr>
          <p:cNvPr id="27" name="Pladsholder til tekst 2">
            <a:extLst>
              <a:ext uri="{FF2B5EF4-FFF2-40B4-BE49-F238E27FC236}">
                <a16:creationId xmlns:a16="http://schemas.microsoft.com/office/drawing/2014/main" id="{18755EF9-BADD-ACFC-6605-C6CCBE3E6C61}"/>
              </a:ext>
            </a:extLst>
          </p:cNvPr>
          <p:cNvSpPr>
            <a:spLocks noGrp="1"/>
          </p:cNvSpPr>
          <p:nvPr>
            <p:ph type="body" sz="quarter" idx="27" hasCustomPrompt="1"/>
          </p:nvPr>
        </p:nvSpPr>
        <p:spPr>
          <a:xfrm rot="5400000">
            <a:off x="4160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29" name="Pladsholder til indhold 38">
            <a:extLst>
              <a:ext uri="{FF2B5EF4-FFF2-40B4-BE49-F238E27FC236}">
                <a16:creationId xmlns:a16="http://schemas.microsoft.com/office/drawing/2014/main" id="{5D7F7C72-5D18-4621-7488-B9721DD26E23}"/>
              </a:ext>
            </a:extLst>
          </p:cNvPr>
          <p:cNvSpPr>
            <a:spLocks noGrp="1"/>
          </p:cNvSpPr>
          <p:nvPr>
            <p:ph sz="quarter" idx="28" hasCustomPrompt="1"/>
          </p:nvPr>
        </p:nvSpPr>
        <p:spPr>
          <a:xfrm>
            <a:off x="5958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31" name="Pladsholder til tekst 2">
            <a:extLst>
              <a:ext uri="{FF2B5EF4-FFF2-40B4-BE49-F238E27FC236}">
                <a16:creationId xmlns:a16="http://schemas.microsoft.com/office/drawing/2014/main" id="{E4E173DA-3F2E-D803-1A5A-DC349D0D7DF9}"/>
              </a:ext>
            </a:extLst>
          </p:cNvPr>
          <p:cNvSpPr>
            <a:spLocks noGrp="1"/>
          </p:cNvSpPr>
          <p:nvPr>
            <p:ph type="body" sz="quarter" idx="29" hasCustomPrompt="1"/>
          </p:nvPr>
        </p:nvSpPr>
        <p:spPr>
          <a:xfrm rot="5400000">
            <a:off x="6968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32" name="Pladsholder til indhold 38">
            <a:extLst>
              <a:ext uri="{FF2B5EF4-FFF2-40B4-BE49-F238E27FC236}">
                <a16:creationId xmlns:a16="http://schemas.microsoft.com/office/drawing/2014/main" id="{AB4154FD-CEC6-4968-4D09-E9C02146256C}"/>
              </a:ext>
            </a:extLst>
          </p:cNvPr>
          <p:cNvSpPr>
            <a:spLocks noGrp="1"/>
          </p:cNvSpPr>
          <p:nvPr>
            <p:ph sz="quarter" idx="30" hasCustomPrompt="1"/>
          </p:nvPr>
        </p:nvSpPr>
        <p:spPr>
          <a:xfrm>
            <a:off x="8766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4" name="Footer Placeholder 3">
            <a:extLst>
              <a:ext uri="{FF2B5EF4-FFF2-40B4-BE49-F238E27FC236}">
                <a16:creationId xmlns:a16="http://schemas.microsoft.com/office/drawing/2014/main" id="{8F57F3AF-C3CB-F3F3-2FD8-EB912B833780}"/>
              </a:ext>
            </a:extLst>
          </p:cNvPr>
          <p:cNvSpPr>
            <a:spLocks noGrp="1"/>
          </p:cNvSpPr>
          <p:nvPr>
            <p:ph type="ftr" sz="quarter" idx="32"/>
          </p:nvPr>
        </p:nvSpPr>
        <p:spPr/>
        <p:txBody>
          <a:bodyPr/>
          <a:lstStyle/>
          <a:p>
            <a:endParaRPr lang="da-DK" noProof="0"/>
          </a:p>
        </p:txBody>
      </p:sp>
      <p:sp>
        <p:nvSpPr>
          <p:cNvPr id="5" name="Title 12">
            <a:extLst>
              <a:ext uri="{FF2B5EF4-FFF2-40B4-BE49-F238E27FC236}">
                <a16:creationId xmlns:a16="http://schemas.microsoft.com/office/drawing/2014/main" id="{B48E5EE1-BF17-35A9-500D-F97B5113AEBF}"/>
              </a:ext>
            </a:extLst>
          </p:cNvPr>
          <p:cNvSpPr>
            <a:spLocks noGrp="1"/>
          </p:cNvSpPr>
          <p:nvPr>
            <p:ph type="title" hasCustomPrompt="1"/>
          </p:nvPr>
        </p:nvSpPr>
        <p:spPr>
          <a:xfrm>
            <a:off x="431799" y="431800"/>
            <a:ext cx="7714674" cy="864000"/>
          </a:xfrm>
        </p:spPr>
        <p:txBody>
          <a:bodyPr anchor="ctr"/>
          <a:lstStyle>
            <a:lvl1pPr>
              <a:defRPr/>
            </a:lvl1pPr>
          </a:lstStyle>
          <a:p>
            <a:r>
              <a:rPr lang="da-DK" noProof="0"/>
              <a:t>Klik for at redigere titeltypografien i masteren </a:t>
            </a:r>
          </a:p>
        </p:txBody>
      </p:sp>
      <p:sp>
        <p:nvSpPr>
          <p:cNvPr id="6" name="Date Placeholder 3">
            <a:extLst>
              <a:ext uri="{FF2B5EF4-FFF2-40B4-BE49-F238E27FC236}">
                <a16:creationId xmlns:a16="http://schemas.microsoft.com/office/drawing/2014/main" id="{A3E80F01-9EFA-47FD-FE69-AE0DB0540FFB}"/>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6-03-2026</a:t>
            </a:fld>
            <a:endParaRPr lang="da-DK"/>
          </a:p>
        </p:txBody>
      </p:sp>
      <p:sp>
        <p:nvSpPr>
          <p:cNvPr id="7" name="Slide Number Placeholder 5">
            <a:extLst>
              <a:ext uri="{FF2B5EF4-FFF2-40B4-BE49-F238E27FC236}">
                <a16:creationId xmlns:a16="http://schemas.microsoft.com/office/drawing/2014/main" id="{5F71A41C-923A-4538-4400-76237DDE6AAF}"/>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a:p>
        </p:txBody>
      </p:sp>
    </p:spTree>
    <p:extLst>
      <p:ext uri="{BB962C8B-B14F-4D97-AF65-F5344CB8AC3E}">
        <p14:creationId xmlns:p14="http://schemas.microsoft.com/office/powerpoint/2010/main" val="3836759145"/>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o indholdselementer">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6180201" y="1655999"/>
            <a:ext cx="5580000" cy="4473337"/>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endParaRPr lang="da-DK" noProof="0"/>
          </a:p>
        </p:txBody>
      </p:sp>
      <p:sp>
        <p:nvSpPr>
          <p:cNvPr id="6" name="Content Placeholder">
            <a:extLst>
              <a:ext uri="{FF2B5EF4-FFF2-40B4-BE49-F238E27FC236}">
                <a16:creationId xmlns:a16="http://schemas.microsoft.com/office/drawing/2014/main" id="{48F86D0C-D364-ABE6-D216-EDF6D94078E6}"/>
              </a:ext>
            </a:extLst>
          </p:cNvPr>
          <p:cNvSpPr>
            <a:spLocks noGrp="1"/>
          </p:cNvSpPr>
          <p:nvPr>
            <p:ph sz="quarter" idx="18" hasCustomPrompt="1"/>
          </p:nvPr>
        </p:nvSpPr>
        <p:spPr>
          <a:xfrm>
            <a:off x="431798" y="1656000"/>
            <a:ext cx="5580000" cy="4473336"/>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5" name="Title 12">
            <a:extLst>
              <a:ext uri="{FF2B5EF4-FFF2-40B4-BE49-F238E27FC236}">
                <a16:creationId xmlns:a16="http://schemas.microsoft.com/office/drawing/2014/main" id="{657E96EA-4C51-214A-8F66-5B848C762714}"/>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7" name="Date Placeholder 3">
            <a:extLst>
              <a:ext uri="{FF2B5EF4-FFF2-40B4-BE49-F238E27FC236}">
                <a16:creationId xmlns:a16="http://schemas.microsoft.com/office/drawing/2014/main" id="{EB265B59-131E-35D2-9ACB-04FB3E2C0E1F}"/>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6-03-2026</a:t>
            </a:fld>
            <a:endParaRPr lang="da-DK"/>
          </a:p>
        </p:txBody>
      </p:sp>
      <p:sp>
        <p:nvSpPr>
          <p:cNvPr id="11" name="Slide Number Placeholder 5">
            <a:extLst>
              <a:ext uri="{FF2B5EF4-FFF2-40B4-BE49-F238E27FC236}">
                <a16:creationId xmlns:a16="http://schemas.microsoft.com/office/drawing/2014/main" id="{86F2C642-0154-BD5B-9BC2-F0F7783FEADC}"/>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a:p>
        </p:txBody>
      </p:sp>
    </p:spTree>
    <p:extLst>
      <p:ext uri="{BB962C8B-B14F-4D97-AF65-F5344CB8AC3E}">
        <p14:creationId xmlns:p14="http://schemas.microsoft.com/office/powerpoint/2010/main" val="3707162878"/>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o indholdselementer 2">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431800" y="431799"/>
            <a:ext cx="5580000" cy="5697538"/>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endParaRPr lang="da-DK" noProof="0"/>
          </a:p>
        </p:txBody>
      </p:sp>
      <p:sp>
        <p:nvSpPr>
          <p:cNvPr id="7" name="Content Placeholder">
            <a:extLst>
              <a:ext uri="{FF2B5EF4-FFF2-40B4-BE49-F238E27FC236}">
                <a16:creationId xmlns:a16="http://schemas.microsoft.com/office/drawing/2014/main" id="{A3840D9F-0CD6-CC7F-3ED8-73A585F6D70B}"/>
              </a:ext>
            </a:extLst>
          </p:cNvPr>
          <p:cNvSpPr>
            <a:spLocks noGrp="1"/>
          </p:cNvSpPr>
          <p:nvPr>
            <p:ph sz="quarter" idx="18" hasCustomPrompt="1"/>
          </p:nvPr>
        </p:nvSpPr>
        <p:spPr>
          <a:xfrm>
            <a:off x="6180200" y="1655999"/>
            <a:ext cx="5580000" cy="4473337"/>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3" name="Title 12">
            <a:extLst>
              <a:ext uri="{FF2B5EF4-FFF2-40B4-BE49-F238E27FC236}">
                <a16:creationId xmlns:a16="http://schemas.microsoft.com/office/drawing/2014/main" id="{3225124F-8CDD-3FBF-CFB1-840AF3004C83}"/>
              </a:ext>
            </a:extLst>
          </p:cNvPr>
          <p:cNvSpPr>
            <a:spLocks noGrp="1"/>
          </p:cNvSpPr>
          <p:nvPr>
            <p:ph type="title" hasCustomPrompt="1"/>
          </p:nvPr>
        </p:nvSpPr>
        <p:spPr>
          <a:xfrm>
            <a:off x="6178613" y="431800"/>
            <a:ext cx="5580000" cy="864000"/>
          </a:xfrm>
        </p:spPr>
        <p:txBody>
          <a:bodyPr anchor="ctr"/>
          <a:lstStyle>
            <a:lvl1pPr>
              <a:defRPr/>
            </a:lvl1pPr>
          </a:lstStyle>
          <a:p>
            <a:r>
              <a:rPr lang="da-DK" noProof="0"/>
              <a:t>Klik for at redigere titeltypografien i masteren </a:t>
            </a:r>
          </a:p>
        </p:txBody>
      </p:sp>
      <p:sp>
        <p:nvSpPr>
          <p:cNvPr id="6" name="Date Placeholder 3">
            <a:extLst>
              <a:ext uri="{FF2B5EF4-FFF2-40B4-BE49-F238E27FC236}">
                <a16:creationId xmlns:a16="http://schemas.microsoft.com/office/drawing/2014/main" id="{8E6D5222-E22F-30AF-4B74-AE77244736D2}"/>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6-03-2026</a:t>
            </a:fld>
            <a:endParaRPr lang="da-DK"/>
          </a:p>
        </p:txBody>
      </p:sp>
      <p:sp>
        <p:nvSpPr>
          <p:cNvPr id="11" name="Slide Number Placeholder 5">
            <a:extLst>
              <a:ext uri="{FF2B5EF4-FFF2-40B4-BE49-F238E27FC236}">
                <a16:creationId xmlns:a16="http://schemas.microsoft.com/office/drawing/2014/main" id="{C5842651-16DB-F354-78EC-21C2FC4EA6D7}"/>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a:p>
        </p:txBody>
      </p:sp>
    </p:spTree>
    <p:extLst>
      <p:ext uri="{BB962C8B-B14F-4D97-AF65-F5344CB8AC3E}">
        <p14:creationId xmlns:p14="http://schemas.microsoft.com/office/powerpoint/2010/main" val="504029681"/>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o indholdselementer 3">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4308201" y="431799"/>
            <a:ext cx="7452000" cy="5697538"/>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6" name="Content Placeholder">
            <a:extLst>
              <a:ext uri="{FF2B5EF4-FFF2-40B4-BE49-F238E27FC236}">
                <a16:creationId xmlns:a16="http://schemas.microsoft.com/office/drawing/2014/main" id="{8CEEFDC5-963A-80D0-1462-210EF1C5B71E}"/>
              </a:ext>
            </a:extLst>
          </p:cNvPr>
          <p:cNvSpPr>
            <a:spLocks noGrp="1"/>
          </p:cNvSpPr>
          <p:nvPr>
            <p:ph sz="quarter" idx="18" hasCustomPrompt="1"/>
          </p:nvPr>
        </p:nvSpPr>
        <p:spPr>
          <a:xfrm>
            <a:off x="427861" y="1655999"/>
            <a:ext cx="3671998" cy="4473337"/>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4" name="Title 12">
            <a:extLst>
              <a:ext uri="{FF2B5EF4-FFF2-40B4-BE49-F238E27FC236}">
                <a16:creationId xmlns:a16="http://schemas.microsoft.com/office/drawing/2014/main" id="{D1CA8CC0-FB42-10E7-326A-DE5EB17A7CE9}"/>
              </a:ext>
            </a:extLst>
          </p:cNvPr>
          <p:cNvSpPr>
            <a:spLocks noGrp="1"/>
          </p:cNvSpPr>
          <p:nvPr>
            <p:ph type="title" hasCustomPrompt="1"/>
          </p:nvPr>
        </p:nvSpPr>
        <p:spPr>
          <a:xfrm>
            <a:off x="431799" y="431800"/>
            <a:ext cx="3668060" cy="864000"/>
          </a:xfrm>
        </p:spPr>
        <p:txBody>
          <a:bodyPr anchor="ctr"/>
          <a:lstStyle>
            <a:lvl1pPr>
              <a:defRPr/>
            </a:lvl1pPr>
          </a:lstStyle>
          <a:p>
            <a:r>
              <a:rPr lang="da-DK" noProof="0"/>
              <a:t>Klik for at redigere titeltypografien i masteren </a:t>
            </a:r>
          </a:p>
        </p:txBody>
      </p:sp>
      <p:sp>
        <p:nvSpPr>
          <p:cNvPr id="7" name="Date Placeholder 3">
            <a:extLst>
              <a:ext uri="{FF2B5EF4-FFF2-40B4-BE49-F238E27FC236}">
                <a16:creationId xmlns:a16="http://schemas.microsoft.com/office/drawing/2014/main" id="{45F00054-D0B8-16B8-BFF7-A8D41DDDDFCD}"/>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6-03-2026</a:t>
            </a:fld>
            <a:endParaRPr lang="da-DK"/>
          </a:p>
        </p:txBody>
      </p:sp>
      <p:sp>
        <p:nvSpPr>
          <p:cNvPr id="10" name="Slide Number Placeholder 5">
            <a:extLst>
              <a:ext uri="{FF2B5EF4-FFF2-40B4-BE49-F238E27FC236}">
                <a16:creationId xmlns:a16="http://schemas.microsoft.com/office/drawing/2014/main" id="{E2EAAEA4-276A-E181-5525-0A5B12CDA196}"/>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a:p>
        </p:txBody>
      </p:sp>
    </p:spTree>
    <p:extLst>
      <p:ext uri="{BB962C8B-B14F-4D97-AF65-F5344CB8AC3E}">
        <p14:creationId xmlns:p14="http://schemas.microsoft.com/office/powerpoint/2010/main" val="2097119944"/>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or- og mellemside 2">
    <p:bg>
      <p:bgRef idx="1001">
        <a:schemeClr val="bg2"/>
      </p:bgRef>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803305" y="-10033678"/>
            <a:ext cx="14400000" cy="1440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12" name="Title 1">
            <a:extLst>
              <a:ext uri="{FF2B5EF4-FFF2-40B4-BE49-F238E27FC236}">
                <a16:creationId xmlns:a16="http://schemas.microsoft.com/office/drawing/2014/main" id="{A07F47E0-90FC-E8B7-B715-D3C7DEAA0FD6}"/>
              </a:ext>
            </a:extLst>
          </p:cNvPr>
          <p:cNvSpPr>
            <a:spLocks noGrp="1"/>
          </p:cNvSpPr>
          <p:nvPr>
            <p:ph type="ctrTitle"/>
          </p:nvPr>
        </p:nvSpPr>
        <p:spPr>
          <a:xfrm>
            <a:off x="431799" y="2088000"/>
            <a:ext cx="7535864" cy="3456000"/>
          </a:xfrm>
          <a:prstGeom prst="rect">
            <a:avLst/>
          </a:prstGeom>
        </p:spPr>
        <p:txBody>
          <a:bodyPr anchor="b">
            <a:noAutofit/>
          </a:bodyPr>
          <a:lstStyle>
            <a:lvl1pPr algn="l">
              <a:defRPr sz="4800"/>
            </a:lvl1pPr>
          </a:lstStyle>
          <a:p>
            <a:r>
              <a:rPr lang="da-DK" noProof="0"/>
              <a:t>Klik for at redigere titeltypografien i masteren</a:t>
            </a:r>
          </a:p>
        </p:txBody>
      </p:sp>
      <p:sp>
        <p:nvSpPr>
          <p:cNvPr id="15" name="Date Placeholder 14">
            <a:extLst>
              <a:ext uri="{FF2B5EF4-FFF2-40B4-BE49-F238E27FC236}">
                <a16:creationId xmlns:a16="http://schemas.microsoft.com/office/drawing/2014/main" id="{AB7CEF90-B062-3E9D-C7C5-39575003AE1D}"/>
              </a:ext>
            </a:extLst>
          </p:cNvPr>
          <p:cNvSpPr>
            <a:spLocks noGrp="1"/>
          </p:cNvSpPr>
          <p:nvPr>
            <p:ph type="dt" sz="half" idx="10"/>
          </p:nvPr>
        </p:nvSpPr>
        <p:spPr/>
        <p:txBody>
          <a:bodyPr/>
          <a:lstStyle/>
          <a:p>
            <a:fld id="{19351913-B11A-4C93-AE0F-A7553C448803}" type="datetime1">
              <a:rPr lang="da-DK" noProof="0" smtClean="0"/>
              <a:t>16-03-2026</a:t>
            </a:fld>
            <a:endParaRPr lang="da-DK" noProof="0"/>
          </a:p>
        </p:txBody>
      </p:sp>
      <p:sp>
        <p:nvSpPr>
          <p:cNvPr id="16" name="Footer Placeholder 15">
            <a:extLst>
              <a:ext uri="{FF2B5EF4-FFF2-40B4-BE49-F238E27FC236}">
                <a16:creationId xmlns:a16="http://schemas.microsoft.com/office/drawing/2014/main" id="{5C96EA94-779A-6A0C-8DAF-15DD10091434}"/>
              </a:ext>
            </a:extLst>
          </p:cNvPr>
          <p:cNvSpPr>
            <a:spLocks noGrp="1"/>
          </p:cNvSpPr>
          <p:nvPr>
            <p:ph type="ftr" sz="quarter" idx="11"/>
          </p:nvPr>
        </p:nvSpPr>
        <p:spPr/>
        <p:txBody>
          <a:bodyPr/>
          <a:lstStyle/>
          <a:p>
            <a:endParaRPr lang="da-DK" noProof="0"/>
          </a:p>
        </p:txBody>
      </p:sp>
      <p:sp>
        <p:nvSpPr>
          <p:cNvPr id="17" name="Slide Number Placeholder 16">
            <a:extLst>
              <a:ext uri="{FF2B5EF4-FFF2-40B4-BE49-F238E27FC236}">
                <a16:creationId xmlns:a16="http://schemas.microsoft.com/office/drawing/2014/main" id="{A4254271-E7EC-79F0-7144-FE1848A055F0}"/>
              </a:ext>
            </a:extLst>
          </p:cNvPr>
          <p:cNvSpPr>
            <a:spLocks noGrp="1"/>
          </p:cNvSpPr>
          <p:nvPr>
            <p:ph type="sldNum" sz="quarter" idx="12"/>
          </p:nvPr>
        </p:nvSpPr>
        <p:spPr/>
        <p:txBody>
          <a:bodyPr/>
          <a:lstStyle/>
          <a:p>
            <a:fld id="{FA9C6259-F55B-47A6-AB0B-9E9F0835A2F0}" type="slidenum">
              <a:rPr lang="da-DK" noProof="0" smtClean="0"/>
              <a:pPr/>
              <a:t>‹nr.›</a:t>
            </a:fld>
            <a:endParaRPr lang="da-DK" noProof="0"/>
          </a:p>
        </p:txBody>
      </p:sp>
      <p:sp>
        <p:nvSpPr>
          <p:cNvPr id="2" name="Subtitle 2">
            <a:extLst>
              <a:ext uri="{FF2B5EF4-FFF2-40B4-BE49-F238E27FC236}">
                <a16:creationId xmlns:a16="http://schemas.microsoft.com/office/drawing/2014/main" id="{E07C53AB-35E0-E874-E5AB-A22135039BAD}"/>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2BAAF581-0891-DF88-D057-832A787F58E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82375618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Et indholdselemen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5" name="Content Placeholder">
            <a:extLst>
              <a:ext uri="{FF2B5EF4-FFF2-40B4-BE49-F238E27FC236}">
                <a16:creationId xmlns:a16="http://schemas.microsoft.com/office/drawing/2014/main" id="{AF3FA671-EF99-5D14-95F3-F863608C2AEC}"/>
              </a:ext>
            </a:extLst>
          </p:cNvPr>
          <p:cNvSpPr>
            <a:spLocks noGrp="1"/>
          </p:cNvSpPr>
          <p:nvPr>
            <p:ph sz="quarter" idx="13"/>
          </p:nvPr>
        </p:nvSpPr>
        <p:spPr>
          <a:xfrm>
            <a:off x="431797" y="1656000"/>
            <a:ext cx="11326813" cy="4473338"/>
          </a:xfrm>
        </p:spPr>
        <p:txBody>
          <a:bodyPr/>
          <a:lstStyle>
            <a:lvl1pPr marL="0" indent="0">
              <a:buNone/>
              <a:defRPr/>
            </a:lvl1pPr>
          </a:lstStyle>
          <a:p>
            <a:pPr lvl="0"/>
            <a:endParaRPr lang="da-DK" noProof="0"/>
          </a:p>
        </p:txBody>
      </p:sp>
      <p:sp>
        <p:nvSpPr>
          <p:cNvPr id="3" name="Title 12">
            <a:extLst>
              <a:ext uri="{FF2B5EF4-FFF2-40B4-BE49-F238E27FC236}">
                <a16:creationId xmlns:a16="http://schemas.microsoft.com/office/drawing/2014/main" id="{80A0F20E-3AB8-8D21-2927-FD4E7A264AEF}"/>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6" name="Date Placeholder 3">
            <a:extLst>
              <a:ext uri="{FF2B5EF4-FFF2-40B4-BE49-F238E27FC236}">
                <a16:creationId xmlns:a16="http://schemas.microsoft.com/office/drawing/2014/main" id="{1AC9A1CF-9BB8-ACFF-BEEB-195229D5B766}"/>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6-03-2026</a:t>
            </a:fld>
            <a:endParaRPr lang="da-DK"/>
          </a:p>
        </p:txBody>
      </p:sp>
      <p:sp>
        <p:nvSpPr>
          <p:cNvPr id="7" name="Slide Number Placeholder 5">
            <a:extLst>
              <a:ext uri="{FF2B5EF4-FFF2-40B4-BE49-F238E27FC236}">
                <a16:creationId xmlns:a16="http://schemas.microsoft.com/office/drawing/2014/main" id="{4E9BDC6B-35B6-5B29-144C-CC09C559EE18}"/>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a:p>
        </p:txBody>
      </p:sp>
    </p:spTree>
    <p:extLst>
      <p:ext uri="{BB962C8B-B14F-4D97-AF65-F5344CB8AC3E}">
        <p14:creationId xmlns:p14="http://schemas.microsoft.com/office/powerpoint/2010/main" val="666419081"/>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re indholdselementer">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585997"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585210"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16" name="Content Placeholder">
            <a:extLst>
              <a:ext uri="{FF2B5EF4-FFF2-40B4-BE49-F238E27FC236}">
                <a16:creationId xmlns:a16="http://schemas.microsoft.com/office/drawing/2014/main" id="{071BC6CF-C0A0-026F-8923-83DEC5C53812}"/>
              </a:ext>
            </a:extLst>
          </p:cNvPr>
          <p:cNvSpPr>
            <a:spLocks noGrp="1"/>
          </p:cNvSpPr>
          <p:nvPr>
            <p:ph sz="quarter" idx="19" hasCustomPrompt="1"/>
          </p:nvPr>
        </p:nvSpPr>
        <p:spPr>
          <a:xfrm>
            <a:off x="4368000"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8" name="Text Placeholder 14">
            <a:extLst>
              <a:ext uri="{FF2B5EF4-FFF2-40B4-BE49-F238E27FC236}">
                <a16:creationId xmlns:a16="http://schemas.microsoft.com/office/drawing/2014/main" id="{CBF7BF71-5BF4-B4EB-6418-C90F6D38E0C3}"/>
              </a:ext>
            </a:extLst>
          </p:cNvPr>
          <p:cNvSpPr>
            <a:spLocks noGrp="1"/>
          </p:cNvSpPr>
          <p:nvPr>
            <p:ph type="body" sz="quarter" idx="20" hasCustomPrompt="1"/>
          </p:nvPr>
        </p:nvSpPr>
        <p:spPr>
          <a:xfrm>
            <a:off x="4367213"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19" name="Content Placeholder">
            <a:extLst>
              <a:ext uri="{FF2B5EF4-FFF2-40B4-BE49-F238E27FC236}">
                <a16:creationId xmlns:a16="http://schemas.microsoft.com/office/drawing/2014/main" id="{FB703B9F-4489-0A5E-3BB0-56D56672CABD}"/>
              </a:ext>
            </a:extLst>
          </p:cNvPr>
          <p:cNvSpPr>
            <a:spLocks noGrp="1"/>
          </p:cNvSpPr>
          <p:nvPr>
            <p:ph sz="quarter" idx="21" hasCustomPrompt="1"/>
          </p:nvPr>
        </p:nvSpPr>
        <p:spPr>
          <a:xfrm>
            <a:off x="8143468"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1" name="Text Placeholder 14">
            <a:extLst>
              <a:ext uri="{FF2B5EF4-FFF2-40B4-BE49-F238E27FC236}">
                <a16:creationId xmlns:a16="http://schemas.microsoft.com/office/drawing/2014/main" id="{8D5872B1-C6FC-9F83-9DDF-D8BCE82E24FD}"/>
              </a:ext>
            </a:extLst>
          </p:cNvPr>
          <p:cNvSpPr>
            <a:spLocks noGrp="1"/>
          </p:cNvSpPr>
          <p:nvPr>
            <p:ph type="body" sz="quarter" idx="22" hasCustomPrompt="1"/>
          </p:nvPr>
        </p:nvSpPr>
        <p:spPr>
          <a:xfrm>
            <a:off x="8142681"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5" name="Title 12">
            <a:extLst>
              <a:ext uri="{FF2B5EF4-FFF2-40B4-BE49-F238E27FC236}">
                <a16:creationId xmlns:a16="http://schemas.microsoft.com/office/drawing/2014/main" id="{23923A93-39D3-E04F-3D90-37DBD99E8682}"/>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6" name="Date Placeholder 3">
            <a:extLst>
              <a:ext uri="{FF2B5EF4-FFF2-40B4-BE49-F238E27FC236}">
                <a16:creationId xmlns:a16="http://schemas.microsoft.com/office/drawing/2014/main" id="{5753E220-B367-95DC-7820-90D89B150DAE}"/>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6-03-2026</a:t>
            </a:fld>
            <a:endParaRPr lang="da-DK"/>
          </a:p>
        </p:txBody>
      </p:sp>
      <p:sp>
        <p:nvSpPr>
          <p:cNvPr id="7" name="Slide Number Placeholder 5">
            <a:extLst>
              <a:ext uri="{FF2B5EF4-FFF2-40B4-BE49-F238E27FC236}">
                <a16:creationId xmlns:a16="http://schemas.microsoft.com/office/drawing/2014/main" id="{461656C6-86FC-E2A1-7F20-B7D148705C66}"/>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a:p>
        </p:txBody>
      </p:sp>
    </p:spTree>
    <p:extLst>
      <p:ext uri="{BB962C8B-B14F-4D97-AF65-F5344CB8AC3E}">
        <p14:creationId xmlns:p14="http://schemas.microsoft.com/office/powerpoint/2010/main" val="4285193778"/>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re cards m indhold">
    <p:spTree>
      <p:nvGrpSpPr>
        <p:cNvPr id="1" name=""/>
        <p:cNvGrpSpPr/>
        <p:nvPr/>
      </p:nvGrpSpPr>
      <p:grpSpPr>
        <a:xfrm>
          <a:off x="0" y="0"/>
          <a:ext cx="0" cy="0"/>
          <a:chOff x="0" y="0"/>
          <a:chExt cx="0" cy="0"/>
        </a:xfrm>
      </p:grpSpPr>
      <p:sp>
        <p:nvSpPr>
          <p:cNvPr id="5" name="Rektangel: enkelt hjørne afrundet 3">
            <a:extLst>
              <a:ext uri="{FF2B5EF4-FFF2-40B4-BE49-F238E27FC236}">
                <a16:creationId xmlns:a16="http://schemas.microsoft.com/office/drawing/2014/main" id="{00EEAB10-B5C8-6022-FBBC-810419EA6289}"/>
              </a:ext>
            </a:extLst>
          </p:cNvPr>
          <p:cNvSpPr/>
          <p:nvPr userDrawn="1"/>
        </p:nvSpPr>
        <p:spPr>
          <a:xfrm rot="5400000">
            <a:off x="297776"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8" name="Content Placeholder">
            <a:extLst>
              <a:ext uri="{FF2B5EF4-FFF2-40B4-BE49-F238E27FC236}">
                <a16:creationId xmlns:a16="http://schemas.microsoft.com/office/drawing/2014/main" id="{4E91CDE7-A150-9C6F-48B3-D2425425F88B}"/>
              </a:ext>
            </a:extLst>
          </p:cNvPr>
          <p:cNvSpPr>
            <a:spLocks noGrp="1" noChangeAspect="1"/>
          </p:cNvSpPr>
          <p:nvPr>
            <p:ph sz="quarter" idx="13" hasCustomPrompt="1"/>
          </p:nvPr>
        </p:nvSpPr>
        <p:spPr>
          <a:xfrm>
            <a:off x="83777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83777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
        <p:nvSpPr>
          <p:cNvPr id="6" name="Rektangel: enkelt hjørne afrundet 3">
            <a:extLst>
              <a:ext uri="{FF2B5EF4-FFF2-40B4-BE49-F238E27FC236}">
                <a16:creationId xmlns:a16="http://schemas.microsoft.com/office/drawing/2014/main" id="{3F44D920-C562-CB3A-A90E-203C61152FDC}"/>
              </a:ext>
            </a:extLst>
          </p:cNvPr>
          <p:cNvSpPr/>
          <p:nvPr userDrawn="1"/>
        </p:nvSpPr>
        <p:spPr>
          <a:xfrm rot="5400000">
            <a:off x="4080000"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7" name="Content Placeholder">
            <a:extLst>
              <a:ext uri="{FF2B5EF4-FFF2-40B4-BE49-F238E27FC236}">
                <a16:creationId xmlns:a16="http://schemas.microsoft.com/office/drawing/2014/main" id="{CB865392-8DC1-3E12-AFFD-90B24E43F8AC}"/>
              </a:ext>
            </a:extLst>
          </p:cNvPr>
          <p:cNvSpPr>
            <a:spLocks noGrp="1" noChangeAspect="1"/>
          </p:cNvSpPr>
          <p:nvPr>
            <p:ph sz="quarter" idx="19" hasCustomPrompt="1"/>
          </p:nvPr>
        </p:nvSpPr>
        <p:spPr>
          <a:xfrm>
            <a:off x="4620000"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9" name="Text Placeholder 14">
            <a:extLst>
              <a:ext uri="{FF2B5EF4-FFF2-40B4-BE49-F238E27FC236}">
                <a16:creationId xmlns:a16="http://schemas.microsoft.com/office/drawing/2014/main" id="{DA071D47-D938-4517-894E-F44F79B81D53}"/>
              </a:ext>
            </a:extLst>
          </p:cNvPr>
          <p:cNvSpPr>
            <a:spLocks noGrp="1"/>
          </p:cNvSpPr>
          <p:nvPr>
            <p:ph type="body" sz="quarter" idx="20" hasCustomPrompt="1"/>
          </p:nvPr>
        </p:nvSpPr>
        <p:spPr>
          <a:xfrm>
            <a:off x="4620000"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
        <p:nvSpPr>
          <p:cNvPr id="10" name="Rektangel: enkelt hjørne afrundet 3">
            <a:extLst>
              <a:ext uri="{FF2B5EF4-FFF2-40B4-BE49-F238E27FC236}">
                <a16:creationId xmlns:a16="http://schemas.microsoft.com/office/drawing/2014/main" id="{5A8845E3-CF08-DCD4-A85C-CA8C47B27A0C}"/>
              </a:ext>
            </a:extLst>
          </p:cNvPr>
          <p:cNvSpPr/>
          <p:nvPr userDrawn="1"/>
        </p:nvSpPr>
        <p:spPr>
          <a:xfrm rot="5400000">
            <a:off x="7862226"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12" name="Content Placeholder">
            <a:extLst>
              <a:ext uri="{FF2B5EF4-FFF2-40B4-BE49-F238E27FC236}">
                <a16:creationId xmlns:a16="http://schemas.microsoft.com/office/drawing/2014/main" id="{09975C7B-92A1-77A3-6DF3-98B1EC362A64}"/>
              </a:ext>
            </a:extLst>
          </p:cNvPr>
          <p:cNvSpPr>
            <a:spLocks noGrp="1" noChangeAspect="1"/>
          </p:cNvSpPr>
          <p:nvPr>
            <p:ph sz="quarter" idx="21" hasCustomPrompt="1"/>
          </p:nvPr>
        </p:nvSpPr>
        <p:spPr>
          <a:xfrm>
            <a:off x="840222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4" name="Text Placeholder 14">
            <a:extLst>
              <a:ext uri="{FF2B5EF4-FFF2-40B4-BE49-F238E27FC236}">
                <a16:creationId xmlns:a16="http://schemas.microsoft.com/office/drawing/2014/main" id="{8306526A-8341-2F8B-ECCF-7F99D0F10D26}"/>
              </a:ext>
            </a:extLst>
          </p:cNvPr>
          <p:cNvSpPr>
            <a:spLocks noGrp="1"/>
          </p:cNvSpPr>
          <p:nvPr>
            <p:ph type="body" sz="quarter" idx="22" hasCustomPrompt="1"/>
          </p:nvPr>
        </p:nvSpPr>
        <p:spPr>
          <a:xfrm>
            <a:off x="840222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
        <p:nvSpPr>
          <p:cNvPr id="16" name="Title 12">
            <a:extLst>
              <a:ext uri="{FF2B5EF4-FFF2-40B4-BE49-F238E27FC236}">
                <a16:creationId xmlns:a16="http://schemas.microsoft.com/office/drawing/2014/main" id="{C115E72D-8BD9-EA6C-7574-E9430926D4C1}"/>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17" name="Date Placeholder 3">
            <a:extLst>
              <a:ext uri="{FF2B5EF4-FFF2-40B4-BE49-F238E27FC236}">
                <a16:creationId xmlns:a16="http://schemas.microsoft.com/office/drawing/2014/main" id="{8F5C748C-57AE-3869-304D-D7785959E585}"/>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6-03-2026</a:t>
            </a:fld>
            <a:endParaRPr lang="da-DK"/>
          </a:p>
        </p:txBody>
      </p:sp>
      <p:sp>
        <p:nvSpPr>
          <p:cNvPr id="18" name="Slide Number Placeholder 5">
            <a:extLst>
              <a:ext uri="{FF2B5EF4-FFF2-40B4-BE49-F238E27FC236}">
                <a16:creationId xmlns:a16="http://schemas.microsoft.com/office/drawing/2014/main" id="{D576747A-CB69-70FA-AD24-301858529701}"/>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a:p>
        </p:txBody>
      </p:sp>
    </p:spTree>
    <p:extLst>
      <p:ext uri="{BB962C8B-B14F-4D97-AF65-F5344CB8AC3E}">
        <p14:creationId xmlns:p14="http://schemas.microsoft.com/office/powerpoint/2010/main" val="2490236450"/>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tor hvid flade">
    <p:spTree>
      <p:nvGrpSpPr>
        <p:cNvPr id="1" name=""/>
        <p:cNvGrpSpPr/>
        <p:nvPr/>
      </p:nvGrpSpPr>
      <p:grpSpPr>
        <a:xfrm>
          <a:off x="0" y="0"/>
          <a:ext cx="0" cy="0"/>
          <a:chOff x="0" y="0"/>
          <a:chExt cx="0" cy="0"/>
        </a:xfrm>
      </p:grpSpPr>
      <p:sp>
        <p:nvSpPr>
          <p:cNvPr id="7" name="Rektangel: enkelt hjørne afrundet 6">
            <a:extLst>
              <a:ext uri="{FF2B5EF4-FFF2-40B4-BE49-F238E27FC236}">
                <a16:creationId xmlns:a16="http://schemas.microsoft.com/office/drawing/2014/main" id="{6BA1B22A-703B-774D-47B8-CE396D8921F1}"/>
              </a:ext>
            </a:extLst>
          </p:cNvPr>
          <p:cNvSpPr/>
          <p:nvPr userDrawn="1"/>
        </p:nvSpPr>
        <p:spPr>
          <a:xfrm flipH="1">
            <a:off x="332507" y="2097975"/>
            <a:ext cx="11859491" cy="4760026"/>
          </a:xfrm>
          <a:prstGeom prst="round1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432000" rIns="432000" bIns="720000" rtlCol="0" anchor="b" anchorCtr="0">
            <a:noAutofit/>
          </a:bodyPr>
          <a:lstStyle/>
          <a:p>
            <a:pPr>
              <a:lnSpc>
                <a:spcPct val="90000"/>
              </a:lnSpc>
            </a:pPr>
            <a:endParaRPr lang="da-DK" sz="1400" noProof="0">
              <a:solidFill>
                <a:schemeClr val="bg1"/>
              </a:solidFill>
              <a:latin typeface="Work Sans" pitchFamily="2" charset="0"/>
            </a:endParaRPr>
          </a:p>
        </p:txBody>
      </p:sp>
      <p:graphicFrame>
        <p:nvGraphicFramePr>
          <p:cNvPr id="8" name="think-cell data - do not delete" hidden="1">
            <a:extLst>
              <a:ext uri="{FF2B5EF4-FFF2-40B4-BE49-F238E27FC236}">
                <a16:creationId xmlns:a16="http://schemas.microsoft.com/office/drawing/2014/main" id="{E37C893D-BF64-4E35-B99E-04730F6AFF62}"/>
              </a:ext>
            </a:extLst>
          </p:cNvPr>
          <p:cNvGraphicFramePr>
            <a:graphicFrameLocks noChangeAspect="1"/>
          </p:cNvGraphicFramePr>
          <p:nvPr userDrawn="1">
            <p:custDataLst>
              <p:tags r:id="rId1"/>
            </p:custDataLst>
            <p:extLst>
              <p:ext uri="{D42A27DB-BD31-4B8C-83A1-F6EECF244321}">
                <p14:modId xmlns:p14="http://schemas.microsoft.com/office/powerpoint/2010/main" val="3038160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8" name="think-cell data - do not delete" hidden="1">
                        <a:extLst>
                          <a:ext uri="{FF2B5EF4-FFF2-40B4-BE49-F238E27FC236}">
                            <a16:creationId xmlns:a16="http://schemas.microsoft.com/office/drawing/2014/main" id="{E37C893D-BF64-4E35-B99E-04730F6AFF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ladsholder til sidefod 4">
            <a:extLst>
              <a:ext uri="{FF2B5EF4-FFF2-40B4-BE49-F238E27FC236}">
                <a16:creationId xmlns:a16="http://schemas.microsoft.com/office/drawing/2014/main" id="{32C5E6DF-0E78-668E-BF0F-2AB0F099B760}"/>
              </a:ext>
            </a:extLst>
          </p:cNvPr>
          <p:cNvSpPr>
            <a:spLocks noGrp="1"/>
          </p:cNvSpPr>
          <p:nvPr>
            <p:ph type="ftr" sz="quarter" idx="12"/>
          </p:nvPr>
        </p:nvSpPr>
        <p:spPr/>
        <p:txBody>
          <a:bodyPr/>
          <a:lstStyle/>
          <a:p>
            <a:endParaRPr lang="da-DK" noProof="0"/>
          </a:p>
        </p:txBody>
      </p:sp>
      <p:sp>
        <p:nvSpPr>
          <p:cNvPr id="3" name="Title 12">
            <a:extLst>
              <a:ext uri="{FF2B5EF4-FFF2-40B4-BE49-F238E27FC236}">
                <a16:creationId xmlns:a16="http://schemas.microsoft.com/office/drawing/2014/main" id="{74269D21-6FF1-A2E2-928F-E0E74D6980C7}"/>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6" name="Date Placeholder 3">
            <a:extLst>
              <a:ext uri="{FF2B5EF4-FFF2-40B4-BE49-F238E27FC236}">
                <a16:creationId xmlns:a16="http://schemas.microsoft.com/office/drawing/2014/main" id="{2F968CD3-3B25-00F3-A695-688F23E48E09}"/>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6-03-2026</a:t>
            </a:fld>
            <a:endParaRPr lang="da-DK"/>
          </a:p>
        </p:txBody>
      </p:sp>
      <p:sp>
        <p:nvSpPr>
          <p:cNvPr id="9" name="Slide Number Placeholder 5">
            <a:extLst>
              <a:ext uri="{FF2B5EF4-FFF2-40B4-BE49-F238E27FC236}">
                <a16:creationId xmlns:a16="http://schemas.microsoft.com/office/drawing/2014/main" id="{1131796B-7C40-FA8B-1681-9F0AF308C092}"/>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a:p>
        </p:txBody>
      </p:sp>
    </p:spTree>
    <p:extLst>
      <p:ext uri="{BB962C8B-B14F-4D97-AF65-F5344CB8AC3E}">
        <p14:creationId xmlns:p14="http://schemas.microsoft.com/office/powerpoint/2010/main" val="88734596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Lille hvid fla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BF3A2C6-9A17-09C0-0C96-0BD06A0F0152}"/>
              </a:ext>
            </a:extLst>
          </p:cNvPr>
          <p:cNvGraphicFramePr>
            <a:graphicFrameLocks noChangeAspect="1"/>
          </p:cNvGraphicFramePr>
          <p:nvPr userDrawn="1">
            <p:custDataLst>
              <p:tags r:id="rId1"/>
            </p:custDataLst>
            <p:extLst>
              <p:ext uri="{D42A27DB-BD31-4B8C-83A1-F6EECF244321}">
                <p14:modId xmlns:p14="http://schemas.microsoft.com/office/powerpoint/2010/main" val="3176904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8" name="think-cell data - do not delete" hidden="1">
                        <a:extLst>
                          <a:ext uri="{FF2B5EF4-FFF2-40B4-BE49-F238E27FC236}">
                            <a16:creationId xmlns:a16="http://schemas.microsoft.com/office/drawing/2014/main" id="{DBF3A2C6-9A17-09C0-0C96-0BD06A0F01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ktangel: enkelt hjørne afrundet 5">
            <a:extLst>
              <a:ext uri="{FF2B5EF4-FFF2-40B4-BE49-F238E27FC236}">
                <a16:creationId xmlns:a16="http://schemas.microsoft.com/office/drawing/2014/main" id="{4CC78093-E1B2-36DC-8282-C2078167838F}"/>
              </a:ext>
            </a:extLst>
          </p:cNvPr>
          <p:cNvSpPr/>
          <p:nvPr userDrawn="1"/>
        </p:nvSpPr>
        <p:spPr>
          <a:xfrm flipH="1">
            <a:off x="6096000" y="2098800"/>
            <a:ext cx="6096000" cy="4759200"/>
          </a:xfrm>
          <a:prstGeom prst="round1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432000" rIns="432000" bIns="720000" rtlCol="0" anchor="b" anchorCtr="0">
            <a:noAutofit/>
          </a:bodyPr>
          <a:lstStyle/>
          <a:p>
            <a:pPr>
              <a:lnSpc>
                <a:spcPct val="90000"/>
              </a:lnSpc>
            </a:pPr>
            <a:endParaRPr lang="da-DK" sz="1400" noProof="0">
              <a:solidFill>
                <a:schemeClr val="bg1"/>
              </a:solidFill>
              <a:latin typeface="Work Sans" pitchFamily="2" charset="0"/>
            </a:endParaRPr>
          </a:p>
        </p:txBody>
      </p:sp>
      <p:sp>
        <p:nvSpPr>
          <p:cNvPr id="5" name="Pladsholder til sidefod 4">
            <a:extLst>
              <a:ext uri="{FF2B5EF4-FFF2-40B4-BE49-F238E27FC236}">
                <a16:creationId xmlns:a16="http://schemas.microsoft.com/office/drawing/2014/main" id="{4D223CD4-2F41-E2C1-5427-147F16EB7589}"/>
              </a:ext>
            </a:extLst>
          </p:cNvPr>
          <p:cNvSpPr>
            <a:spLocks noGrp="1"/>
          </p:cNvSpPr>
          <p:nvPr>
            <p:ph type="ftr" sz="quarter" idx="12"/>
          </p:nvPr>
        </p:nvSpPr>
        <p:spPr/>
        <p:txBody>
          <a:bodyPr/>
          <a:lstStyle/>
          <a:p>
            <a:endParaRPr lang="da-DK" noProof="0"/>
          </a:p>
        </p:txBody>
      </p:sp>
      <p:sp>
        <p:nvSpPr>
          <p:cNvPr id="7" name="Title 12">
            <a:extLst>
              <a:ext uri="{FF2B5EF4-FFF2-40B4-BE49-F238E27FC236}">
                <a16:creationId xmlns:a16="http://schemas.microsoft.com/office/drawing/2014/main" id="{7C0236E6-01F3-F924-D636-E5E7695A94DD}"/>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9" name="Date Placeholder 3">
            <a:extLst>
              <a:ext uri="{FF2B5EF4-FFF2-40B4-BE49-F238E27FC236}">
                <a16:creationId xmlns:a16="http://schemas.microsoft.com/office/drawing/2014/main" id="{C71929E2-7336-0C37-F374-54A363A37D35}"/>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6-03-2026</a:t>
            </a:fld>
            <a:endParaRPr lang="da-DK"/>
          </a:p>
        </p:txBody>
      </p:sp>
      <p:sp>
        <p:nvSpPr>
          <p:cNvPr id="11" name="Slide Number Placeholder 5">
            <a:extLst>
              <a:ext uri="{FF2B5EF4-FFF2-40B4-BE49-F238E27FC236}">
                <a16:creationId xmlns:a16="http://schemas.microsoft.com/office/drawing/2014/main" id="{174B26ED-08E9-D184-D027-6A2B9BA2823E}"/>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a:p>
        </p:txBody>
      </p:sp>
    </p:spTree>
    <p:extLst>
      <p:ext uri="{BB962C8B-B14F-4D97-AF65-F5344CB8AC3E}">
        <p14:creationId xmlns:p14="http://schemas.microsoft.com/office/powerpoint/2010/main" val="154546350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iagram 1">
    <p:spTree>
      <p:nvGrpSpPr>
        <p:cNvPr id="1" name=""/>
        <p:cNvGrpSpPr/>
        <p:nvPr/>
      </p:nvGrpSpPr>
      <p:grpSpPr>
        <a:xfrm>
          <a:off x="0" y="0"/>
          <a:ext cx="0" cy="0"/>
          <a:chOff x="0" y="0"/>
          <a:chExt cx="0" cy="0"/>
        </a:xfrm>
      </p:grpSpPr>
      <p:sp>
        <p:nvSpPr>
          <p:cNvPr id="7"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5152318" y="431800"/>
            <a:ext cx="6614556" cy="2664000"/>
          </a:xfrm>
        </p:spPr>
        <p:txBody>
          <a:bodyPr/>
          <a:lstStyle/>
          <a:p>
            <a:endParaRPr lang="da-DK" noProof="0"/>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noProof="0"/>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426626"/>
            <a:ext cx="3775076" cy="576000"/>
          </a:xfrm>
        </p:spPr>
        <p:txBody>
          <a:bodyPr lIns="0"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sp>
        <p:nvSpPr>
          <p:cNvPr id="5" name="Pladsholder til diagram 6">
            <a:extLst>
              <a:ext uri="{FF2B5EF4-FFF2-40B4-BE49-F238E27FC236}">
                <a16:creationId xmlns:a16="http://schemas.microsoft.com/office/drawing/2014/main" id="{14D904DA-7A51-1AFE-8F7D-6D6101DB4105}"/>
              </a:ext>
            </a:extLst>
          </p:cNvPr>
          <p:cNvSpPr>
            <a:spLocks noGrp="1"/>
          </p:cNvSpPr>
          <p:nvPr>
            <p:ph type="chart" sz="quarter" idx="18"/>
          </p:nvPr>
        </p:nvSpPr>
        <p:spPr>
          <a:xfrm>
            <a:off x="5152319" y="3450754"/>
            <a:ext cx="6614556" cy="2664000"/>
          </a:xfrm>
        </p:spPr>
        <p:txBody>
          <a:bodyPr/>
          <a:lstStyle/>
          <a:p>
            <a:endParaRPr lang="da-DK" noProof="0"/>
          </a:p>
        </p:txBody>
      </p:sp>
      <p:sp>
        <p:nvSpPr>
          <p:cNvPr id="4" name="Title 12">
            <a:extLst>
              <a:ext uri="{FF2B5EF4-FFF2-40B4-BE49-F238E27FC236}">
                <a16:creationId xmlns:a16="http://schemas.microsoft.com/office/drawing/2014/main" id="{392E813A-7A29-0155-FCF8-F5D124BF01A4}"/>
              </a:ext>
            </a:extLst>
          </p:cNvPr>
          <p:cNvSpPr>
            <a:spLocks noGrp="1"/>
          </p:cNvSpPr>
          <p:nvPr>
            <p:ph type="title" hasCustomPrompt="1"/>
          </p:nvPr>
        </p:nvSpPr>
        <p:spPr>
          <a:xfrm>
            <a:off x="431799" y="431800"/>
            <a:ext cx="3775075" cy="864000"/>
          </a:xfrm>
        </p:spPr>
        <p:txBody>
          <a:bodyPr anchor="ctr"/>
          <a:lstStyle>
            <a:lvl1pPr>
              <a:defRPr/>
            </a:lvl1pPr>
          </a:lstStyle>
          <a:p>
            <a:r>
              <a:rPr lang="da-DK" noProof="0"/>
              <a:t>Klik for at redigere titeltypografien i masteren </a:t>
            </a:r>
          </a:p>
        </p:txBody>
      </p:sp>
      <p:sp>
        <p:nvSpPr>
          <p:cNvPr id="10" name="Date Placeholder 3">
            <a:extLst>
              <a:ext uri="{FF2B5EF4-FFF2-40B4-BE49-F238E27FC236}">
                <a16:creationId xmlns:a16="http://schemas.microsoft.com/office/drawing/2014/main" id="{F22B9DDD-3522-1C90-68DB-F09160CA13DA}"/>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6-03-2026</a:t>
            </a:fld>
            <a:endParaRPr lang="da-DK"/>
          </a:p>
        </p:txBody>
      </p:sp>
      <p:sp>
        <p:nvSpPr>
          <p:cNvPr id="11" name="Slide Number Placeholder 5">
            <a:extLst>
              <a:ext uri="{FF2B5EF4-FFF2-40B4-BE49-F238E27FC236}">
                <a16:creationId xmlns:a16="http://schemas.microsoft.com/office/drawing/2014/main" id="{90F97D7B-C790-388A-0851-216448AC7502}"/>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a:p>
        </p:txBody>
      </p:sp>
    </p:spTree>
    <p:extLst>
      <p:ext uri="{BB962C8B-B14F-4D97-AF65-F5344CB8AC3E}">
        <p14:creationId xmlns:p14="http://schemas.microsoft.com/office/powerpoint/2010/main" val="52881118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iagram 2">
    <p:spTree>
      <p:nvGrpSpPr>
        <p:cNvPr id="1" name=""/>
        <p:cNvGrpSpPr/>
        <p:nvPr/>
      </p:nvGrpSpPr>
      <p:grpSpPr>
        <a:xfrm>
          <a:off x="0" y="0"/>
          <a:ext cx="0" cy="0"/>
          <a:chOff x="0" y="0"/>
          <a:chExt cx="0" cy="0"/>
        </a:xfrm>
      </p:grpSpPr>
      <p:sp>
        <p:nvSpPr>
          <p:cNvPr id="7"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431798" y="2026507"/>
            <a:ext cx="11326813" cy="3744000"/>
          </a:xfrm>
        </p:spPr>
        <p:txBody>
          <a:bodyPr/>
          <a:lstStyle/>
          <a:p>
            <a:endParaRPr lang="da-DK" noProof="0"/>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noProof="0"/>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sp>
        <p:nvSpPr>
          <p:cNvPr id="4" name="Title 12">
            <a:extLst>
              <a:ext uri="{FF2B5EF4-FFF2-40B4-BE49-F238E27FC236}">
                <a16:creationId xmlns:a16="http://schemas.microsoft.com/office/drawing/2014/main" id="{D6FDFFAA-0DD3-780D-F79E-A79FD9EBF5B7}"/>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5" name="Date Placeholder 3">
            <a:extLst>
              <a:ext uri="{FF2B5EF4-FFF2-40B4-BE49-F238E27FC236}">
                <a16:creationId xmlns:a16="http://schemas.microsoft.com/office/drawing/2014/main" id="{9CDB4E3B-011A-B82C-120E-D5BCECA64EC0}"/>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6-03-2026</a:t>
            </a:fld>
            <a:endParaRPr lang="da-DK"/>
          </a:p>
        </p:txBody>
      </p:sp>
      <p:sp>
        <p:nvSpPr>
          <p:cNvPr id="10" name="Slide Number Placeholder 5">
            <a:extLst>
              <a:ext uri="{FF2B5EF4-FFF2-40B4-BE49-F238E27FC236}">
                <a16:creationId xmlns:a16="http://schemas.microsoft.com/office/drawing/2014/main" id="{71269FD8-78D1-3CB2-1BB6-7074EA35F769}"/>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a:p>
        </p:txBody>
      </p:sp>
    </p:spTree>
    <p:extLst>
      <p:ext uri="{BB962C8B-B14F-4D97-AF65-F5344CB8AC3E}">
        <p14:creationId xmlns:p14="http://schemas.microsoft.com/office/powerpoint/2010/main" val="220823182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el + undertitel">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28FAA754-24BD-1A67-A780-7D8496CEC1D2}"/>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noProof="0"/>
          </a:p>
        </p:txBody>
      </p:sp>
      <p:sp>
        <p:nvSpPr>
          <p:cNvPr id="5" name="Title 12">
            <a:extLst>
              <a:ext uri="{FF2B5EF4-FFF2-40B4-BE49-F238E27FC236}">
                <a16:creationId xmlns:a16="http://schemas.microsoft.com/office/drawing/2014/main" id="{3286D46D-943E-DF96-3C0E-A5100043C498}"/>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6" name="Date Placeholder 3">
            <a:extLst>
              <a:ext uri="{FF2B5EF4-FFF2-40B4-BE49-F238E27FC236}">
                <a16:creationId xmlns:a16="http://schemas.microsoft.com/office/drawing/2014/main" id="{FBDCFC81-8D68-8F59-18D5-0A7E788A2581}"/>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6-03-2026</a:t>
            </a:fld>
            <a:endParaRPr lang="da-DK"/>
          </a:p>
        </p:txBody>
      </p:sp>
      <p:sp>
        <p:nvSpPr>
          <p:cNvPr id="7" name="Slide Number Placeholder 5">
            <a:extLst>
              <a:ext uri="{FF2B5EF4-FFF2-40B4-BE49-F238E27FC236}">
                <a16:creationId xmlns:a16="http://schemas.microsoft.com/office/drawing/2014/main" id="{662925D6-C5C4-021A-4FCA-030F5B4A935A}"/>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a:p>
        </p:txBody>
      </p:sp>
    </p:spTree>
    <p:extLst>
      <p:ext uri="{BB962C8B-B14F-4D97-AF65-F5344CB8AC3E}">
        <p14:creationId xmlns:p14="http://schemas.microsoft.com/office/powerpoint/2010/main" val="374377499"/>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13" name="Titel 1">
            <a:extLst>
              <a:ext uri="{FF2B5EF4-FFF2-40B4-BE49-F238E27FC236}">
                <a16:creationId xmlns:a16="http://schemas.microsoft.com/office/drawing/2014/main" id="{9833738D-1655-2E01-2D96-CF62BAEF1D8B}"/>
              </a:ext>
            </a:extLst>
          </p:cNvPr>
          <p:cNvSpPr>
            <a:spLocks noGrp="1"/>
          </p:cNvSpPr>
          <p:nvPr>
            <p:ph type="title" hasCustomPrompt="1"/>
          </p:nvPr>
        </p:nvSpPr>
        <p:spPr>
          <a:xfrm>
            <a:off x="1343025" y="3429000"/>
            <a:ext cx="10415588" cy="2700338"/>
          </a:xfrm>
        </p:spPr>
        <p:txBody>
          <a:bodyPr>
            <a:noAutofit/>
          </a:bodyPr>
          <a:lstStyle>
            <a:lvl1pPr>
              <a:defRPr sz="4800"/>
            </a:lvl1pPr>
          </a:lstStyle>
          <a:p>
            <a:r>
              <a:rPr lang="da-DK" noProof="0"/>
              <a:t>Klik for at redigere titeltypografien i masteren </a:t>
            </a:r>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noProof="0"/>
          </a:p>
        </p:txBody>
      </p:sp>
      <p:sp>
        <p:nvSpPr>
          <p:cNvPr id="5" name="Date Placeholder 3">
            <a:extLst>
              <a:ext uri="{FF2B5EF4-FFF2-40B4-BE49-F238E27FC236}">
                <a16:creationId xmlns:a16="http://schemas.microsoft.com/office/drawing/2014/main" id="{3F674094-7348-AD13-9336-140AED7B595A}"/>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6-03-2026</a:t>
            </a:fld>
            <a:endParaRPr lang="da-DK"/>
          </a:p>
        </p:txBody>
      </p:sp>
      <p:sp>
        <p:nvSpPr>
          <p:cNvPr id="6" name="Slide Number Placeholder 5">
            <a:extLst>
              <a:ext uri="{FF2B5EF4-FFF2-40B4-BE49-F238E27FC236}">
                <a16:creationId xmlns:a16="http://schemas.microsoft.com/office/drawing/2014/main" id="{24DF31B2-A3B9-9A36-12CA-EFB139B1674B}"/>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a:p>
        </p:txBody>
      </p:sp>
    </p:spTree>
    <p:extLst>
      <p:ext uri="{BB962C8B-B14F-4D97-AF65-F5344CB8AC3E}">
        <p14:creationId xmlns:p14="http://schemas.microsoft.com/office/powerpoint/2010/main" val="58254773"/>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Konklusion/sidste side">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5499103" y="444679"/>
            <a:ext cx="7920000" cy="792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7038975" y="2457338"/>
            <a:ext cx="4719638" cy="2160000"/>
          </a:xfrm>
        </p:spPr>
        <p:txBody>
          <a:bodyPr anchor="b">
            <a:noAutofit/>
          </a:bodyPr>
          <a:lstStyle>
            <a:lvl1pPr algn="l">
              <a:defRPr sz="4800"/>
            </a:lvl1pPr>
          </a:lstStyle>
          <a:p>
            <a:r>
              <a:rPr lang="da-DK" noProof="0" err="1"/>
              <a:t>Click</a:t>
            </a:r>
            <a:r>
              <a:rPr lang="da-DK" noProof="0"/>
              <a:t> to </a:t>
            </a:r>
            <a:r>
              <a:rPr lang="da-DK" noProof="0" err="1"/>
              <a:t>edit</a:t>
            </a:r>
            <a:r>
              <a:rPr lang="da-DK" noProof="0"/>
              <a:t> Master </a:t>
            </a:r>
            <a:r>
              <a:rPr lang="da-DK" noProof="0" err="1"/>
              <a:t>title</a:t>
            </a:r>
            <a:r>
              <a:rPr lang="da-DK" noProof="0"/>
              <a:t> style</a:t>
            </a:r>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noProof="0"/>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7038976" y="4617338"/>
            <a:ext cx="4719638" cy="1512000"/>
          </a:xfrm>
        </p:spPr>
        <p:txBody>
          <a:bodyPr lIns="36000" anchor="t">
            <a:noAutofit/>
          </a:bodyPr>
          <a:lstStyle>
            <a:lvl1pPr marL="342900" indent="-342900" algn="l">
              <a:lnSpc>
                <a:spcPct val="120000"/>
              </a:lnSpc>
              <a:spcBef>
                <a:spcPts val="0"/>
              </a:spcBef>
              <a:buFont typeface="+mj-lt"/>
              <a:buAutoNum type="arabicPeriod"/>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pic>
        <p:nvPicPr>
          <p:cNvPr id="6" name="Graphic 5">
            <a:extLst>
              <a:ext uri="{FF2B5EF4-FFF2-40B4-BE49-F238E27FC236}">
                <a16:creationId xmlns:a16="http://schemas.microsoft.com/office/drawing/2014/main" id="{0D69537C-4A71-E649-D275-FE331EC6012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29600"/>
            <a:ext cx="1435201" cy="144000"/>
          </a:xfrm>
          <a:prstGeom prst="rect">
            <a:avLst/>
          </a:prstGeom>
        </p:spPr>
      </p:pic>
      <p:sp>
        <p:nvSpPr>
          <p:cNvPr id="3" name="Date Placeholder 3">
            <a:extLst>
              <a:ext uri="{FF2B5EF4-FFF2-40B4-BE49-F238E27FC236}">
                <a16:creationId xmlns:a16="http://schemas.microsoft.com/office/drawing/2014/main" id="{46590272-8AD5-A905-5BB4-02668CFAB3E3}"/>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6-03-2026</a:t>
            </a:fld>
            <a:endParaRPr lang="da-DK"/>
          </a:p>
        </p:txBody>
      </p:sp>
      <p:sp>
        <p:nvSpPr>
          <p:cNvPr id="7" name="Slide Number Placeholder 5">
            <a:extLst>
              <a:ext uri="{FF2B5EF4-FFF2-40B4-BE49-F238E27FC236}">
                <a16:creationId xmlns:a16="http://schemas.microsoft.com/office/drawing/2014/main" id="{31B64532-973F-5B67-FFCD-79FD4EF447DE}"/>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a:p>
        </p:txBody>
      </p:sp>
    </p:spTree>
    <p:extLst>
      <p:ext uri="{BB962C8B-B14F-4D97-AF65-F5344CB8AC3E}">
        <p14:creationId xmlns:p14="http://schemas.microsoft.com/office/powerpoint/2010/main" val="3376733580"/>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ellemside lille foto">
    <p:bg>
      <p:bgRef idx="1001">
        <a:schemeClr val="bg2"/>
      </p:bgRef>
    </p:bg>
    <p:spTree>
      <p:nvGrpSpPr>
        <p:cNvPr id="1" name=""/>
        <p:cNvGrpSpPr/>
        <p:nvPr/>
      </p:nvGrpSpPr>
      <p:grpSpPr>
        <a:xfrm>
          <a:off x="0" y="0"/>
          <a:ext cx="0" cy="0"/>
          <a:chOff x="0" y="0"/>
          <a:chExt cx="0" cy="0"/>
        </a:xfrm>
      </p:grpSpPr>
      <p:sp>
        <p:nvSpPr>
          <p:cNvPr id="28" name="Ellipse 27">
            <a:extLst>
              <a:ext uri="{FF2B5EF4-FFF2-40B4-BE49-F238E27FC236}">
                <a16:creationId xmlns:a16="http://schemas.microsoft.com/office/drawing/2014/main" id="{2C5D3745-123D-48F9-AC1E-22ECE84A6002}"/>
              </a:ext>
            </a:extLst>
          </p:cNvPr>
          <p:cNvSpPr>
            <a:spLocks noChangeAspect="1"/>
          </p:cNvSpPr>
          <p:nvPr userDrawn="1"/>
        </p:nvSpPr>
        <p:spPr>
          <a:xfrm>
            <a:off x="1892371" y="-5095322"/>
            <a:ext cx="8640000" cy="864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8188364" y="1269001"/>
            <a:ext cx="4319999" cy="4319999"/>
          </a:xfrm>
          <a:prstGeom prst="ellipse">
            <a:avLst/>
          </a:prstGeom>
          <a:blipFill>
            <a:blip r:embed="rId2" cstate="screen">
              <a:extLst>
                <a:ext uri="{28A0092B-C50C-407E-A947-70E740481C1C}">
                  <a14:useLocalDpi xmlns:a14="http://schemas.microsoft.com/office/drawing/2010/main"/>
                </a:ext>
              </a:extLst>
            </a:blip>
            <a:srcRect/>
            <a:stretch>
              <a:fillRect/>
            </a:stretch>
          </a:blipFill>
        </p:spPr>
        <p:txBody>
          <a:bodyPr/>
          <a:lstStyle/>
          <a:p>
            <a:r>
              <a:rPr lang="da-DK" noProof="0"/>
              <a:t>Klik på ikonet for at tilføje et billede</a:t>
            </a:r>
          </a:p>
        </p:txBody>
      </p:sp>
      <p:sp>
        <p:nvSpPr>
          <p:cNvPr id="10" name="Title 1">
            <a:extLst>
              <a:ext uri="{FF2B5EF4-FFF2-40B4-BE49-F238E27FC236}">
                <a16:creationId xmlns:a16="http://schemas.microsoft.com/office/drawing/2014/main" id="{285B4C59-DBF2-0654-4DB5-17317EDB3CAA}"/>
              </a:ext>
            </a:extLst>
          </p:cNvPr>
          <p:cNvSpPr>
            <a:spLocks noGrp="1"/>
          </p:cNvSpPr>
          <p:nvPr>
            <p:ph type="ctrTitle"/>
          </p:nvPr>
        </p:nvSpPr>
        <p:spPr>
          <a:xfrm>
            <a:off x="431799" y="2088000"/>
            <a:ext cx="7535864" cy="3456000"/>
          </a:xfrm>
          <a:prstGeom prst="rect">
            <a:avLst/>
          </a:prstGeom>
        </p:spPr>
        <p:txBody>
          <a:bodyPr anchor="b">
            <a:noAutofit/>
          </a:bodyPr>
          <a:lstStyle>
            <a:lvl1pPr algn="l">
              <a:defRPr sz="4800"/>
            </a:lvl1pPr>
          </a:lstStyle>
          <a:p>
            <a:r>
              <a:rPr lang="da-DK" noProof="0"/>
              <a:t>Klik for at redigere titeltypografien i masteren</a:t>
            </a:r>
          </a:p>
        </p:txBody>
      </p:sp>
      <p:sp>
        <p:nvSpPr>
          <p:cNvPr id="13" name="Date Placeholder 12">
            <a:extLst>
              <a:ext uri="{FF2B5EF4-FFF2-40B4-BE49-F238E27FC236}">
                <a16:creationId xmlns:a16="http://schemas.microsoft.com/office/drawing/2014/main" id="{415DD548-B11C-7D7F-BBB9-D327A7CCDD89}"/>
              </a:ext>
            </a:extLst>
          </p:cNvPr>
          <p:cNvSpPr>
            <a:spLocks noGrp="1"/>
          </p:cNvSpPr>
          <p:nvPr>
            <p:ph type="dt" sz="half" idx="14"/>
          </p:nvPr>
        </p:nvSpPr>
        <p:spPr/>
        <p:txBody>
          <a:bodyPr/>
          <a:lstStyle/>
          <a:p>
            <a:fld id="{D6E83E6D-C776-4479-B4FB-3B11001289D6}" type="datetime1">
              <a:rPr lang="da-DK" noProof="0" smtClean="0"/>
              <a:t>16-03-2026</a:t>
            </a:fld>
            <a:endParaRPr lang="da-DK" noProof="0"/>
          </a:p>
        </p:txBody>
      </p:sp>
      <p:sp>
        <p:nvSpPr>
          <p:cNvPr id="14" name="Footer Placeholder 13">
            <a:extLst>
              <a:ext uri="{FF2B5EF4-FFF2-40B4-BE49-F238E27FC236}">
                <a16:creationId xmlns:a16="http://schemas.microsoft.com/office/drawing/2014/main" id="{056339C0-0CFD-DE3E-E4EF-13EF6F138179}"/>
              </a:ext>
            </a:extLst>
          </p:cNvPr>
          <p:cNvSpPr>
            <a:spLocks noGrp="1"/>
          </p:cNvSpPr>
          <p:nvPr>
            <p:ph type="ftr" sz="quarter" idx="15"/>
          </p:nvPr>
        </p:nvSpPr>
        <p:spPr/>
        <p:txBody>
          <a:bodyPr/>
          <a:lstStyle/>
          <a:p>
            <a:endParaRPr lang="da-DK" noProof="0"/>
          </a:p>
        </p:txBody>
      </p:sp>
      <p:sp>
        <p:nvSpPr>
          <p:cNvPr id="15" name="Slide Number Placeholder 14">
            <a:extLst>
              <a:ext uri="{FF2B5EF4-FFF2-40B4-BE49-F238E27FC236}">
                <a16:creationId xmlns:a16="http://schemas.microsoft.com/office/drawing/2014/main" id="{9AE8AD9E-8BB3-464F-39A3-BAD1CDE62E48}"/>
              </a:ext>
            </a:extLst>
          </p:cNvPr>
          <p:cNvSpPr>
            <a:spLocks noGrp="1"/>
          </p:cNvSpPr>
          <p:nvPr>
            <p:ph type="sldNum" sz="quarter" idx="16"/>
          </p:nvPr>
        </p:nvSpPr>
        <p:spPr/>
        <p:txBody>
          <a:bodyPr/>
          <a:lstStyle/>
          <a:p>
            <a:fld id="{FA9C6259-F55B-47A6-AB0B-9E9F0835A2F0}" type="slidenum">
              <a:rPr lang="da-DK" noProof="0" smtClean="0"/>
              <a:pPr/>
              <a:t>‹nr.›</a:t>
            </a:fld>
            <a:endParaRPr lang="da-DK" noProof="0"/>
          </a:p>
        </p:txBody>
      </p:sp>
      <p:sp>
        <p:nvSpPr>
          <p:cNvPr id="2" name="Subtitle 2">
            <a:extLst>
              <a:ext uri="{FF2B5EF4-FFF2-40B4-BE49-F238E27FC236}">
                <a16:creationId xmlns:a16="http://schemas.microsoft.com/office/drawing/2014/main" id="{5EE68DFA-0F95-8315-1AE5-A214CDA76F8E}"/>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9F459750-5F2B-08FD-57E3-F9089D3213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409121824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3090F1F2-3AE0-677B-B191-BA5C5084BA79}"/>
              </a:ext>
            </a:extLst>
          </p:cNvPr>
          <p:cNvSpPr>
            <a:spLocks noGrp="1"/>
          </p:cNvSpPr>
          <p:nvPr>
            <p:ph type="ftr" sz="quarter" idx="11"/>
          </p:nvPr>
        </p:nvSpPr>
        <p:spPr/>
        <p:txBody>
          <a:bodyPr/>
          <a:lstStyle/>
          <a:p>
            <a:endParaRPr lang="da-DK" noProof="0"/>
          </a:p>
        </p:txBody>
      </p:sp>
      <p:sp>
        <p:nvSpPr>
          <p:cNvPr id="3" name="Date Placeholder 3">
            <a:extLst>
              <a:ext uri="{FF2B5EF4-FFF2-40B4-BE49-F238E27FC236}">
                <a16:creationId xmlns:a16="http://schemas.microsoft.com/office/drawing/2014/main" id="{57A7E824-3783-83D8-49C6-1373FBC9578D}"/>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6-03-2026</a:t>
            </a:fld>
            <a:endParaRPr lang="da-DK"/>
          </a:p>
        </p:txBody>
      </p:sp>
      <p:sp>
        <p:nvSpPr>
          <p:cNvPr id="4" name="Slide Number Placeholder 5">
            <a:extLst>
              <a:ext uri="{FF2B5EF4-FFF2-40B4-BE49-F238E27FC236}">
                <a16:creationId xmlns:a16="http://schemas.microsoft.com/office/drawing/2014/main" id="{2761DA60-8B13-A35C-60BB-1EA8353C9FE9}"/>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a:p>
        </p:txBody>
      </p:sp>
    </p:spTree>
    <p:extLst>
      <p:ext uri="{BB962C8B-B14F-4D97-AF65-F5344CB8AC3E}">
        <p14:creationId xmlns:p14="http://schemas.microsoft.com/office/powerpoint/2010/main" val="123182511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2BDC76B8-60F6-62D3-9F73-E81662203017}"/>
              </a:ext>
            </a:extLst>
          </p:cNvPr>
          <p:cNvSpPr>
            <a:spLocks noGrp="1"/>
          </p:cNvSpPr>
          <p:nvPr>
            <p:ph type="subTitle" idx="1"/>
          </p:nvPr>
        </p:nvSpPr>
        <p:spPr>
          <a:xfrm>
            <a:off x="431798" y="1656000"/>
            <a:ext cx="11326815" cy="4473338"/>
          </a:xfrm>
        </p:spPr>
        <p:txBody>
          <a:bodyPr numCol="3" spcCol="144000" anchor="t">
            <a:noAutofit/>
          </a:bodyPr>
          <a:lstStyle>
            <a:lvl1pPr marL="0" indent="0" algn="l">
              <a:lnSpc>
                <a:spcPct val="120000"/>
              </a:lnSpc>
              <a:spcBef>
                <a:spcPts val="0"/>
              </a:spcBef>
              <a:buFont typeface="Arial" panose="020B0604020202020204" pitchFamily="34" charset="0"/>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5" name="Title 12">
            <a:extLst>
              <a:ext uri="{FF2B5EF4-FFF2-40B4-BE49-F238E27FC236}">
                <a16:creationId xmlns:a16="http://schemas.microsoft.com/office/drawing/2014/main" id="{87F5063C-8F7E-80E1-9FBC-729FA5847175}"/>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6" name="Date Placeholder 3">
            <a:extLst>
              <a:ext uri="{FF2B5EF4-FFF2-40B4-BE49-F238E27FC236}">
                <a16:creationId xmlns:a16="http://schemas.microsoft.com/office/drawing/2014/main" id="{518D40DF-92CE-4E7E-26C8-60935BC266DF}"/>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6-03-2026</a:t>
            </a:fld>
            <a:endParaRPr lang="da-DK"/>
          </a:p>
        </p:txBody>
      </p:sp>
      <p:sp>
        <p:nvSpPr>
          <p:cNvPr id="7" name="Slide Number Placeholder 5">
            <a:extLst>
              <a:ext uri="{FF2B5EF4-FFF2-40B4-BE49-F238E27FC236}">
                <a16:creationId xmlns:a16="http://schemas.microsoft.com/office/drawing/2014/main" id="{0F04D959-3E90-CFEB-7292-B6382BE38D7C}"/>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a:p>
        </p:txBody>
      </p:sp>
    </p:spTree>
    <p:extLst>
      <p:ext uri="{BB962C8B-B14F-4D97-AF65-F5344CB8AC3E}">
        <p14:creationId xmlns:p14="http://schemas.microsoft.com/office/powerpoint/2010/main" val="3049219562"/>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Forside stort foto">
    <p:bg>
      <p:bgRef idx="1001">
        <a:schemeClr val="bg2"/>
      </p:bgRef>
    </p:bg>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5151438" y="3305251"/>
            <a:ext cx="4320000" cy="43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13" name="Pladsholder til billede 12">
            <a:extLst>
              <a:ext uri="{FF2B5EF4-FFF2-40B4-BE49-F238E27FC236}">
                <a16:creationId xmlns:a16="http://schemas.microsoft.com/office/drawing/2014/main" id="{B4BB3258-0B60-1552-4805-6DF2745AB181}"/>
              </a:ext>
            </a:extLst>
          </p:cNvPr>
          <p:cNvSpPr>
            <a:spLocks noGrp="1"/>
          </p:cNvSpPr>
          <p:nvPr>
            <p:ph type="pic" sz="quarter" idx="14"/>
          </p:nvPr>
        </p:nvSpPr>
        <p:spPr>
          <a:xfrm>
            <a:off x="6431999" y="766"/>
            <a:ext cx="5760000" cy="5759234"/>
          </a:xfrm>
          <a:custGeom>
            <a:avLst/>
            <a:gdLst>
              <a:gd name="connsiteX0" fmla="*/ 246529 w 5760000"/>
              <a:gd name="connsiteY0" fmla="*/ 0 h 5759234"/>
              <a:gd name="connsiteX1" fmla="*/ 5760000 w 5760000"/>
              <a:gd name="connsiteY1" fmla="*/ 0 h 5759234"/>
              <a:gd name="connsiteX2" fmla="*/ 5760000 w 5760000"/>
              <a:gd name="connsiteY2" fmla="*/ 5512446 h 5759234"/>
              <a:gd name="connsiteX3" fmla="*/ 5604636 w 5760000"/>
              <a:gd name="connsiteY3" fmla="*/ 5565016 h 5759234"/>
              <a:gd name="connsiteX4" fmla="*/ 4320000 w 5760000"/>
              <a:gd name="connsiteY4" fmla="*/ 5759234 h 5759234"/>
              <a:gd name="connsiteX5" fmla="*/ 0 w 5760000"/>
              <a:gd name="connsiteY5" fmla="*/ 1439234 h 5759234"/>
              <a:gd name="connsiteX6" fmla="*/ 194219 w 5760000"/>
              <a:gd name="connsiteY6" fmla="*/ 154598 h 5759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60000" h="5759234">
                <a:moveTo>
                  <a:pt x="246529" y="0"/>
                </a:moveTo>
                <a:lnTo>
                  <a:pt x="5760000" y="0"/>
                </a:lnTo>
                <a:lnTo>
                  <a:pt x="5760000" y="5512446"/>
                </a:lnTo>
                <a:lnTo>
                  <a:pt x="5604636" y="5565016"/>
                </a:lnTo>
                <a:cubicBezTo>
                  <a:pt x="5198820" y="5691238"/>
                  <a:pt x="4767351" y="5759234"/>
                  <a:pt x="4320000" y="5759234"/>
                </a:cubicBezTo>
                <a:cubicBezTo>
                  <a:pt x="1934130" y="5759234"/>
                  <a:pt x="0" y="3825104"/>
                  <a:pt x="0" y="1439234"/>
                </a:cubicBezTo>
                <a:cubicBezTo>
                  <a:pt x="0" y="991884"/>
                  <a:pt x="67997" y="560414"/>
                  <a:pt x="194219" y="154598"/>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a:noAutofit/>
          </a:bodyPr>
          <a:lstStyle/>
          <a:p>
            <a:r>
              <a:rPr lang="da-DK" noProof="0"/>
              <a:t>Klik på ikonet for at tilføje et billede</a:t>
            </a:r>
          </a:p>
        </p:txBody>
      </p:sp>
      <p:sp>
        <p:nvSpPr>
          <p:cNvPr id="10" name="Title 1">
            <a:extLst>
              <a:ext uri="{FF2B5EF4-FFF2-40B4-BE49-F238E27FC236}">
                <a16:creationId xmlns:a16="http://schemas.microsoft.com/office/drawing/2014/main" id="{C34E04C9-69D3-EB50-5ED9-9026462005DA}"/>
              </a:ext>
            </a:extLst>
          </p:cNvPr>
          <p:cNvSpPr>
            <a:spLocks noGrp="1"/>
          </p:cNvSpPr>
          <p:nvPr>
            <p:ph type="ctrTitle"/>
          </p:nvPr>
        </p:nvSpPr>
        <p:spPr>
          <a:xfrm>
            <a:off x="431799" y="2088000"/>
            <a:ext cx="7535864" cy="3456000"/>
          </a:xfrm>
          <a:prstGeom prst="rect">
            <a:avLst/>
          </a:prstGeom>
        </p:spPr>
        <p:txBody>
          <a:bodyPr anchor="b">
            <a:noAutofit/>
          </a:bodyPr>
          <a:lstStyle>
            <a:lvl1pPr algn="l">
              <a:defRPr sz="4800" b="0" i="0">
                <a:latin typeface="Work Sans Light" pitchFamily="2" charset="77"/>
              </a:defRPr>
            </a:lvl1pPr>
          </a:lstStyle>
          <a:p>
            <a:r>
              <a:rPr lang="da-DK" noProof="0"/>
              <a:t>Klik for at redigere titeltypografien i masteren</a:t>
            </a:r>
          </a:p>
        </p:txBody>
      </p:sp>
      <p:sp>
        <p:nvSpPr>
          <p:cNvPr id="2" name="Subtitle 2">
            <a:extLst>
              <a:ext uri="{FF2B5EF4-FFF2-40B4-BE49-F238E27FC236}">
                <a16:creationId xmlns:a16="http://schemas.microsoft.com/office/drawing/2014/main" id="{EA0C4E0F-96AB-1CC4-4CA1-F997F4CD40A1}"/>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32AB0A4F-5ED0-8BEC-CB8D-84C4FF409D5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
        <p:nvSpPr>
          <p:cNvPr id="4" name="Pladsholder til dato 3">
            <a:extLst>
              <a:ext uri="{FF2B5EF4-FFF2-40B4-BE49-F238E27FC236}">
                <a16:creationId xmlns:a16="http://schemas.microsoft.com/office/drawing/2014/main" id="{FB5FA6C6-9E57-B344-1ECB-572228E6F0F9}"/>
              </a:ext>
            </a:extLst>
          </p:cNvPr>
          <p:cNvSpPr>
            <a:spLocks noGrp="1"/>
          </p:cNvSpPr>
          <p:nvPr>
            <p:ph type="dt" sz="half" idx="15"/>
          </p:nvPr>
        </p:nvSpPr>
        <p:spPr/>
        <p:txBody>
          <a:bodyPr/>
          <a:lstStyle/>
          <a:p>
            <a:fld id="{6F9582DD-E121-43B0-81D7-8C5D836C5F2E}" type="datetime1">
              <a:rPr lang="da-DK" noProof="0" smtClean="0"/>
              <a:t>16-03-2026</a:t>
            </a:fld>
            <a:endParaRPr lang="da-DK" noProof="0"/>
          </a:p>
        </p:txBody>
      </p:sp>
      <p:sp>
        <p:nvSpPr>
          <p:cNvPr id="5" name="Pladsholder til sidefod 4">
            <a:extLst>
              <a:ext uri="{FF2B5EF4-FFF2-40B4-BE49-F238E27FC236}">
                <a16:creationId xmlns:a16="http://schemas.microsoft.com/office/drawing/2014/main" id="{3509E0C2-C1DE-26E3-A037-5ABBEEB6435F}"/>
              </a:ext>
            </a:extLst>
          </p:cNvPr>
          <p:cNvSpPr>
            <a:spLocks noGrp="1"/>
          </p:cNvSpPr>
          <p:nvPr>
            <p:ph type="ftr" sz="quarter" idx="16"/>
          </p:nvPr>
        </p:nvSpPr>
        <p:spPr/>
        <p:txBody>
          <a:bodyPr/>
          <a:lstStyle/>
          <a:p>
            <a:endParaRPr lang="da-DK" noProof="0"/>
          </a:p>
        </p:txBody>
      </p:sp>
      <p:sp>
        <p:nvSpPr>
          <p:cNvPr id="6" name="Pladsholder til slidenummer 5">
            <a:extLst>
              <a:ext uri="{FF2B5EF4-FFF2-40B4-BE49-F238E27FC236}">
                <a16:creationId xmlns:a16="http://schemas.microsoft.com/office/drawing/2014/main" id="{15179469-3944-241C-71F9-AC6B0B44CE3B}"/>
              </a:ext>
            </a:extLst>
          </p:cNvPr>
          <p:cNvSpPr>
            <a:spLocks noGrp="1"/>
          </p:cNvSpPr>
          <p:nvPr>
            <p:ph type="sldNum" sz="quarter" idx="17"/>
          </p:nvPr>
        </p:nvSpPr>
        <p:spPr/>
        <p:txBody>
          <a:bodyPr/>
          <a:lstStyle/>
          <a:p>
            <a:fld id="{FA9C6259-F55B-47A6-AB0B-9E9F0835A2F0}" type="slidenum">
              <a:rPr lang="da-DK" noProof="0" smtClean="0"/>
              <a:pPr/>
              <a:t>‹nr.›</a:t>
            </a:fld>
            <a:endParaRPr lang="da-DK" noProof="0"/>
          </a:p>
        </p:txBody>
      </p:sp>
      <p:sp>
        <p:nvSpPr>
          <p:cNvPr id="7" name="Tekstfelt 6">
            <a:extLst>
              <a:ext uri="{FF2B5EF4-FFF2-40B4-BE49-F238E27FC236}">
                <a16:creationId xmlns:a16="http://schemas.microsoft.com/office/drawing/2014/main" id="{1669DE64-588E-59CF-1F03-7C2791026416}"/>
              </a:ext>
            </a:extLst>
          </p:cNvPr>
          <p:cNvSpPr txBox="1"/>
          <p:nvPr userDrawn="1"/>
        </p:nvSpPr>
        <p:spPr>
          <a:xfrm>
            <a:off x="5643378" y="3351492"/>
            <a:ext cx="914400" cy="914400"/>
          </a:xfrm>
          <a:prstGeom prst="rect">
            <a:avLst/>
          </a:prstGeom>
          <a:noFill/>
        </p:spPr>
        <p:txBody>
          <a:bodyPr wrap="square" rtlCol="0">
            <a:spAutoFit/>
          </a:bodyPr>
          <a:lstStyle/>
          <a:p>
            <a:endParaRPr lang="da-DK"/>
          </a:p>
        </p:txBody>
      </p:sp>
    </p:spTree>
    <p:extLst>
      <p:ext uri="{BB962C8B-B14F-4D97-AF65-F5344CB8AC3E}">
        <p14:creationId xmlns:p14="http://schemas.microsoft.com/office/powerpoint/2010/main" val="381810907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Forside mellem foto">
    <p:bg>
      <p:bgRef idx="1001">
        <a:schemeClr val="bg2"/>
      </p:bgRef>
    </p:bg>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3E6CE99E-569B-9EF8-3E2C-E9703F108999}"/>
              </a:ext>
            </a:extLst>
          </p:cNvPr>
          <p:cNvSpPr>
            <a:spLocks noGrp="1"/>
          </p:cNvSpPr>
          <p:nvPr userDrawn="1">
            <p:ph type="dt" sz="half" idx="10"/>
          </p:nvPr>
        </p:nvSpPr>
        <p:spPr/>
        <p:txBody>
          <a:bodyPr/>
          <a:lstStyle/>
          <a:p>
            <a:fld id="{BE347E83-6873-4D66-89A5-CE888962575A}" type="datetime1">
              <a:rPr lang="da-DK" noProof="0" smtClean="0"/>
              <a:t>16-03-2026</a:t>
            </a:fld>
            <a:endParaRPr lang="da-DK" noProof="0"/>
          </a:p>
        </p:txBody>
      </p:sp>
      <p:sp>
        <p:nvSpPr>
          <p:cNvPr id="6" name="Footer Placeholder 5">
            <a:extLst>
              <a:ext uri="{FF2B5EF4-FFF2-40B4-BE49-F238E27FC236}">
                <a16:creationId xmlns:a16="http://schemas.microsoft.com/office/drawing/2014/main" id="{41944FA7-AAA6-D86F-6147-BF737C629904}"/>
              </a:ext>
            </a:extLst>
          </p:cNvPr>
          <p:cNvSpPr>
            <a:spLocks noGrp="1"/>
          </p:cNvSpPr>
          <p:nvPr userDrawn="1">
            <p:ph type="ftr" sz="quarter" idx="11"/>
          </p:nvPr>
        </p:nvSpPr>
        <p:spPr/>
        <p:txBody>
          <a:bodyPr/>
          <a:lstStyle/>
          <a:p>
            <a:endParaRPr lang="da-DK" noProof="0"/>
          </a:p>
        </p:txBody>
      </p:sp>
      <p:sp>
        <p:nvSpPr>
          <p:cNvPr id="7" name="Slide Number Placeholder 6">
            <a:extLst>
              <a:ext uri="{FF2B5EF4-FFF2-40B4-BE49-F238E27FC236}">
                <a16:creationId xmlns:a16="http://schemas.microsoft.com/office/drawing/2014/main" id="{CDB96B87-E1F8-B928-94D1-10C1C20F99FC}"/>
              </a:ext>
            </a:extLst>
          </p:cNvPr>
          <p:cNvSpPr>
            <a:spLocks noGrp="1"/>
          </p:cNvSpPr>
          <p:nvPr userDrawn="1">
            <p:ph type="sldNum" sz="quarter" idx="12"/>
          </p:nvPr>
        </p:nvSpPr>
        <p:spPr/>
        <p:txBody>
          <a:bodyPr/>
          <a:lstStyle/>
          <a:p>
            <a:fld id="{E32394A6-AED1-4B79-B4B6-933D748A7F18}" type="slidenum">
              <a:rPr lang="da-DK" noProof="0" smtClean="0"/>
              <a:t>‹nr.›</a:t>
            </a:fld>
            <a:endParaRPr lang="da-DK" noProof="0"/>
          </a:p>
        </p:txBody>
      </p:sp>
      <p:sp>
        <p:nvSpPr>
          <p:cNvPr id="15" name="Pladsholder til billede 14">
            <a:extLst>
              <a:ext uri="{FF2B5EF4-FFF2-40B4-BE49-F238E27FC236}">
                <a16:creationId xmlns:a16="http://schemas.microsoft.com/office/drawing/2014/main" id="{D4F0A874-BE77-EA98-4884-E920ADA15F98}"/>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r>
              <a:rPr lang="da-DK" noProof="0"/>
              <a:t>Klik på ikonet for at tilføje et billede</a:t>
            </a:r>
          </a:p>
        </p:txBody>
      </p:sp>
      <p:sp>
        <p:nvSpPr>
          <p:cNvPr id="10" name="Title 1">
            <a:extLst>
              <a:ext uri="{FF2B5EF4-FFF2-40B4-BE49-F238E27FC236}">
                <a16:creationId xmlns:a16="http://schemas.microsoft.com/office/drawing/2014/main" id="{4F7F7B28-3669-A985-CDFF-1D1034D69153}"/>
              </a:ext>
            </a:extLst>
          </p:cNvPr>
          <p:cNvSpPr>
            <a:spLocks noGrp="1"/>
          </p:cNvSpPr>
          <p:nvPr>
            <p:ph type="ctrTitle"/>
          </p:nvPr>
        </p:nvSpPr>
        <p:spPr>
          <a:xfrm>
            <a:off x="431799" y="2088000"/>
            <a:ext cx="7535864" cy="3456000"/>
          </a:xfrm>
          <a:prstGeom prst="rect">
            <a:avLst/>
          </a:prstGeom>
        </p:spPr>
        <p:txBody>
          <a:bodyPr anchor="b">
            <a:noAutofit/>
          </a:bodyPr>
          <a:lstStyle>
            <a:lvl1pPr algn="l">
              <a:defRPr sz="4800"/>
            </a:lvl1pPr>
          </a:lstStyle>
          <a:p>
            <a:r>
              <a:rPr lang="da-DK" noProof="0"/>
              <a:t>Klik for at redigere titeltypografien i masteren</a:t>
            </a:r>
          </a:p>
        </p:txBody>
      </p:sp>
      <p:sp>
        <p:nvSpPr>
          <p:cNvPr id="2" name="Subtitle 2">
            <a:extLst>
              <a:ext uri="{FF2B5EF4-FFF2-40B4-BE49-F238E27FC236}">
                <a16:creationId xmlns:a16="http://schemas.microsoft.com/office/drawing/2014/main" id="{DA5B75DC-64B3-F2AC-CB73-2BDE14D81F6B}"/>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38FFD4DE-7414-97A0-A23B-0BF452ECA41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351934880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For- og mellemside 1">
    <p:bg>
      <p:bgRef idx="1001">
        <a:schemeClr val="bg2"/>
      </p:bgRef>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936100" y="1816678"/>
            <a:ext cx="14400000" cy="1440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431799" y="2088000"/>
            <a:ext cx="7535864" cy="3456000"/>
          </a:xfrm>
          <a:prstGeom prst="rect">
            <a:avLst/>
          </a:prstGeom>
        </p:spPr>
        <p:txBody>
          <a:bodyPr anchor="b">
            <a:noAutofit/>
          </a:bodyPr>
          <a:lstStyle>
            <a:lvl1pPr algn="l">
              <a:defRPr sz="4800"/>
            </a:lvl1pPr>
          </a:lstStyle>
          <a:p>
            <a:r>
              <a:rPr lang="da-DK" noProof="0"/>
              <a:t>Klik for at redigere titeltypografien i masteren</a:t>
            </a:r>
          </a:p>
        </p:txBody>
      </p:sp>
      <p:sp>
        <p:nvSpPr>
          <p:cNvPr id="4" name="Date Placeholder 3">
            <a:extLst>
              <a:ext uri="{FF2B5EF4-FFF2-40B4-BE49-F238E27FC236}">
                <a16:creationId xmlns:a16="http://schemas.microsoft.com/office/drawing/2014/main" id="{4C4CE7D8-6EC0-2491-8806-3C1E5919B56A}"/>
              </a:ext>
            </a:extLst>
          </p:cNvPr>
          <p:cNvSpPr>
            <a:spLocks noGrp="1"/>
          </p:cNvSpPr>
          <p:nvPr>
            <p:ph type="dt" sz="half" idx="10"/>
          </p:nvPr>
        </p:nvSpPr>
        <p:spPr/>
        <p:txBody>
          <a:bodyPr/>
          <a:lstStyle/>
          <a:p>
            <a:fld id="{21469B70-BCE5-4F8B-9E98-AC54A21E0D6A}" type="datetime1">
              <a:rPr lang="da-DK" noProof="0" smtClean="0"/>
              <a:t>16-03-2026</a:t>
            </a:fld>
            <a:endParaRPr lang="da-DK" noProof="0"/>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DEDDE538-0CB7-902A-4AB4-ACEC925EBE81}"/>
              </a:ext>
            </a:extLst>
          </p:cNvPr>
          <p:cNvSpPr>
            <a:spLocks noGrp="1"/>
          </p:cNvSpPr>
          <p:nvPr>
            <p:ph type="sldNum" sz="quarter" idx="12"/>
          </p:nvPr>
        </p:nvSpPr>
        <p:spPr/>
        <p:txBody>
          <a:bodyPr/>
          <a:lstStyle/>
          <a:p>
            <a:fld id="{FA9C6259-F55B-47A6-AB0B-9E9F0835A2F0}" type="slidenum">
              <a:rPr lang="da-DK" noProof="0" smtClean="0"/>
              <a:pPr/>
              <a:t>‹nr.›</a:t>
            </a:fld>
            <a:endParaRPr lang="da-DK" noProof="0"/>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3FC54590-129B-2F4E-C990-7EDBCF0551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165198358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or- og mellemside 2">
    <p:bg>
      <p:bgRef idx="1001">
        <a:schemeClr val="bg2"/>
      </p:bgRef>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803305" y="-10033678"/>
            <a:ext cx="14400000" cy="1440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12" name="Title 1">
            <a:extLst>
              <a:ext uri="{FF2B5EF4-FFF2-40B4-BE49-F238E27FC236}">
                <a16:creationId xmlns:a16="http://schemas.microsoft.com/office/drawing/2014/main" id="{A07F47E0-90FC-E8B7-B715-D3C7DEAA0FD6}"/>
              </a:ext>
            </a:extLst>
          </p:cNvPr>
          <p:cNvSpPr>
            <a:spLocks noGrp="1"/>
          </p:cNvSpPr>
          <p:nvPr>
            <p:ph type="ctrTitle"/>
          </p:nvPr>
        </p:nvSpPr>
        <p:spPr>
          <a:xfrm>
            <a:off x="431799" y="2088000"/>
            <a:ext cx="7535864" cy="3456000"/>
          </a:xfrm>
          <a:prstGeom prst="rect">
            <a:avLst/>
          </a:prstGeom>
        </p:spPr>
        <p:txBody>
          <a:bodyPr anchor="b">
            <a:noAutofit/>
          </a:bodyPr>
          <a:lstStyle>
            <a:lvl1pPr algn="l">
              <a:defRPr sz="4800"/>
            </a:lvl1pPr>
          </a:lstStyle>
          <a:p>
            <a:r>
              <a:rPr lang="da-DK" noProof="0"/>
              <a:t>Klik for at redigere titeltypografien i masteren</a:t>
            </a:r>
          </a:p>
        </p:txBody>
      </p:sp>
      <p:sp>
        <p:nvSpPr>
          <p:cNvPr id="15" name="Date Placeholder 14">
            <a:extLst>
              <a:ext uri="{FF2B5EF4-FFF2-40B4-BE49-F238E27FC236}">
                <a16:creationId xmlns:a16="http://schemas.microsoft.com/office/drawing/2014/main" id="{AB7CEF90-B062-3E9D-C7C5-39575003AE1D}"/>
              </a:ext>
            </a:extLst>
          </p:cNvPr>
          <p:cNvSpPr>
            <a:spLocks noGrp="1"/>
          </p:cNvSpPr>
          <p:nvPr>
            <p:ph type="dt" sz="half" idx="10"/>
          </p:nvPr>
        </p:nvSpPr>
        <p:spPr/>
        <p:txBody>
          <a:bodyPr/>
          <a:lstStyle/>
          <a:p>
            <a:fld id="{6A588B36-C6ED-42F1-BE88-0533F5CE3DE9}" type="datetime1">
              <a:rPr lang="da-DK" noProof="0" smtClean="0"/>
              <a:t>16-03-2026</a:t>
            </a:fld>
            <a:endParaRPr lang="da-DK" noProof="0"/>
          </a:p>
        </p:txBody>
      </p:sp>
      <p:sp>
        <p:nvSpPr>
          <p:cNvPr id="16" name="Footer Placeholder 15">
            <a:extLst>
              <a:ext uri="{FF2B5EF4-FFF2-40B4-BE49-F238E27FC236}">
                <a16:creationId xmlns:a16="http://schemas.microsoft.com/office/drawing/2014/main" id="{5C96EA94-779A-6A0C-8DAF-15DD10091434}"/>
              </a:ext>
            </a:extLst>
          </p:cNvPr>
          <p:cNvSpPr>
            <a:spLocks noGrp="1"/>
          </p:cNvSpPr>
          <p:nvPr>
            <p:ph type="ftr" sz="quarter" idx="11"/>
          </p:nvPr>
        </p:nvSpPr>
        <p:spPr/>
        <p:txBody>
          <a:bodyPr/>
          <a:lstStyle/>
          <a:p>
            <a:endParaRPr lang="da-DK" noProof="0"/>
          </a:p>
        </p:txBody>
      </p:sp>
      <p:sp>
        <p:nvSpPr>
          <p:cNvPr id="17" name="Slide Number Placeholder 16">
            <a:extLst>
              <a:ext uri="{FF2B5EF4-FFF2-40B4-BE49-F238E27FC236}">
                <a16:creationId xmlns:a16="http://schemas.microsoft.com/office/drawing/2014/main" id="{A4254271-E7EC-79F0-7144-FE1848A055F0}"/>
              </a:ext>
            </a:extLst>
          </p:cNvPr>
          <p:cNvSpPr>
            <a:spLocks noGrp="1"/>
          </p:cNvSpPr>
          <p:nvPr>
            <p:ph type="sldNum" sz="quarter" idx="12"/>
          </p:nvPr>
        </p:nvSpPr>
        <p:spPr/>
        <p:txBody>
          <a:bodyPr/>
          <a:lstStyle/>
          <a:p>
            <a:fld id="{FA9C6259-F55B-47A6-AB0B-9E9F0835A2F0}" type="slidenum">
              <a:rPr lang="da-DK" noProof="0" smtClean="0"/>
              <a:pPr/>
              <a:t>‹nr.›</a:t>
            </a:fld>
            <a:endParaRPr lang="da-DK" noProof="0"/>
          </a:p>
        </p:txBody>
      </p:sp>
      <p:sp>
        <p:nvSpPr>
          <p:cNvPr id="2" name="Subtitle 2">
            <a:extLst>
              <a:ext uri="{FF2B5EF4-FFF2-40B4-BE49-F238E27FC236}">
                <a16:creationId xmlns:a16="http://schemas.microsoft.com/office/drawing/2014/main" id="{E07C53AB-35E0-E874-E5AB-A22135039BAD}"/>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2BAAF581-0891-DF88-D057-832A787F58E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376850855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Mellemside lille foto">
    <p:bg>
      <p:bgRef idx="1001">
        <a:schemeClr val="bg2"/>
      </p:bgRef>
    </p:bg>
    <p:spTree>
      <p:nvGrpSpPr>
        <p:cNvPr id="1" name=""/>
        <p:cNvGrpSpPr/>
        <p:nvPr/>
      </p:nvGrpSpPr>
      <p:grpSpPr>
        <a:xfrm>
          <a:off x="0" y="0"/>
          <a:ext cx="0" cy="0"/>
          <a:chOff x="0" y="0"/>
          <a:chExt cx="0" cy="0"/>
        </a:xfrm>
      </p:grpSpPr>
      <p:sp>
        <p:nvSpPr>
          <p:cNvPr id="28" name="Ellipse 27">
            <a:extLst>
              <a:ext uri="{FF2B5EF4-FFF2-40B4-BE49-F238E27FC236}">
                <a16:creationId xmlns:a16="http://schemas.microsoft.com/office/drawing/2014/main" id="{2C5D3745-123D-48F9-AC1E-22ECE84A6002}"/>
              </a:ext>
            </a:extLst>
          </p:cNvPr>
          <p:cNvSpPr>
            <a:spLocks noChangeAspect="1"/>
          </p:cNvSpPr>
          <p:nvPr userDrawn="1"/>
        </p:nvSpPr>
        <p:spPr>
          <a:xfrm>
            <a:off x="1892371" y="-5095322"/>
            <a:ext cx="8640000" cy="864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8188364" y="1269001"/>
            <a:ext cx="4319999" cy="4319999"/>
          </a:xfrm>
          <a:prstGeom prst="ellipse">
            <a:avLst/>
          </a:prstGeom>
          <a:blipFill>
            <a:blip r:embed="rId2" cstate="screen">
              <a:extLst>
                <a:ext uri="{28A0092B-C50C-407E-A947-70E740481C1C}">
                  <a14:useLocalDpi xmlns:a14="http://schemas.microsoft.com/office/drawing/2010/main"/>
                </a:ext>
              </a:extLst>
            </a:blip>
            <a:srcRect/>
            <a:stretch>
              <a:fillRect/>
            </a:stretch>
          </a:blipFill>
        </p:spPr>
        <p:txBody>
          <a:bodyPr/>
          <a:lstStyle/>
          <a:p>
            <a:r>
              <a:rPr lang="da-DK" noProof="0"/>
              <a:t>Klik på ikonet for at tilføje et billede</a:t>
            </a:r>
          </a:p>
        </p:txBody>
      </p:sp>
      <p:sp>
        <p:nvSpPr>
          <p:cNvPr id="10" name="Title 1">
            <a:extLst>
              <a:ext uri="{FF2B5EF4-FFF2-40B4-BE49-F238E27FC236}">
                <a16:creationId xmlns:a16="http://schemas.microsoft.com/office/drawing/2014/main" id="{285B4C59-DBF2-0654-4DB5-17317EDB3CAA}"/>
              </a:ext>
            </a:extLst>
          </p:cNvPr>
          <p:cNvSpPr>
            <a:spLocks noGrp="1"/>
          </p:cNvSpPr>
          <p:nvPr>
            <p:ph type="ctrTitle"/>
          </p:nvPr>
        </p:nvSpPr>
        <p:spPr>
          <a:xfrm>
            <a:off x="431799" y="2088000"/>
            <a:ext cx="7535864" cy="3456000"/>
          </a:xfrm>
          <a:prstGeom prst="rect">
            <a:avLst/>
          </a:prstGeom>
        </p:spPr>
        <p:txBody>
          <a:bodyPr anchor="b">
            <a:noAutofit/>
          </a:bodyPr>
          <a:lstStyle>
            <a:lvl1pPr algn="l">
              <a:defRPr sz="4800"/>
            </a:lvl1pPr>
          </a:lstStyle>
          <a:p>
            <a:r>
              <a:rPr lang="da-DK" noProof="0"/>
              <a:t>Klik for at redigere titeltypografien i masteren</a:t>
            </a:r>
          </a:p>
        </p:txBody>
      </p:sp>
      <p:sp>
        <p:nvSpPr>
          <p:cNvPr id="13" name="Date Placeholder 12">
            <a:extLst>
              <a:ext uri="{FF2B5EF4-FFF2-40B4-BE49-F238E27FC236}">
                <a16:creationId xmlns:a16="http://schemas.microsoft.com/office/drawing/2014/main" id="{415DD548-B11C-7D7F-BBB9-D327A7CCDD89}"/>
              </a:ext>
            </a:extLst>
          </p:cNvPr>
          <p:cNvSpPr>
            <a:spLocks noGrp="1"/>
          </p:cNvSpPr>
          <p:nvPr>
            <p:ph type="dt" sz="half" idx="14"/>
          </p:nvPr>
        </p:nvSpPr>
        <p:spPr/>
        <p:txBody>
          <a:bodyPr/>
          <a:lstStyle/>
          <a:p>
            <a:fld id="{60C3C972-31CA-44BA-AEC5-94F10F4EBC15}" type="datetime1">
              <a:rPr lang="da-DK" noProof="0" smtClean="0"/>
              <a:t>16-03-2026</a:t>
            </a:fld>
            <a:endParaRPr lang="da-DK" noProof="0"/>
          </a:p>
        </p:txBody>
      </p:sp>
      <p:sp>
        <p:nvSpPr>
          <p:cNvPr id="14" name="Footer Placeholder 13">
            <a:extLst>
              <a:ext uri="{FF2B5EF4-FFF2-40B4-BE49-F238E27FC236}">
                <a16:creationId xmlns:a16="http://schemas.microsoft.com/office/drawing/2014/main" id="{056339C0-0CFD-DE3E-E4EF-13EF6F138179}"/>
              </a:ext>
            </a:extLst>
          </p:cNvPr>
          <p:cNvSpPr>
            <a:spLocks noGrp="1"/>
          </p:cNvSpPr>
          <p:nvPr>
            <p:ph type="ftr" sz="quarter" idx="15"/>
          </p:nvPr>
        </p:nvSpPr>
        <p:spPr/>
        <p:txBody>
          <a:bodyPr/>
          <a:lstStyle/>
          <a:p>
            <a:endParaRPr lang="da-DK" noProof="0"/>
          </a:p>
        </p:txBody>
      </p:sp>
      <p:sp>
        <p:nvSpPr>
          <p:cNvPr id="15" name="Slide Number Placeholder 14">
            <a:extLst>
              <a:ext uri="{FF2B5EF4-FFF2-40B4-BE49-F238E27FC236}">
                <a16:creationId xmlns:a16="http://schemas.microsoft.com/office/drawing/2014/main" id="{9AE8AD9E-8BB3-464F-39A3-BAD1CDE62E48}"/>
              </a:ext>
            </a:extLst>
          </p:cNvPr>
          <p:cNvSpPr>
            <a:spLocks noGrp="1"/>
          </p:cNvSpPr>
          <p:nvPr>
            <p:ph type="sldNum" sz="quarter" idx="16"/>
          </p:nvPr>
        </p:nvSpPr>
        <p:spPr/>
        <p:txBody>
          <a:bodyPr/>
          <a:lstStyle/>
          <a:p>
            <a:fld id="{FA9C6259-F55B-47A6-AB0B-9E9F0835A2F0}" type="slidenum">
              <a:rPr lang="da-DK" noProof="0" smtClean="0"/>
              <a:pPr/>
              <a:t>‹nr.›</a:t>
            </a:fld>
            <a:endParaRPr lang="da-DK" noProof="0"/>
          </a:p>
        </p:txBody>
      </p:sp>
      <p:sp>
        <p:nvSpPr>
          <p:cNvPr id="2" name="Subtitle 2">
            <a:extLst>
              <a:ext uri="{FF2B5EF4-FFF2-40B4-BE49-F238E27FC236}">
                <a16:creationId xmlns:a16="http://schemas.microsoft.com/office/drawing/2014/main" id="{5EE68DFA-0F95-8315-1AE5-A214CDA76F8E}"/>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9F459750-5F2B-08FD-57E3-F9089D3213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350154939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Mellemside lille foto 2">
    <p:bg>
      <p:bgRef idx="1001">
        <a:schemeClr val="bg2"/>
      </p:bgRef>
    </p:bg>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6588174" y="-5806944"/>
            <a:ext cx="10856595" cy="10856595"/>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6096000" y="1900771"/>
            <a:ext cx="5662613" cy="997196"/>
          </a:xfrm>
          <a:prstGeom prst="rect">
            <a:avLst/>
          </a:prstGeom>
        </p:spPr>
        <p:txBody>
          <a:bodyPr wrap="square" anchor="b">
            <a:spAutoFit/>
          </a:bodyPr>
          <a:lstStyle>
            <a:lvl1pPr algn="l">
              <a:defRPr sz="3600"/>
            </a:lvl1pPr>
          </a:lstStyle>
          <a:p>
            <a:r>
              <a:rPr lang="da-DK" noProof="0"/>
              <a:t>Klik for at redigere titeltypografien i masteren</a:t>
            </a:r>
          </a:p>
        </p:txBody>
      </p:sp>
      <p:sp>
        <p:nvSpPr>
          <p:cNvPr id="3" name="Subtitle 2">
            <a:extLst>
              <a:ext uri="{FF2B5EF4-FFF2-40B4-BE49-F238E27FC236}">
                <a16:creationId xmlns:a16="http://schemas.microsoft.com/office/drawing/2014/main" id="{2BDC76B8-60F6-62D3-9F73-E81662203017}"/>
              </a:ext>
            </a:extLst>
          </p:cNvPr>
          <p:cNvSpPr>
            <a:spLocks noGrp="1"/>
          </p:cNvSpPr>
          <p:nvPr userDrawn="1">
            <p:ph type="subTitle" idx="1"/>
          </p:nvPr>
        </p:nvSpPr>
        <p:spPr>
          <a:xfrm>
            <a:off x="6103144" y="3084095"/>
            <a:ext cx="5655470" cy="2549872"/>
          </a:xfrm>
        </p:spPr>
        <p:txBody>
          <a:bodyPr anchor="t">
            <a:noAutofit/>
          </a:bodyPr>
          <a:lstStyle>
            <a:lvl1pPr marL="285750" indent="-285750" algn="l">
              <a:lnSpc>
                <a:spcPct val="120000"/>
              </a:lnSpc>
              <a:spcBef>
                <a:spcPts val="0"/>
              </a:spcBef>
              <a:buFont typeface="Arial" panose="020B0604020202020204" pitchFamily="34" charset="0"/>
              <a:buChar char="•"/>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1343025" y="864000"/>
            <a:ext cx="3739073" cy="3739073"/>
          </a:xfrm>
          <a:prstGeom prst="ellipse">
            <a:avLst/>
          </a:prstGeom>
          <a:blipFill>
            <a:blip r:embed="rId2" cstate="screen">
              <a:extLst>
                <a:ext uri="{28A0092B-C50C-407E-A947-70E740481C1C}">
                  <a14:useLocalDpi xmlns:a14="http://schemas.microsoft.com/office/drawing/2010/main"/>
                </a:ext>
              </a:extLst>
            </a:blip>
            <a:srcRect/>
            <a:stretch>
              <a:fillRect/>
            </a:stretch>
          </a:blipFill>
        </p:spPr>
        <p:txBody>
          <a:bodyPr/>
          <a:lstStyle/>
          <a:p>
            <a:r>
              <a:rPr lang="da-DK" noProof="0"/>
              <a:t>Klik på ikonet for at tilføje et billede</a:t>
            </a:r>
          </a:p>
        </p:txBody>
      </p:sp>
      <p:sp>
        <p:nvSpPr>
          <p:cNvPr id="8" name="Pladsholder til tekst 7">
            <a:extLst>
              <a:ext uri="{FF2B5EF4-FFF2-40B4-BE49-F238E27FC236}">
                <a16:creationId xmlns:a16="http://schemas.microsoft.com/office/drawing/2014/main" id="{0912F1B6-40D3-0A36-D413-1ECBF33CBD40}"/>
              </a:ext>
            </a:extLst>
          </p:cNvPr>
          <p:cNvSpPr>
            <a:spLocks noGrp="1"/>
          </p:cNvSpPr>
          <p:nvPr>
            <p:ph type="body" sz="quarter" idx="14" hasCustomPrompt="1"/>
          </p:nvPr>
        </p:nvSpPr>
        <p:spPr>
          <a:xfrm>
            <a:off x="6096000" y="1464608"/>
            <a:ext cx="5662612" cy="238527"/>
          </a:xfrm>
        </p:spPr>
        <p:txBody>
          <a:bodyPr wrap="square" anchor="b">
            <a:spAutoFit/>
          </a:bodyPr>
          <a:lstStyle>
            <a:lvl1pPr marL="0" indent="0">
              <a:buNone/>
              <a:defRPr>
                <a:solidFill>
                  <a:schemeClr val="accent2"/>
                </a:solidFill>
                <a:latin typeface="Work Sans SemiBold" pitchFamily="2" charset="0"/>
              </a:defRPr>
            </a:lvl1pPr>
            <a:lvl2pPr marL="222250" indent="0">
              <a:buNone/>
              <a:defRPr>
                <a:latin typeface="Work Sans SemiBold" pitchFamily="2" charset="0"/>
              </a:defRPr>
            </a:lvl2pPr>
            <a:lvl3pPr marL="542925" indent="0">
              <a:buNone/>
              <a:defRPr>
                <a:latin typeface="Work Sans SemiBold" pitchFamily="2" charset="0"/>
              </a:defRPr>
            </a:lvl3pPr>
            <a:lvl4pPr marL="895350" indent="0">
              <a:buNone/>
              <a:defRPr>
                <a:latin typeface="Work Sans SemiBold" pitchFamily="2" charset="0"/>
              </a:defRPr>
            </a:lvl4pPr>
            <a:lvl5pPr marL="1166813" indent="0">
              <a:buNone/>
              <a:defRPr>
                <a:latin typeface="Work Sans SemiBold" pitchFamily="2" charset="0"/>
              </a:defRPr>
            </a:lvl5pPr>
          </a:lstStyle>
          <a:p>
            <a:pPr lvl="0"/>
            <a:r>
              <a:rPr lang="da-DK" noProof="0" err="1"/>
              <a:t>Click</a:t>
            </a:r>
            <a:r>
              <a:rPr lang="da-DK" noProof="0"/>
              <a:t> to </a:t>
            </a:r>
            <a:r>
              <a:rPr lang="da-DK" noProof="0" err="1"/>
              <a:t>edit</a:t>
            </a:r>
            <a:r>
              <a:rPr lang="da-DK" noProof="0"/>
              <a:t> Event information</a:t>
            </a:r>
          </a:p>
        </p:txBody>
      </p:sp>
      <p:sp>
        <p:nvSpPr>
          <p:cNvPr id="10" name="Pladsholder til tekst 9">
            <a:extLst>
              <a:ext uri="{FF2B5EF4-FFF2-40B4-BE49-F238E27FC236}">
                <a16:creationId xmlns:a16="http://schemas.microsoft.com/office/drawing/2014/main" id="{8EAB7028-35CF-586A-9D7B-4652BD5AD207}"/>
              </a:ext>
            </a:extLst>
          </p:cNvPr>
          <p:cNvSpPr>
            <a:spLocks noGrp="1"/>
          </p:cNvSpPr>
          <p:nvPr>
            <p:ph type="body" sz="quarter" idx="15" hasCustomPrompt="1"/>
          </p:nvPr>
        </p:nvSpPr>
        <p:spPr>
          <a:xfrm>
            <a:off x="1307024" y="4772373"/>
            <a:ext cx="3775075" cy="665451"/>
          </a:xfrm>
        </p:spPr>
        <p:txBody>
          <a:bodyPr/>
          <a:lstStyle>
            <a:lvl1pPr marL="0" indent="0" algn="ctr">
              <a:lnSpc>
                <a:spcPct val="100000"/>
              </a:lnSpc>
              <a:buNone/>
              <a:defRPr/>
            </a:lvl1pPr>
            <a:lvl2pPr marL="222250" indent="0" algn="ctr">
              <a:buNone/>
              <a:defRPr/>
            </a:lvl2pPr>
            <a:lvl3pPr marL="542925" indent="0" algn="ctr">
              <a:buNone/>
              <a:defRPr/>
            </a:lvl3pPr>
            <a:lvl4pPr marL="895350" indent="0" algn="ctr">
              <a:buNone/>
              <a:defRPr/>
            </a:lvl4pPr>
            <a:lvl5pPr marL="1166813" indent="0" algn="ctr">
              <a:buNone/>
              <a:defRPr/>
            </a:lvl5pPr>
          </a:lstStyle>
          <a:p>
            <a:pPr lvl="0"/>
            <a:r>
              <a:rPr lang="da-DK" noProof="0"/>
              <a:t>Klik for at redigere teksttypografierne i masteren</a:t>
            </a:r>
          </a:p>
        </p:txBody>
      </p:sp>
      <p:sp>
        <p:nvSpPr>
          <p:cNvPr id="9" name="Date Placeholder 8">
            <a:extLst>
              <a:ext uri="{FF2B5EF4-FFF2-40B4-BE49-F238E27FC236}">
                <a16:creationId xmlns:a16="http://schemas.microsoft.com/office/drawing/2014/main" id="{0B39925B-3F68-00E8-CCD5-A2B5C1A8D3D1}"/>
              </a:ext>
            </a:extLst>
          </p:cNvPr>
          <p:cNvSpPr>
            <a:spLocks noGrp="1"/>
          </p:cNvSpPr>
          <p:nvPr>
            <p:ph type="dt" sz="half" idx="16"/>
          </p:nvPr>
        </p:nvSpPr>
        <p:spPr/>
        <p:txBody>
          <a:bodyPr/>
          <a:lstStyle/>
          <a:p>
            <a:fld id="{1DCD3698-9C2B-4995-A2F1-86CC7BED4689}" type="datetime1">
              <a:rPr lang="da-DK" noProof="0" smtClean="0"/>
              <a:t>16-03-2026</a:t>
            </a:fld>
            <a:endParaRPr lang="da-DK" noProof="0"/>
          </a:p>
        </p:txBody>
      </p:sp>
      <p:sp>
        <p:nvSpPr>
          <p:cNvPr id="12" name="Footer Placeholder 11">
            <a:extLst>
              <a:ext uri="{FF2B5EF4-FFF2-40B4-BE49-F238E27FC236}">
                <a16:creationId xmlns:a16="http://schemas.microsoft.com/office/drawing/2014/main" id="{6AAA001F-86A6-9EAE-DE70-6B4F55F32BE5}"/>
              </a:ext>
            </a:extLst>
          </p:cNvPr>
          <p:cNvSpPr>
            <a:spLocks noGrp="1"/>
          </p:cNvSpPr>
          <p:nvPr>
            <p:ph type="ftr" sz="quarter" idx="17"/>
          </p:nvPr>
        </p:nvSpPr>
        <p:spPr/>
        <p:txBody>
          <a:bodyPr/>
          <a:lstStyle/>
          <a:p>
            <a:endParaRPr lang="da-DK" noProof="0"/>
          </a:p>
        </p:txBody>
      </p:sp>
      <p:sp>
        <p:nvSpPr>
          <p:cNvPr id="13" name="Slide Number Placeholder 12">
            <a:extLst>
              <a:ext uri="{FF2B5EF4-FFF2-40B4-BE49-F238E27FC236}">
                <a16:creationId xmlns:a16="http://schemas.microsoft.com/office/drawing/2014/main" id="{1F0EB0D8-0E00-97BF-E1E9-C7A1A2B3BC1F}"/>
              </a:ext>
            </a:extLst>
          </p:cNvPr>
          <p:cNvSpPr>
            <a:spLocks noGrp="1"/>
          </p:cNvSpPr>
          <p:nvPr>
            <p:ph type="sldNum" sz="quarter" idx="18"/>
          </p:nvPr>
        </p:nvSpPr>
        <p:spPr/>
        <p:txBody>
          <a:bodyPr/>
          <a:lstStyle/>
          <a:p>
            <a:fld id="{FA9C6259-F55B-47A6-AB0B-9E9F0835A2F0}" type="slidenum">
              <a:rPr lang="da-DK" noProof="0" smtClean="0"/>
              <a:pPr/>
              <a:t>‹nr.›</a:t>
            </a:fld>
            <a:endParaRPr lang="da-DK" noProof="0"/>
          </a:p>
        </p:txBody>
      </p:sp>
      <p:pic>
        <p:nvPicPr>
          <p:cNvPr id="5" name="Graphic 4">
            <a:extLst>
              <a:ext uri="{FF2B5EF4-FFF2-40B4-BE49-F238E27FC236}">
                <a16:creationId xmlns:a16="http://schemas.microsoft.com/office/drawing/2014/main" id="{E98382B0-0A34-BE2E-B8B3-839C71E289A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71790622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Fotobaggrund">
    <p:bg>
      <p:bgRef idx="1001">
        <a:schemeClr val="bg2"/>
      </p:bgRef>
    </p:bg>
    <p:spTree>
      <p:nvGrpSpPr>
        <p:cNvPr id="1" name=""/>
        <p:cNvGrpSpPr/>
        <p:nvPr/>
      </p:nvGrpSpPr>
      <p:grpSpPr>
        <a:xfrm>
          <a:off x="0" y="0"/>
          <a:ext cx="0" cy="0"/>
          <a:chOff x="0" y="0"/>
          <a:chExt cx="0" cy="0"/>
        </a:xfrm>
      </p:grpSpPr>
      <p:sp>
        <p:nvSpPr>
          <p:cNvPr id="21" name="Pladsholder til billede 20">
            <a:extLst>
              <a:ext uri="{FF2B5EF4-FFF2-40B4-BE49-F238E27FC236}">
                <a16:creationId xmlns:a16="http://schemas.microsoft.com/office/drawing/2014/main" id="{87ACCDF2-438B-3952-1B50-A08B33E4181A}"/>
              </a:ext>
            </a:extLst>
          </p:cNvPr>
          <p:cNvSpPr>
            <a:spLocks noGrp="1"/>
          </p:cNvSpPr>
          <p:nvPr>
            <p:ph type="pic" sz="quarter" idx="14"/>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4317599 w 12192000"/>
              <a:gd name="connsiteY3" fmla="*/ 6858000 h 6858000"/>
              <a:gd name="connsiteX4" fmla="*/ 4173417 w 12192000"/>
              <a:gd name="connsiteY4" fmla="*/ 6765567 h 6858000"/>
              <a:gd name="connsiteX5" fmla="*/ 107135 w 12192000"/>
              <a:gd name="connsiteY5" fmla="*/ 2064956 h 6858000"/>
              <a:gd name="connsiteX6" fmla="*/ 0 w 12192000"/>
              <a:gd name="connsiteY6" fmla="*/ 182797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6858000"/>
                </a:lnTo>
                <a:lnTo>
                  <a:pt x="4317599" y="6858000"/>
                </a:lnTo>
                <a:lnTo>
                  <a:pt x="4173417" y="6765567"/>
                </a:lnTo>
                <a:cubicBezTo>
                  <a:pt x="2435362" y="5591360"/>
                  <a:pt x="1024740" y="3969295"/>
                  <a:pt x="107135" y="2064956"/>
                </a:cubicBezTo>
                <a:lnTo>
                  <a:pt x="0" y="1827979"/>
                </a:lnTo>
                <a:close/>
              </a:path>
            </a:pathLst>
          </a:custGeom>
          <a:blipFill dpi="0" rotWithShape="1">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r>
              <a:rPr lang="da-DK" noProof="0"/>
              <a:t>Klik på ikonet for at tilføje et billede</a:t>
            </a:r>
          </a:p>
        </p:txBody>
      </p:sp>
      <p:pic>
        <p:nvPicPr>
          <p:cNvPr id="4" name="Grafik 10">
            <a:extLst>
              <a:ext uri="{FF2B5EF4-FFF2-40B4-BE49-F238E27FC236}">
                <a16:creationId xmlns:a16="http://schemas.microsoft.com/office/drawing/2014/main" id="{338930BB-ED3B-9B59-A12C-1FE9A9787C6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298042" y="6430133"/>
            <a:ext cx="1460571" cy="144000"/>
          </a:xfrm>
          <a:prstGeom prst="rect">
            <a:avLst/>
          </a:prstGeom>
        </p:spPr>
      </p:pic>
      <p:sp>
        <p:nvSpPr>
          <p:cNvPr id="10" name="Title 1">
            <a:extLst>
              <a:ext uri="{FF2B5EF4-FFF2-40B4-BE49-F238E27FC236}">
                <a16:creationId xmlns:a16="http://schemas.microsoft.com/office/drawing/2014/main" id="{BD12AD03-B76E-BE2B-C389-00DD8A910DA3}"/>
              </a:ext>
            </a:extLst>
          </p:cNvPr>
          <p:cNvSpPr>
            <a:spLocks noGrp="1"/>
          </p:cNvSpPr>
          <p:nvPr>
            <p:ph type="ctrTitle"/>
          </p:nvPr>
        </p:nvSpPr>
        <p:spPr>
          <a:xfrm>
            <a:off x="431799" y="2088000"/>
            <a:ext cx="7535864" cy="3456000"/>
          </a:xfrm>
          <a:prstGeom prst="rect">
            <a:avLst/>
          </a:prstGeom>
        </p:spPr>
        <p:txBody>
          <a:bodyPr anchor="b">
            <a:noAutofit/>
          </a:bodyPr>
          <a:lstStyle>
            <a:lvl1pPr algn="l">
              <a:defRPr sz="4800"/>
            </a:lvl1pPr>
          </a:lstStyle>
          <a:p>
            <a:r>
              <a:rPr lang="da-DK" noProof="0"/>
              <a:t>Klik for at redigere titeltypografien i masteren</a:t>
            </a:r>
          </a:p>
        </p:txBody>
      </p:sp>
      <p:sp>
        <p:nvSpPr>
          <p:cNvPr id="13" name="Date Placeholder 12">
            <a:extLst>
              <a:ext uri="{FF2B5EF4-FFF2-40B4-BE49-F238E27FC236}">
                <a16:creationId xmlns:a16="http://schemas.microsoft.com/office/drawing/2014/main" id="{6BD0004D-5E1D-7D00-F58D-C52BD817C6F3}"/>
              </a:ext>
            </a:extLst>
          </p:cNvPr>
          <p:cNvSpPr>
            <a:spLocks noGrp="1"/>
          </p:cNvSpPr>
          <p:nvPr>
            <p:ph type="dt" sz="half" idx="15"/>
          </p:nvPr>
        </p:nvSpPr>
        <p:spPr/>
        <p:txBody>
          <a:bodyPr/>
          <a:lstStyle/>
          <a:p>
            <a:fld id="{7DAEC753-2211-4705-8DF2-70D34647713A}" type="datetime1">
              <a:rPr lang="da-DK" noProof="0" smtClean="0"/>
              <a:t>16-03-2026</a:t>
            </a:fld>
            <a:endParaRPr lang="da-DK" noProof="0"/>
          </a:p>
        </p:txBody>
      </p:sp>
      <p:sp>
        <p:nvSpPr>
          <p:cNvPr id="14" name="Footer Placeholder 13">
            <a:extLst>
              <a:ext uri="{FF2B5EF4-FFF2-40B4-BE49-F238E27FC236}">
                <a16:creationId xmlns:a16="http://schemas.microsoft.com/office/drawing/2014/main" id="{21EA0916-AA0A-2A0A-E000-40B07DE48FE0}"/>
              </a:ext>
            </a:extLst>
          </p:cNvPr>
          <p:cNvSpPr>
            <a:spLocks noGrp="1"/>
          </p:cNvSpPr>
          <p:nvPr>
            <p:ph type="ftr" sz="quarter" idx="16"/>
          </p:nvPr>
        </p:nvSpPr>
        <p:spPr/>
        <p:txBody>
          <a:bodyPr/>
          <a:lstStyle/>
          <a:p>
            <a:endParaRPr lang="da-DK" noProof="0"/>
          </a:p>
        </p:txBody>
      </p:sp>
      <p:sp>
        <p:nvSpPr>
          <p:cNvPr id="15" name="Slide Number Placeholder 14">
            <a:extLst>
              <a:ext uri="{FF2B5EF4-FFF2-40B4-BE49-F238E27FC236}">
                <a16:creationId xmlns:a16="http://schemas.microsoft.com/office/drawing/2014/main" id="{6D202148-A549-C620-77FB-883263587440}"/>
              </a:ext>
            </a:extLst>
          </p:cNvPr>
          <p:cNvSpPr>
            <a:spLocks noGrp="1"/>
          </p:cNvSpPr>
          <p:nvPr>
            <p:ph type="sldNum" sz="quarter" idx="17"/>
          </p:nvPr>
        </p:nvSpPr>
        <p:spPr/>
        <p:txBody>
          <a:bodyPr/>
          <a:lstStyle/>
          <a:p>
            <a:fld id="{FA9C6259-F55B-47A6-AB0B-9E9F0835A2F0}" type="slidenum">
              <a:rPr lang="da-DK" noProof="0" smtClean="0"/>
              <a:pPr/>
              <a:t>‹nr.›</a:t>
            </a:fld>
            <a:endParaRPr lang="da-DK" noProof="0"/>
          </a:p>
        </p:txBody>
      </p:sp>
      <p:sp>
        <p:nvSpPr>
          <p:cNvPr id="2" name="Subtitle 2">
            <a:extLst>
              <a:ext uri="{FF2B5EF4-FFF2-40B4-BE49-F238E27FC236}">
                <a16:creationId xmlns:a16="http://schemas.microsoft.com/office/drawing/2014/main" id="{B8CA00F9-D4F2-A44A-A187-002C7CA04E1A}"/>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Tree>
    <p:extLst>
      <p:ext uri="{BB962C8B-B14F-4D97-AF65-F5344CB8AC3E}">
        <p14:creationId xmlns:p14="http://schemas.microsoft.com/office/powerpoint/2010/main" val="385994695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genda 1">
    <p:bg>
      <p:bgPr>
        <a:solidFill>
          <a:schemeClr val="bg1"/>
        </a:solidFill>
        <a:effectLst/>
      </p:bgPr>
    </p:bg>
    <p:spTree>
      <p:nvGrpSpPr>
        <p:cNvPr id="1" name=""/>
        <p:cNvGrpSpPr/>
        <p:nvPr/>
      </p:nvGrpSpPr>
      <p:grpSpPr>
        <a:xfrm>
          <a:off x="0" y="0"/>
          <a:ext cx="0" cy="0"/>
          <a:chOff x="0" y="0"/>
          <a:chExt cx="0" cy="0"/>
        </a:xfrm>
      </p:grpSpPr>
      <p:sp>
        <p:nvSpPr>
          <p:cNvPr id="28" name="Pladsholder til tekst 27">
            <a:extLst>
              <a:ext uri="{FF2B5EF4-FFF2-40B4-BE49-F238E27FC236}">
                <a16:creationId xmlns:a16="http://schemas.microsoft.com/office/drawing/2014/main" id="{74399AB2-9F15-DAB9-D5AF-57ADA09960C0}"/>
              </a:ext>
            </a:extLst>
          </p:cNvPr>
          <p:cNvSpPr>
            <a:spLocks noGrp="1"/>
          </p:cNvSpPr>
          <p:nvPr>
            <p:ph type="body" sz="quarter" idx="13" hasCustomPrompt="1"/>
          </p:nvPr>
        </p:nvSpPr>
        <p:spPr>
          <a:xfrm>
            <a:off x="5948079" y="2894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9" name="Pladsholder til indhold 38">
            <a:extLst>
              <a:ext uri="{FF2B5EF4-FFF2-40B4-BE49-F238E27FC236}">
                <a16:creationId xmlns:a16="http://schemas.microsoft.com/office/drawing/2014/main" id="{D4FBA7D3-9EE0-3E27-EC3F-4047A1FED231}"/>
              </a:ext>
            </a:extLst>
          </p:cNvPr>
          <p:cNvSpPr>
            <a:spLocks noGrp="1"/>
          </p:cNvSpPr>
          <p:nvPr>
            <p:ph sz="quarter" idx="21" hasCustomPrompt="1"/>
          </p:nvPr>
        </p:nvSpPr>
        <p:spPr>
          <a:xfrm>
            <a:off x="5156077" y="2894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4" name="Pladsholder til tekst 27">
            <a:extLst>
              <a:ext uri="{FF2B5EF4-FFF2-40B4-BE49-F238E27FC236}">
                <a16:creationId xmlns:a16="http://schemas.microsoft.com/office/drawing/2014/main" id="{9ED5405B-E6D8-0AA4-7093-43C41471FFFC}"/>
              </a:ext>
            </a:extLst>
          </p:cNvPr>
          <p:cNvSpPr>
            <a:spLocks noGrp="1"/>
          </p:cNvSpPr>
          <p:nvPr>
            <p:ph type="body" sz="quarter" idx="22" hasCustomPrompt="1"/>
          </p:nvPr>
        </p:nvSpPr>
        <p:spPr>
          <a:xfrm>
            <a:off x="5948079" y="2030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8" name="Pladsholder til indhold 38">
            <a:extLst>
              <a:ext uri="{FF2B5EF4-FFF2-40B4-BE49-F238E27FC236}">
                <a16:creationId xmlns:a16="http://schemas.microsoft.com/office/drawing/2014/main" id="{089FDB5C-95FC-6228-25A0-FFA44B117D1F}"/>
              </a:ext>
            </a:extLst>
          </p:cNvPr>
          <p:cNvSpPr>
            <a:spLocks noGrp="1"/>
          </p:cNvSpPr>
          <p:nvPr>
            <p:ph sz="quarter" idx="23" hasCustomPrompt="1"/>
          </p:nvPr>
        </p:nvSpPr>
        <p:spPr>
          <a:xfrm>
            <a:off x="5156077" y="2030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10" name="Pladsholder til tekst 27">
            <a:extLst>
              <a:ext uri="{FF2B5EF4-FFF2-40B4-BE49-F238E27FC236}">
                <a16:creationId xmlns:a16="http://schemas.microsoft.com/office/drawing/2014/main" id="{60FFD07F-A2FE-6C41-F11E-A76EC796912E}"/>
              </a:ext>
            </a:extLst>
          </p:cNvPr>
          <p:cNvSpPr>
            <a:spLocks noGrp="1"/>
          </p:cNvSpPr>
          <p:nvPr>
            <p:ph type="body" sz="quarter" idx="24" hasCustomPrompt="1"/>
          </p:nvPr>
        </p:nvSpPr>
        <p:spPr>
          <a:xfrm>
            <a:off x="5948079" y="1166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5156077" y="1166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12" name="Pladsholder til tekst 27">
            <a:extLst>
              <a:ext uri="{FF2B5EF4-FFF2-40B4-BE49-F238E27FC236}">
                <a16:creationId xmlns:a16="http://schemas.microsoft.com/office/drawing/2014/main" id="{E7449D5C-4889-7C85-B135-D9BCC5B3F010}"/>
              </a:ext>
            </a:extLst>
          </p:cNvPr>
          <p:cNvSpPr>
            <a:spLocks noGrp="1"/>
          </p:cNvSpPr>
          <p:nvPr>
            <p:ph type="body" sz="quarter" idx="26" hasCustomPrompt="1"/>
          </p:nvPr>
        </p:nvSpPr>
        <p:spPr>
          <a:xfrm>
            <a:off x="5948079" y="3758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3" name="Pladsholder til indhold 38">
            <a:extLst>
              <a:ext uri="{FF2B5EF4-FFF2-40B4-BE49-F238E27FC236}">
                <a16:creationId xmlns:a16="http://schemas.microsoft.com/office/drawing/2014/main" id="{BF611594-5934-4853-7B72-D1FAC3DC23DF}"/>
              </a:ext>
            </a:extLst>
          </p:cNvPr>
          <p:cNvSpPr>
            <a:spLocks noGrp="1"/>
          </p:cNvSpPr>
          <p:nvPr>
            <p:ph sz="quarter" idx="27" hasCustomPrompt="1"/>
          </p:nvPr>
        </p:nvSpPr>
        <p:spPr>
          <a:xfrm>
            <a:off x="5156077" y="3758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4</a:t>
            </a:r>
          </a:p>
        </p:txBody>
      </p:sp>
      <p:sp>
        <p:nvSpPr>
          <p:cNvPr id="15" name="Pladsholder til tekst 27">
            <a:extLst>
              <a:ext uri="{FF2B5EF4-FFF2-40B4-BE49-F238E27FC236}">
                <a16:creationId xmlns:a16="http://schemas.microsoft.com/office/drawing/2014/main" id="{3F6B035A-D85E-F504-732F-8690B44F6A86}"/>
              </a:ext>
            </a:extLst>
          </p:cNvPr>
          <p:cNvSpPr>
            <a:spLocks noGrp="1"/>
          </p:cNvSpPr>
          <p:nvPr>
            <p:ph type="body" sz="quarter" idx="28" hasCustomPrompt="1"/>
          </p:nvPr>
        </p:nvSpPr>
        <p:spPr>
          <a:xfrm>
            <a:off x="5948079" y="4631550"/>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6" name="Pladsholder til indhold 38">
            <a:extLst>
              <a:ext uri="{FF2B5EF4-FFF2-40B4-BE49-F238E27FC236}">
                <a16:creationId xmlns:a16="http://schemas.microsoft.com/office/drawing/2014/main" id="{6C2CF3A2-B959-2F57-1DB2-791F198185F0}"/>
              </a:ext>
            </a:extLst>
          </p:cNvPr>
          <p:cNvSpPr>
            <a:spLocks noGrp="1"/>
          </p:cNvSpPr>
          <p:nvPr>
            <p:ph sz="quarter" idx="29" hasCustomPrompt="1"/>
          </p:nvPr>
        </p:nvSpPr>
        <p:spPr>
          <a:xfrm>
            <a:off x="5156077" y="4631550"/>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5</a:t>
            </a:r>
          </a:p>
        </p:txBody>
      </p:sp>
      <p:sp>
        <p:nvSpPr>
          <p:cNvPr id="2" name="Date Placeholder 1">
            <a:extLst>
              <a:ext uri="{FF2B5EF4-FFF2-40B4-BE49-F238E27FC236}">
                <a16:creationId xmlns:a16="http://schemas.microsoft.com/office/drawing/2014/main" id="{A6640BC3-7044-B81C-328D-F4BBF2415911}"/>
              </a:ext>
            </a:extLst>
          </p:cNvPr>
          <p:cNvSpPr>
            <a:spLocks noGrp="1"/>
          </p:cNvSpPr>
          <p:nvPr>
            <p:ph type="dt" sz="half" idx="30"/>
          </p:nvPr>
        </p:nvSpPr>
        <p:spPr/>
        <p:txBody>
          <a:bodyPr/>
          <a:lstStyle/>
          <a:p>
            <a:fld id="{F777407A-A1DE-4147-83CD-C8DBFD084C32}" type="datetime1">
              <a:rPr lang="da-DK" noProof="0" smtClean="0"/>
              <a:t>16-03-2026</a:t>
            </a:fld>
            <a:endParaRPr lang="da-DK" noProof="0"/>
          </a:p>
        </p:txBody>
      </p:sp>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endParaRPr lang="da-DK" noProof="0"/>
          </a:p>
        </p:txBody>
      </p:sp>
      <p:sp>
        <p:nvSpPr>
          <p:cNvPr id="9" name="Slide Number Placeholder 8">
            <a:extLst>
              <a:ext uri="{FF2B5EF4-FFF2-40B4-BE49-F238E27FC236}">
                <a16:creationId xmlns:a16="http://schemas.microsoft.com/office/drawing/2014/main" id="{E40FD786-FCA0-3285-71FC-DCA2042D4260}"/>
              </a:ext>
            </a:extLst>
          </p:cNvPr>
          <p:cNvSpPr>
            <a:spLocks noGrp="1"/>
          </p:cNvSpPr>
          <p:nvPr>
            <p:ph type="sldNum" sz="quarter" idx="32"/>
          </p:nvPr>
        </p:nvSpPr>
        <p:spPr/>
        <p:txBody>
          <a:bodyPr/>
          <a:lstStyle/>
          <a:p>
            <a:fld id="{FA9C6259-F55B-47A6-AB0B-9E9F0835A2F0}" type="slidenum">
              <a:rPr lang="da-DK" noProof="0" smtClean="0"/>
              <a:pPr/>
              <a:t>‹nr.›</a:t>
            </a:fld>
            <a:endParaRPr lang="da-DK" noProof="0"/>
          </a:p>
        </p:txBody>
      </p:sp>
      <p:sp>
        <p:nvSpPr>
          <p:cNvPr id="7" name="Pladsholder til tekst 5">
            <a:extLst>
              <a:ext uri="{FF2B5EF4-FFF2-40B4-BE49-F238E27FC236}">
                <a16:creationId xmlns:a16="http://schemas.microsoft.com/office/drawing/2014/main" id="{6B15978D-A4A6-B675-D35B-D8BF0D7DD6BC}"/>
              </a:ext>
            </a:extLst>
          </p:cNvPr>
          <p:cNvSpPr>
            <a:spLocks noGrp="1"/>
          </p:cNvSpPr>
          <p:nvPr>
            <p:ph type="body" sz="quarter" idx="33" hasCustomPrompt="1"/>
          </p:nvPr>
        </p:nvSpPr>
        <p:spPr>
          <a:xfrm>
            <a:off x="1013036" y="2767869"/>
            <a:ext cx="3498850" cy="738188"/>
          </a:xfrm>
        </p:spPr>
        <p:txBody>
          <a:bodyPr/>
          <a:lstStyle>
            <a:lvl1pPr marL="0" indent="0" algn="r">
              <a:buNone/>
              <a:defRPr sz="4800">
                <a:latin typeface="Work Sans Light" pitchFamily="2" charset="0"/>
              </a:defRPr>
            </a:lvl1pPr>
          </a:lstStyle>
          <a:p>
            <a:pPr lvl="0"/>
            <a:r>
              <a:rPr lang="en-US"/>
              <a:t>Agenda</a:t>
            </a:r>
            <a:endParaRPr lang="da-DK"/>
          </a:p>
        </p:txBody>
      </p:sp>
    </p:spTree>
    <p:extLst>
      <p:ext uri="{BB962C8B-B14F-4D97-AF65-F5344CB8AC3E}">
        <p14:creationId xmlns:p14="http://schemas.microsoft.com/office/powerpoint/2010/main" val="164870863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ellemside lille foto 2">
    <p:bg>
      <p:bgRef idx="1001">
        <a:schemeClr val="bg2"/>
      </p:bgRef>
    </p:bg>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6588174" y="-5806944"/>
            <a:ext cx="10856595" cy="10856595"/>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6096000" y="1900771"/>
            <a:ext cx="5662613" cy="997196"/>
          </a:xfrm>
          <a:prstGeom prst="rect">
            <a:avLst/>
          </a:prstGeom>
        </p:spPr>
        <p:txBody>
          <a:bodyPr wrap="square" anchor="b">
            <a:spAutoFit/>
          </a:bodyPr>
          <a:lstStyle>
            <a:lvl1pPr algn="l">
              <a:defRPr sz="3600"/>
            </a:lvl1pPr>
          </a:lstStyle>
          <a:p>
            <a:r>
              <a:rPr lang="da-DK" noProof="0"/>
              <a:t>Klik for at redigere titeltypografien i masteren</a:t>
            </a:r>
          </a:p>
        </p:txBody>
      </p:sp>
      <p:sp>
        <p:nvSpPr>
          <p:cNvPr id="3" name="Subtitle 2">
            <a:extLst>
              <a:ext uri="{FF2B5EF4-FFF2-40B4-BE49-F238E27FC236}">
                <a16:creationId xmlns:a16="http://schemas.microsoft.com/office/drawing/2014/main" id="{2BDC76B8-60F6-62D3-9F73-E81662203017}"/>
              </a:ext>
            </a:extLst>
          </p:cNvPr>
          <p:cNvSpPr>
            <a:spLocks noGrp="1"/>
          </p:cNvSpPr>
          <p:nvPr userDrawn="1">
            <p:ph type="subTitle" idx="1"/>
          </p:nvPr>
        </p:nvSpPr>
        <p:spPr>
          <a:xfrm>
            <a:off x="6103144" y="3084095"/>
            <a:ext cx="5655470" cy="2549872"/>
          </a:xfrm>
        </p:spPr>
        <p:txBody>
          <a:bodyPr anchor="t">
            <a:noAutofit/>
          </a:bodyPr>
          <a:lstStyle>
            <a:lvl1pPr marL="285750" indent="-285750" algn="l">
              <a:lnSpc>
                <a:spcPct val="120000"/>
              </a:lnSpc>
              <a:spcBef>
                <a:spcPts val="0"/>
              </a:spcBef>
              <a:buFont typeface="Arial" panose="020B0604020202020204" pitchFamily="34" charset="0"/>
              <a:buChar char="•"/>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1343025" y="864000"/>
            <a:ext cx="3739073" cy="3739073"/>
          </a:xfrm>
          <a:prstGeom prst="ellipse">
            <a:avLst/>
          </a:prstGeom>
          <a:blipFill>
            <a:blip r:embed="rId2" cstate="screen">
              <a:extLst>
                <a:ext uri="{28A0092B-C50C-407E-A947-70E740481C1C}">
                  <a14:useLocalDpi xmlns:a14="http://schemas.microsoft.com/office/drawing/2010/main"/>
                </a:ext>
              </a:extLst>
            </a:blip>
            <a:srcRect/>
            <a:stretch>
              <a:fillRect/>
            </a:stretch>
          </a:blipFill>
        </p:spPr>
        <p:txBody>
          <a:bodyPr/>
          <a:lstStyle/>
          <a:p>
            <a:r>
              <a:rPr lang="da-DK" noProof="0"/>
              <a:t>Klik på ikonet for at tilføje et billede</a:t>
            </a:r>
          </a:p>
        </p:txBody>
      </p:sp>
      <p:sp>
        <p:nvSpPr>
          <p:cNvPr id="8" name="Pladsholder til tekst 7">
            <a:extLst>
              <a:ext uri="{FF2B5EF4-FFF2-40B4-BE49-F238E27FC236}">
                <a16:creationId xmlns:a16="http://schemas.microsoft.com/office/drawing/2014/main" id="{0912F1B6-40D3-0A36-D413-1ECBF33CBD40}"/>
              </a:ext>
            </a:extLst>
          </p:cNvPr>
          <p:cNvSpPr>
            <a:spLocks noGrp="1"/>
          </p:cNvSpPr>
          <p:nvPr>
            <p:ph type="body" sz="quarter" idx="14" hasCustomPrompt="1"/>
          </p:nvPr>
        </p:nvSpPr>
        <p:spPr>
          <a:xfrm>
            <a:off x="6096000" y="1464608"/>
            <a:ext cx="5662612" cy="238527"/>
          </a:xfrm>
        </p:spPr>
        <p:txBody>
          <a:bodyPr wrap="square" anchor="b">
            <a:spAutoFit/>
          </a:bodyPr>
          <a:lstStyle>
            <a:lvl1pPr marL="0" indent="0">
              <a:buNone/>
              <a:defRPr>
                <a:solidFill>
                  <a:schemeClr val="accent2"/>
                </a:solidFill>
                <a:latin typeface="Work Sans SemiBold" pitchFamily="2" charset="0"/>
              </a:defRPr>
            </a:lvl1pPr>
            <a:lvl2pPr marL="222250" indent="0">
              <a:buNone/>
              <a:defRPr>
                <a:latin typeface="Work Sans SemiBold" pitchFamily="2" charset="0"/>
              </a:defRPr>
            </a:lvl2pPr>
            <a:lvl3pPr marL="542925" indent="0">
              <a:buNone/>
              <a:defRPr>
                <a:latin typeface="Work Sans SemiBold" pitchFamily="2" charset="0"/>
              </a:defRPr>
            </a:lvl3pPr>
            <a:lvl4pPr marL="895350" indent="0">
              <a:buNone/>
              <a:defRPr>
                <a:latin typeface="Work Sans SemiBold" pitchFamily="2" charset="0"/>
              </a:defRPr>
            </a:lvl4pPr>
            <a:lvl5pPr marL="1166813" indent="0">
              <a:buNone/>
              <a:defRPr>
                <a:latin typeface="Work Sans SemiBold" pitchFamily="2" charset="0"/>
              </a:defRPr>
            </a:lvl5pPr>
          </a:lstStyle>
          <a:p>
            <a:pPr lvl="0"/>
            <a:r>
              <a:rPr lang="da-DK" noProof="0" err="1"/>
              <a:t>Click</a:t>
            </a:r>
            <a:r>
              <a:rPr lang="da-DK" noProof="0"/>
              <a:t> to </a:t>
            </a:r>
            <a:r>
              <a:rPr lang="da-DK" noProof="0" err="1"/>
              <a:t>edit</a:t>
            </a:r>
            <a:r>
              <a:rPr lang="da-DK" noProof="0"/>
              <a:t> Event information</a:t>
            </a:r>
          </a:p>
        </p:txBody>
      </p:sp>
      <p:sp>
        <p:nvSpPr>
          <p:cNvPr id="10" name="Pladsholder til tekst 9">
            <a:extLst>
              <a:ext uri="{FF2B5EF4-FFF2-40B4-BE49-F238E27FC236}">
                <a16:creationId xmlns:a16="http://schemas.microsoft.com/office/drawing/2014/main" id="{8EAB7028-35CF-586A-9D7B-4652BD5AD207}"/>
              </a:ext>
            </a:extLst>
          </p:cNvPr>
          <p:cNvSpPr>
            <a:spLocks noGrp="1"/>
          </p:cNvSpPr>
          <p:nvPr>
            <p:ph type="body" sz="quarter" idx="15" hasCustomPrompt="1"/>
          </p:nvPr>
        </p:nvSpPr>
        <p:spPr>
          <a:xfrm>
            <a:off x="1307024" y="4772373"/>
            <a:ext cx="3775075" cy="665451"/>
          </a:xfrm>
        </p:spPr>
        <p:txBody>
          <a:bodyPr/>
          <a:lstStyle>
            <a:lvl1pPr marL="0" indent="0" algn="ctr">
              <a:lnSpc>
                <a:spcPct val="100000"/>
              </a:lnSpc>
              <a:buNone/>
              <a:defRPr/>
            </a:lvl1pPr>
            <a:lvl2pPr marL="222250" indent="0" algn="ctr">
              <a:buNone/>
              <a:defRPr/>
            </a:lvl2pPr>
            <a:lvl3pPr marL="542925" indent="0" algn="ctr">
              <a:buNone/>
              <a:defRPr/>
            </a:lvl3pPr>
            <a:lvl4pPr marL="895350" indent="0" algn="ctr">
              <a:buNone/>
              <a:defRPr/>
            </a:lvl4pPr>
            <a:lvl5pPr marL="1166813" indent="0" algn="ctr">
              <a:buNone/>
              <a:defRPr/>
            </a:lvl5pPr>
          </a:lstStyle>
          <a:p>
            <a:pPr lvl="0"/>
            <a:r>
              <a:rPr lang="da-DK" noProof="0"/>
              <a:t>Klik for at redigere teksttypografierne i masteren</a:t>
            </a:r>
          </a:p>
        </p:txBody>
      </p:sp>
      <p:sp>
        <p:nvSpPr>
          <p:cNvPr id="9" name="Date Placeholder 8">
            <a:extLst>
              <a:ext uri="{FF2B5EF4-FFF2-40B4-BE49-F238E27FC236}">
                <a16:creationId xmlns:a16="http://schemas.microsoft.com/office/drawing/2014/main" id="{0B39925B-3F68-00E8-CCD5-A2B5C1A8D3D1}"/>
              </a:ext>
            </a:extLst>
          </p:cNvPr>
          <p:cNvSpPr>
            <a:spLocks noGrp="1"/>
          </p:cNvSpPr>
          <p:nvPr>
            <p:ph type="dt" sz="half" idx="16"/>
          </p:nvPr>
        </p:nvSpPr>
        <p:spPr/>
        <p:txBody>
          <a:bodyPr/>
          <a:lstStyle/>
          <a:p>
            <a:fld id="{77E6DB12-81B6-4411-BA8E-E1D2BE459DA4}" type="datetime1">
              <a:rPr lang="da-DK" noProof="0" smtClean="0"/>
              <a:t>16-03-2026</a:t>
            </a:fld>
            <a:endParaRPr lang="da-DK" noProof="0"/>
          </a:p>
        </p:txBody>
      </p:sp>
      <p:sp>
        <p:nvSpPr>
          <p:cNvPr id="12" name="Footer Placeholder 11">
            <a:extLst>
              <a:ext uri="{FF2B5EF4-FFF2-40B4-BE49-F238E27FC236}">
                <a16:creationId xmlns:a16="http://schemas.microsoft.com/office/drawing/2014/main" id="{6AAA001F-86A6-9EAE-DE70-6B4F55F32BE5}"/>
              </a:ext>
            </a:extLst>
          </p:cNvPr>
          <p:cNvSpPr>
            <a:spLocks noGrp="1"/>
          </p:cNvSpPr>
          <p:nvPr>
            <p:ph type="ftr" sz="quarter" idx="17"/>
          </p:nvPr>
        </p:nvSpPr>
        <p:spPr/>
        <p:txBody>
          <a:bodyPr/>
          <a:lstStyle/>
          <a:p>
            <a:endParaRPr lang="da-DK" noProof="0"/>
          </a:p>
        </p:txBody>
      </p:sp>
      <p:sp>
        <p:nvSpPr>
          <p:cNvPr id="13" name="Slide Number Placeholder 12">
            <a:extLst>
              <a:ext uri="{FF2B5EF4-FFF2-40B4-BE49-F238E27FC236}">
                <a16:creationId xmlns:a16="http://schemas.microsoft.com/office/drawing/2014/main" id="{1F0EB0D8-0E00-97BF-E1E9-C7A1A2B3BC1F}"/>
              </a:ext>
            </a:extLst>
          </p:cNvPr>
          <p:cNvSpPr>
            <a:spLocks noGrp="1"/>
          </p:cNvSpPr>
          <p:nvPr>
            <p:ph type="sldNum" sz="quarter" idx="18"/>
          </p:nvPr>
        </p:nvSpPr>
        <p:spPr/>
        <p:txBody>
          <a:bodyPr/>
          <a:lstStyle/>
          <a:p>
            <a:fld id="{FA9C6259-F55B-47A6-AB0B-9E9F0835A2F0}" type="slidenum">
              <a:rPr lang="da-DK" noProof="0" smtClean="0"/>
              <a:pPr/>
              <a:t>‹nr.›</a:t>
            </a:fld>
            <a:endParaRPr lang="da-DK" noProof="0"/>
          </a:p>
        </p:txBody>
      </p:sp>
      <p:pic>
        <p:nvPicPr>
          <p:cNvPr id="5" name="Graphic 4">
            <a:extLst>
              <a:ext uri="{FF2B5EF4-FFF2-40B4-BE49-F238E27FC236}">
                <a16:creationId xmlns:a16="http://schemas.microsoft.com/office/drawing/2014/main" id="{E98382B0-0A34-BE2E-B8B3-839C71E289A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91313940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Agenda 2">
    <p:bg>
      <p:bgPr>
        <a:solidFill>
          <a:schemeClr val="bg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6640BC3-7044-B81C-328D-F4BBF2415911}"/>
              </a:ext>
            </a:extLst>
          </p:cNvPr>
          <p:cNvSpPr>
            <a:spLocks noGrp="1"/>
          </p:cNvSpPr>
          <p:nvPr>
            <p:ph type="dt" sz="half" idx="30"/>
          </p:nvPr>
        </p:nvSpPr>
        <p:spPr>
          <a:xfrm>
            <a:off x="5152319" y="6430133"/>
            <a:ext cx="849959" cy="144000"/>
          </a:xfrm>
        </p:spPr>
        <p:txBody>
          <a:bodyPr/>
          <a:lstStyle/>
          <a:p>
            <a:fld id="{6E99AFA0-ED0A-4B8F-97E2-C214875512D2}" type="datetime1">
              <a:rPr lang="da-DK" noProof="0" smtClean="0"/>
              <a:t>16-03-2026</a:t>
            </a:fld>
            <a:endParaRPr lang="da-DK" noProof="0"/>
          </a:p>
        </p:txBody>
      </p:sp>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endParaRPr lang="da-DK" noProof="0"/>
          </a:p>
        </p:txBody>
      </p:sp>
      <p:sp>
        <p:nvSpPr>
          <p:cNvPr id="9" name="Slide Number Placeholder 8">
            <a:extLst>
              <a:ext uri="{FF2B5EF4-FFF2-40B4-BE49-F238E27FC236}">
                <a16:creationId xmlns:a16="http://schemas.microsoft.com/office/drawing/2014/main" id="{E40FD786-FCA0-3285-71FC-DCA2042D4260}"/>
              </a:ext>
            </a:extLst>
          </p:cNvPr>
          <p:cNvSpPr>
            <a:spLocks noGrp="1"/>
          </p:cNvSpPr>
          <p:nvPr>
            <p:ph type="sldNum" sz="quarter" idx="32"/>
          </p:nvPr>
        </p:nvSpPr>
        <p:spPr/>
        <p:txBody>
          <a:bodyPr/>
          <a:lstStyle/>
          <a:p>
            <a:fld id="{FA9C6259-F55B-47A6-AB0B-9E9F0835A2F0}" type="slidenum">
              <a:rPr lang="da-DK" noProof="0" smtClean="0"/>
              <a:pPr/>
              <a:t>‹nr.›</a:t>
            </a:fld>
            <a:endParaRPr lang="da-DK" noProof="0"/>
          </a:p>
        </p:txBody>
      </p:sp>
      <p:sp>
        <p:nvSpPr>
          <p:cNvPr id="23" name="Pladsholder til tekst 27">
            <a:extLst>
              <a:ext uri="{FF2B5EF4-FFF2-40B4-BE49-F238E27FC236}">
                <a16:creationId xmlns:a16="http://schemas.microsoft.com/office/drawing/2014/main" id="{E379CB5C-E2AC-9C53-BA56-A847A4C6F182}"/>
              </a:ext>
            </a:extLst>
          </p:cNvPr>
          <p:cNvSpPr>
            <a:spLocks noGrp="1"/>
          </p:cNvSpPr>
          <p:nvPr>
            <p:ph type="body" sz="quarter" idx="13" hasCustomPrompt="1"/>
          </p:nvPr>
        </p:nvSpPr>
        <p:spPr>
          <a:xfrm>
            <a:off x="3149255"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4" name="Pladsholder til indhold 38">
            <a:extLst>
              <a:ext uri="{FF2B5EF4-FFF2-40B4-BE49-F238E27FC236}">
                <a16:creationId xmlns:a16="http://schemas.microsoft.com/office/drawing/2014/main" id="{C34F1D52-4741-E939-8039-57EF891412EB}"/>
              </a:ext>
            </a:extLst>
          </p:cNvPr>
          <p:cNvSpPr>
            <a:spLocks noGrp="1"/>
          </p:cNvSpPr>
          <p:nvPr>
            <p:ph sz="quarter" idx="21" hasCustomPrompt="1"/>
          </p:nvPr>
        </p:nvSpPr>
        <p:spPr>
          <a:xfrm>
            <a:off x="2357253"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25" name="Pladsholder til tekst 27">
            <a:extLst>
              <a:ext uri="{FF2B5EF4-FFF2-40B4-BE49-F238E27FC236}">
                <a16:creationId xmlns:a16="http://schemas.microsoft.com/office/drawing/2014/main" id="{62943C01-8003-4E8C-CE1A-61097EACCD6B}"/>
              </a:ext>
            </a:extLst>
          </p:cNvPr>
          <p:cNvSpPr>
            <a:spLocks noGrp="1"/>
          </p:cNvSpPr>
          <p:nvPr>
            <p:ph type="body" sz="quarter" idx="22" hasCustomPrompt="1"/>
          </p:nvPr>
        </p:nvSpPr>
        <p:spPr>
          <a:xfrm>
            <a:off x="3149255"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6" name="Pladsholder til indhold 38">
            <a:extLst>
              <a:ext uri="{FF2B5EF4-FFF2-40B4-BE49-F238E27FC236}">
                <a16:creationId xmlns:a16="http://schemas.microsoft.com/office/drawing/2014/main" id="{11132FD0-77E2-028D-CA37-F7409765A477}"/>
              </a:ext>
            </a:extLst>
          </p:cNvPr>
          <p:cNvSpPr>
            <a:spLocks noGrp="1"/>
          </p:cNvSpPr>
          <p:nvPr>
            <p:ph sz="quarter" idx="23" hasCustomPrompt="1"/>
          </p:nvPr>
        </p:nvSpPr>
        <p:spPr>
          <a:xfrm>
            <a:off x="2357253"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27" name="Pladsholder til tekst 27">
            <a:extLst>
              <a:ext uri="{FF2B5EF4-FFF2-40B4-BE49-F238E27FC236}">
                <a16:creationId xmlns:a16="http://schemas.microsoft.com/office/drawing/2014/main" id="{500B8224-A01F-15E1-0985-2B24FBAF3D54}"/>
              </a:ext>
            </a:extLst>
          </p:cNvPr>
          <p:cNvSpPr>
            <a:spLocks noGrp="1"/>
          </p:cNvSpPr>
          <p:nvPr>
            <p:ph type="body" sz="quarter" idx="24" hasCustomPrompt="1"/>
          </p:nvPr>
        </p:nvSpPr>
        <p:spPr>
          <a:xfrm>
            <a:off x="3149255" y="1944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9" name="Pladsholder til indhold 38">
            <a:extLst>
              <a:ext uri="{FF2B5EF4-FFF2-40B4-BE49-F238E27FC236}">
                <a16:creationId xmlns:a16="http://schemas.microsoft.com/office/drawing/2014/main" id="{F3E6E751-5930-4B9F-F9AF-C1CBB7DEB57C}"/>
              </a:ext>
            </a:extLst>
          </p:cNvPr>
          <p:cNvSpPr>
            <a:spLocks noGrp="1"/>
          </p:cNvSpPr>
          <p:nvPr>
            <p:ph sz="quarter" idx="25" hasCustomPrompt="1"/>
          </p:nvPr>
        </p:nvSpPr>
        <p:spPr>
          <a:xfrm>
            <a:off x="2357253"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30" name="Pladsholder til tekst 27">
            <a:extLst>
              <a:ext uri="{FF2B5EF4-FFF2-40B4-BE49-F238E27FC236}">
                <a16:creationId xmlns:a16="http://schemas.microsoft.com/office/drawing/2014/main" id="{CE2B3114-29AD-9D6C-AD18-A016D8452E1D}"/>
              </a:ext>
            </a:extLst>
          </p:cNvPr>
          <p:cNvSpPr>
            <a:spLocks noGrp="1"/>
          </p:cNvSpPr>
          <p:nvPr>
            <p:ph type="body" sz="quarter" idx="26" hasCustomPrompt="1"/>
          </p:nvPr>
        </p:nvSpPr>
        <p:spPr>
          <a:xfrm>
            <a:off x="3149255"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1" name="Pladsholder til indhold 38">
            <a:extLst>
              <a:ext uri="{FF2B5EF4-FFF2-40B4-BE49-F238E27FC236}">
                <a16:creationId xmlns:a16="http://schemas.microsoft.com/office/drawing/2014/main" id="{A851D3DC-5E8A-29FC-0FC8-0CE7FCBABE2E}"/>
              </a:ext>
            </a:extLst>
          </p:cNvPr>
          <p:cNvSpPr>
            <a:spLocks noGrp="1"/>
          </p:cNvSpPr>
          <p:nvPr>
            <p:ph sz="quarter" idx="27" hasCustomPrompt="1"/>
          </p:nvPr>
        </p:nvSpPr>
        <p:spPr>
          <a:xfrm>
            <a:off x="2357253"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4</a:t>
            </a:r>
          </a:p>
        </p:txBody>
      </p:sp>
      <p:sp>
        <p:nvSpPr>
          <p:cNvPr id="32" name="Pladsholder til tekst 27">
            <a:extLst>
              <a:ext uri="{FF2B5EF4-FFF2-40B4-BE49-F238E27FC236}">
                <a16:creationId xmlns:a16="http://schemas.microsoft.com/office/drawing/2014/main" id="{DD844EAE-3700-6A21-F9D2-A93926D2E90F}"/>
              </a:ext>
            </a:extLst>
          </p:cNvPr>
          <p:cNvSpPr>
            <a:spLocks noGrp="1"/>
          </p:cNvSpPr>
          <p:nvPr>
            <p:ph type="body" sz="quarter" idx="28" hasCustomPrompt="1"/>
          </p:nvPr>
        </p:nvSpPr>
        <p:spPr>
          <a:xfrm>
            <a:off x="3149255"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3" name="Pladsholder til indhold 38">
            <a:extLst>
              <a:ext uri="{FF2B5EF4-FFF2-40B4-BE49-F238E27FC236}">
                <a16:creationId xmlns:a16="http://schemas.microsoft.com/office/drawing/2014/main" id="{4F5BB7CA-C703-71A2-14BB-D6978110908B}"/>
              </a:ext>
            </a:extLst>
          </p:cNvPr>
          <p:cNvSpPr>
            <a:spLocks noGrp="1"/>
          </p:cNvSpPr>
          <p:nvPr>
            <p:ph sz="quarter" idx="29" hasCustomPrompt="1"/>
          </p:nvPr>
        </p:nvSpPr>
        <p:spPr>
          <a:xfrm>
            <a:off x="2357253"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5</a:t>
            </a:r>
          </a:p>
        </p:txBody>
      </p:sp>
      <p:sp>
        <p:nvSpPr>
          <p:cNvPr id="34" name="Pladsholder til tekst 27">
            <a:extLst>
              <a:ext uri="{FF2B5EF4-FFF2-40B4-BE49-F238E27FC236}">
                <a16:creationId xmlns:a16="http://schemas.microsoft.com/office/drawing/2014/main" id="{B30DFB6D-079C-8B47-D8A2-672666BB4328}"/>
              </a:ext>
            </a:extLst>
          </p:cNvPr>
          <p:cNvSpPr>
            <a:spLocks noGrp="1"/>
          </p:cNvSpPr>
          <p:nvPr>
            <p:ph type="body" sz="quarter" idx="33" hasCustomPrompt="1"/>
          </p:nvPr>
        </p:nvSpPr>
        <p:spPr>
          <a:xfrm>
            <a:off x="7830977"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5" name="Pladsholder til indhold 38">
            <a:extLst>
              <a:ext uri="{FF2B5EF4-FFF2-40B4-BE49-F238E27FC236}">
                <a16:creationId xmlns:a16="http://schemas.microsoft.com/office/drawing/2014/main" id="{E4007F68-EB55-4361-1B64-2AD90CA4258D}"/>
              </a:ext>
            </a:extLst>
          </p:cNvPr>
          <p:cNvSpPr>
            <a:spLocks noGrp="1"/>
          </p:cNvSpPr>
          <p:nvPr>
            <p:ph sz="quarter" idx="34" hasCustomPrompt="1"/>
          </p:nvPr>
        </p:nvSpPr>
        <p:spPr>
          <a:xfrm>
            <a:off x="7038975"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8</a:t>
            </a:r>
          </a:p>
        </p:txBody>
      </p:sp>
      <p:sp>
        <p:nvSpPr>
          <p:cNvPr id="36" name="Pladsholder til tekst 27">
            <a:extLst>
              <a:ext uri="{FF2B5EF4-FFF2-40B4-BE49-F238E27FC236}">
                <a16:creationId xmlns:a16="http://schemas.microsoft.com/office/drawing/2014/main" id="{536C8716-06B3-785C-9A91-4ACE0A60D66F}"/>
              </a:ext>
            </a:extLst>
          </p:cNvPr>
          <p:cNvSpPr>
            <a:spLocks noGrp="1"/>
          </p:cNvSpPr>
          <p:nvPr>
            <p:ph type="body" sz="quarter" idx="35" hasCustomPrompt="1"/>
          </p:nvPr>
        </p:nvSpPr>
        <p:spPr>
          <a:xfrm>
            <a:off x="7830977"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7" name="Pladsholder til indhold 38">
            <a:extLst>
              <a:ext uri="{FF2B5EF4-FFF2-40B4-BE49-F238E27FC236}">
                <a16:creationId xmlns:a16="http://schemas.microsoft.com/office/drawing/2014/main" id="{92426736-5966-D2C5-5E13-648B728A0C6E}"/>
              </a:ext>
            </a:extLst>
          </p:cNvPr>
          <p:cNvSpPr>
            <a:spLocks noGrp="1"/>
          </p:cNvSpPr>
          <p:nvPr>
            <p:ph sz="quarter" idx="36" hasCustomPrompt="1"/>
          </p:nvPr>
        </p:nvSpPr>
        <p:spPr>
          <a:xfrm>
            <a:off x="7038975"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7</a:t>
            </a:r>
          </a:p>
        </p:txBody>
      </p:sp>
      <p:sp>
        <p:nvSpPr>
          <p:cNvPr id="38" name="Pladsholder til tekst 27">
            <a:extLst>
              <a:ext uri="{FF2B5EF4-FFF2-40B4-BE49-F238E27FC236}">
                <a16:creationId xmlns:a16="http://schemas.microsoft.com/office/drawing/2014/main" id="{CEC9C6C5-5E5F-69C1-512D-F1C09C9739BD}"/>
              </a:ext>
            </a:extLst>
          </p:cNvPr>
          <p:cNvSpPr>
            <a:spLocks noGrp="1"/>
          </p:cNvSpPr>
          <p:nvPr>
            <p:ph type="body" sz="quarter" idx="37" hasCustomPrompt="1"/>
          </p:nvPr>
        </p:nvSpPr>
        <p:spPr>
          <a:xfrm>
            <a:off x="7830977" y="1944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0" name="Pladsholder til indhold 38">
            <a:extLst>
              <a:ext uri="{FF2B5EF4-FFF2-40B4-BE49-F238E27FC236}">
                <a16:creationId xmlns:a16="http://schemas.microsoft.com/office/drawing/2014/main" id="{D40291E1-1A01-93BF-7F57-220EE961DBBA}"/>
              </a:ext>
            </a:extLst>
          </p:cNvPr>
          <p:cNvSpPr>
            <a:spLocks noGrp="1"/>
          </p:cNvSpPr>
          <p:nvPr>
            <p:ph sz="quarter" idx="38" hasCustomPrompt="1"/>
          </p:nvPr>
        </p:nvSpPr>
        <p:spPr>
          <a:xfrm>
            <a:off x="7038975"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6</a:t>
            </a:r>
          </a:p>
        </p:txBody>
      </p:sp>
      <p:sp>
        <p:nvSpPr>
          <p:cNvPr id="41" name="Pladsholder til tekst 27">
            <a:extLst>
              <a:ext uri="{FF2B5EF4-FFF2-40B4-BE49-F238E27FC236}">
                <a16:creationId xmlns:a16="http://schemas.microsoft.com/office/drawing/2014/main" id="{D1C277A7-919F-CA28-B00F-4D2C7CD58933}"/>
              </a:ext>
            </a:extLst>
          </p:cNvPr>
          <p:cNvSpPr>
            <a:spLocks noGrp="1"/>
          </p:cNvSpPr>
          <p:nvPr>
            <p:ph type="body" sz="quarter" idx="39" hasCustomPrompt="1"/>
          </p:nvPr>
        </p:nvSpPr>
        <p:spPr>
          <a:xfrm>
            <a:off x="7830977"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2" name="Pladsholder til indhold 38">
            <a:extLst>
              <a:ext uri="{FF2B5EF4-FFF2-40B4-BE49-F238E27FC236}">
                <a16:creationId xmlns:a16="http://schemas.microsoft.com/office/drawing/2014/main" id="{FFAF27CD-066B-D81F-5FBE-6A9FAE459893}"/>
              </a:ext>
            </a:extLst>
          </p:cNvPr>
          <p:cNvSpPr>
            <a:spLocks noGrp="1"/>
          </p:cNvSpPr>
          <p:nvPr>
            <p:ph sz="quarter" idx="40" hasCustomPrompt="1"/>
          </p:nvPr>
        </p:nvSpPr>
        <p:spPr>
          <a:xfrm>
            <a:off x="7038975"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9</a:t>
            </a:r>
          </a:p>
        </p:txBody>
      </p:sp>
      <p:sp>
        <p:nvSpPr>
          <p:cNvPr id="43" name="Pladsholder til tekst 27">
            <a:extLst>
              <a:ext uri="{FF2B5EF4-FFF2-40B4-BE49-F238E27FC236}">
                <a16:creationId xmlns:a16="http://schemas.microsoft.com/office/drawing/2014/main" id="{4BDC77FD-B70E-7972-99F3-0233B6DADF59}"/>
              </a:ext>
            </a:extLst>
          </p:cNvPr>
          <p:cNvSpPr>
            <a:spLocks noGrp="1"/>
          </p:cNvSpPr>
          <p:nvPr>
            <p:ph type="body" sz="quarter" idx="41" hasCustomPrompt="1"/>
          </p:nvPr>
        </p:nvSpPr>
        <p:spPr>
          <a:xfrm>
            <a:off x="7830977"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4" name="Pladsholder til indhold 38">
            <a:extLst>
              <a:ext uri="{FF2B5EF4-FFF2-40B4-BE49-F238E27FC236}">
                <a16:creationId xmlns:a16="http://schemas.microsoft.com/office/drawing/2014/main" id="{9190FB13-7976-8BE1-BB0C-5B608569B43D}"/>
              </a:ext>
            </a:extLst>
          </p:cNvPr>
          <p:cNvSpPr>
            <a:spLocks noGrp="1"/>
          </p:cNvSpPr>
          <p:nvPr>
            <p:ph sz="quarter" idx="42" hasCustomPrompt="1"/>
          </p:nvPr>
        </p:nvSpPr>
        <p:spPr>
          <a:xfrm>
            <a:off x="7038975"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0</a:t>
            </a:r>
          </a:p>
        </p:txBody>
      </p:sp>
      <p:sp>
        <p:nvSpPr>
          <p:cNvPr id="5" name="Pladsholder til tekst 5">
            <a:extLst>
              <a:ext uri="{FF2B5EF4-FFF2-40B4-BE49-F238E27FC236}">
                <a16:creationId xmlns:a16="http://schemas.microsoft.com/office/drawing/2014/main" id="{282853E6-D304-1ED1-5958-FF346BD3CF5C}"/>
              </a:ext>
            </a:extLst>
          </p:cNvPr>
          <p:cNvSpPr>
            <a:spLocks noGrp="1"/>
          </p:cNvSpPr>
          <p:nvPr>
            <p:ph type="body" sz="quarter" idx="43" hasCustomPrompt="1"/>
          </p:nvPr>
        </p:nvSpPr>
        <p:spPr>
          <a:xfrm>
            <a:off x="1343025" y="916738"/>
            <a:ext cx="5551142" cy="738188"/>
          </a:xfrm>
        </p:spPr>
        <p:txBody>
          <a:bodyPr/>
          <a:lstStyle>
            <a:lvl1pPr marL="0" indent="0" algn="l">
              <a:buNone/>
              <a:defRPr sz="4800">
                <a:latin typeface="Work Sans Light" pitchFamily="2" charset="0"/>
              </a:defRPr>
            </a:lvl1pPr>
          </a:lstStyle>
          <a:p>
            <a:pPr lvl="0"/>
            <a:r>
              <a:rPr lang="en-US"/>
              <a:t>Agenda</a:t>
            </a:r>
            <a:endParaRPr lang="da-DK"/>
          </a:p>
        </p:txBody>
      </p:sp>
    </p:spTree>
    <p:extLst>
      <p:ext uri="{BB962C8B-B14F-4D97-AF65-F5344CB8AC3E}">
        <p14:creationId xmlns:p14="http://schemas.microsoft.com/office/powerpoint/2010/main" val="53951976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re pointer/tekstelementer">
    <p:bg>
      <p:bgPr>
        <a:solidFill>
          <a:schemeClr val="bg1"/>
        </a:solidFill>
        <a:effectLst/>
      </p:bgPr>
    </p:bg>
    <p:spTree>
      <p:nvGrpSpPr>
        <p:cNvPr id="1" name=""/>
        <p:cNvGrpSpPr/>
        <p:nvPr/>
      </p:nvGrpSpPr>
      <p:grpSpPr>
        <a:xfrm>
          <a:off x="0" y="0"/>
          <a:ext cx="0" cy="0"/>
          <a:chOff x="0" y="0"/>
          <a:chExt cx="0" cy="0"/>
        </a:xfrm>
      </p:grpSpPr>
      <p:sp>
        <p:nvSpPr>
          <p:cNvPr id="8" name="Pladsholder til billede 14">
            <a:extLst>
              <a:ext uri="{FF2B5EF4-FFF2-40B4-BE49-F238E27FC236}">
                <a16:creationId xmlns:a16="http://schemas.microsoft.com/office/drawing/2014/main" id="{553E5F1F-8BAB-6D02-6AE4-D74E4E360DEF}"/>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r>
              <a:rPr lang="da-DK" noProof="0"/>
              <a:t>Klik på ikonet for at tilføje et billede</a:t>
            </a:r>
          </a:p>
        </p:txBody>
      </p:sp>
      <p:sp>
        <p:nvSpPr>
          <p:cNvPr id="3" name="Pladsholder til tekst 2">
            <a:extLst>
              <a:ext uri="{FF2B5EF4-FFF2-40B4-BE49-F238E27FC236}">
                <a16:creationId xmlns:a16="http://schemas.microsoft.com/office/drawing/2014/main" id="{52A32D22-6497-111B-5ED8-EC302ED9F6D3}"/>
              </a:ext>
            </a:extLst>
          </p:cNvPr>
          <p:cNvSpPr>
            <a:spLocks noGrp="1"/>
          </p:cNvSpPr>
          <p:nvPr>
            <p:ph type="body" sz="quarter" idx="26" hasCustomPrompt="1"/>
          </p:nvPr>
        </p:nvSpPr>
        <p:spPr>
          <a:xfrm rot="5400000">
            <a:off x="1343025"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3141450"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24" name="Subtitle 2">
            <a:extLst>
              <a:ext uri="{FF2B5EF4-FFF2-40B4-BE49-F238E27FC236}">
                <a16:creationId xmlns:a16="http://schemas.microsoft.com/office/drawing/2014/main" id="{4DD335D4-2565-8E09-739E-B31DF249384D}"/>
              </a:ext>
            </a:extLst>
          </p:cNvPr>
          <p:cNvSpPr>
            <a:spLocks noGrp="1"/>
          </p:cNvSpPr>
          <p:nvPr>
            <p:ph type="subTitle" idx="1"/>
          </p:nvPr>
        </p:nvSpPr>
        <p:spPr>
          <a:xfrm>
            <a:off x="431798" y="1408884"/>
            <a:ext cx="5664201" cy="576000"/>
          </a:xfrm>
        </p:spPr>
        <p:txBody>
          <a:bodyPr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27" name="Pladsholder til tekst 2">
            <a:extLst>
              <a:ext uri="{FF2B5EF4-FFF2-40B4-BE49-F238E27FC236}">
                <a16:creationId xmlns:a16="http://schemas.microsoft.com/office/drawing/2014/main" id="{18755EF9-BADD-ACFC-6605-C6CCBE3E6C61}"/>
              </a:ext>
            </a:extLst>
          </p:cNvPr>
          <p:cNvSpPr>
            <a:spLocks noGrp="1"/>
          </p:cNvSpPr>
          <p:nvPr>
            <p:ph type="body" sz="quarter" idx="27" hasCustomPrompt="1"/>
          </p:nvPr>
        </p:nvSpPr>
        <p:spPr>
          <a:xfrm rot="5400000">
            <a:off x="4160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29" name="Pladsholder til indhold 38">
            <a:extLst>
              <a:ext uri="{FF2B5EF4-FFF2-40B4-BE49-F238E27FC236}">
                <a16:creationId xmlns:a16="http://schemas.microsoft.com/office/drawing/2014/main" id="{5D7F7C72-5D18-4621-7488-B9721DD26E23}"/>
              </a:ext>
            </a:extLst>
          </p:cNvPr>
          <p:cNvSpPr>
            <a:spLocks noGrp="1"/>
          </p:cNvSpPr>
          <p:nvPr>
            <p:ph sz="quarter" idx="28" hasCustomPrompt="1"/>
          </p:nvPr>
        </p:nvSpPr>
        <p:spPr>
          <a:xfrm>
            <a:off x="5958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31" name="Pladsholder til tekst 2">
            <a:extLst>
              <a:ext uri="{FF2B5EF4-FFF2-40B4-BE49-F238E27FC236}">
                <a16:creationId xmlns:a16="http://schemas.microsoft.com/office/drawing/2014/main" id="{E4E173DA-3F2E-D803-1A5A-DC349D0D7DF9}"/>
              </a:ext>
            </a:extLst>
          </p:cNvPr>
          <p:cNvSpPr>
            <a:spLocks noGrp="1"/>
          </p:cNvSpPr>
          <p:nvPr>
            <p:ph type="body" sz="quarter" idx="29" hasCustomPrompt="1"/>
          </p:nvPr>
        </p:nvSpPr>
        <p:spPr>
          <a:xfrm rot="5400000">
            <a:off x="6968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32" name="Pladsholder til indhold 38">
            <a:extLst>
              <a:ext uri="{FF2B5EF4-FFF2-40B4-BE49-F238E27FC236}">
                <a16:creationId xmlns:a16="http://schemas.microsoft.com/office/drawing/2014/main" id="{AB4154FD-CEC6-4968-4D09-E9C02146256C}"/>
              </a:ext>
            </a:extLst>
          </p:cNvPr>
          <p:cNvSpPr>
            <a:spLocks noGrp="1"/>
          </p:cNvSpPr>
          <p:nvPr>
            <p:ph sz="quarter" idx="30" hasCustomPrompt="1"/>
          </p:nvPr>
        </p:nvSpPr>
        <p:spPr>
          <a:xfrm>
            <a:off x="8766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2" name="Date Placeholder 1">
            <a:extLst>
              <a:ext uri="{FF2B5EF4-FFF2-40B4-BE49-F238E27FC236}">
                <a16:creationId xmlns:a16="http://schemas.microsoft.com/office/drawing/2014/main" id="{835A718A-EAC0-6BE2-ABAA-FB6D84F69387}"/>
              </a:ext>
            </a:extLst>
          </p:cNvPr>
          <p:cNvSpPr>
            <a:spLocks noGrp="1"/>
          </p:cNvSpPr>
          <p:nvPr>
            <p:ph type="dt" sz="half" idx="31"/>
          </p:nvPr>
        </p:nvSpPr>
        <p:spPr/>
        <p:txBody>
          <a:bodyPr/>
          <a:lstStyle/>
          <a:p>
            <a:fld id="{6FE8BC2E-200E-4BA1-8A4C-03C6829F028C}" type="datetime1">
              <a:rPr lang="da-DK" noProof="0" smtClean="0"/>
              <a:t>16-03-2026</a:t>
            </a:fld>
            <a:endParaRPr lang="da-DK" noProof="0"/>
          </a:p>
        </p:txBody>
      </p:sp>
      <p:sp>
        <p:nvSpPr>
          <p:cNvPr id="4" name="Footer Placeholder 3">
            <a:extLst>
              <a:ext uri="{FF2B5EF4-FFF2-40B4-BE49-F238E27FC236}">
                <a16:creationId xmlns:a16="http://schemas.microsoft.com/office/drawing/2014/main" id="{8F57F3AF-C3CB-F3F3-2FD8-EB912B833780}"/>
              </a:ext>
            </a:extLst>
          </p:cNvPr>
          <p:cNvSpPr>
            <a:spLocks noGrp="1"/>
          </p:cNvSpPr>
          <p:nvPr>
            <p:ph type="ftr" sz="quarter" idx="32"/>
          </p:nvPr>
        </p:nvSpPr>
        <p:spPr/>
        <p:txBody>
          <a:bodyPr/>
          <a:lstStyle/>
          <a:p>
            <a:endParaRPr lang="da-DK" noProof="0"/>
          </a:p>
        </p:txBody>
      </p:sp>
      <p:sp>
        <p:nvSpPr>
          <p:cNvPr id="9" name="Slide Number Placeholder 8">
            <a:extLst>
              <a:ext uri="{FF2B5EF4-FFF2-40B4-BE49-F238E27FC236}">
                <a16:creationId xmlns:a16="http://schemas.microsoft.com/office/drawing/2014/main" id="{134B34F2-BA17-6C4F-D72C-E5A98B589F4E}"/>
              </a:ext>
            </a:extLst>
          </p:cNvPr>
          <p:cNvSpPr>
            <a:spLocks noGrp="1"/>
          </p:cNvSpPr>
          <p:nvPr>
            <p:ph type="sldNum" sz="quarter" idx="33"/>
          </p:nvPr>
        </p:nvSpPr>
        <p:spPr/>
        <p:txBody>
          <a:bodyPr/>
          <a:lstStyle/>
          <a:p>
            <a:fld id="{FA9C6259-F55B-47A6-AB0B-9E9F0835A2F0}" type="slidenum">
              <a:rPr lang="da-DK" noProof="0" smtClean="0"/>
              <a:pPr/>
              <a:t>‹nr.›</a:t>
            </a:fld>
            <a:endParaRPr lang="da-DK" noProof="0"/>
          </a:p>
        </p:txBody>
      </p:sp>
      <p:sp>
        <p:nvSpPr>
          <p:cNvPr id="5" name="Title 12">
            <a:extLst>
              <a:ext uri="{FF2B5EF4-FFF2-40B4-BE49-F238E27FC236}">
                <a16:creationId xmlns:a16="http://schemas.microsoft.com/office/drawing/2014/main" id="{0DE7C224-B962-8972-B0C8-6CF96CA88AF6}"/>
              </a:ext>
            </a:extLst>
          </p:cNvPr>
          <p:cNvSpPr>
            <a:spLocks noGrp="1"/>
          </p:cNvSpPr>
          <p:nvPr>
            <p:ph type="title" hasCustomPrompt="1"/>
          </p:nvPr>
        </p:nvSpPr>
        <p:spPr>
          <a:xfrm>
            <a:off x="431799" y="431800"/>
            <a:ext cx="7817593"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189162216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o indholdselementer">
    <p:bg>
      <p:bgPr>
        <a:solidFill>
          <a:schemeClr val="bg1"/>
        </a:solidFill>
        <a:effectLst/>
      </p:bgPr>
    </p:bg>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6180201" y="1656000"/>
            <a:ext cx="5580000" cy="4473336"/>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4" name="Date Placeholder 3">
            <a:extLst>
              <a:ext uri="{FF2B5EF4-FFF2-40B4-BE49-F238E27FC236}">
                <a16:creationId xmlns:a16="http://schemas.microsoft.com/office/drawing/2014/main" id="{4452554D-DF05-128A-4BCD-8E3DB1FE52D4}"/>
              </a:ext>
            </a:extLst>
          </p:cNvPr>
          <p:cNvSpPr>
            <a:spLocks noGrp="1"/>
          </p:cNvSpPr>
          <p:nvPr>
            <p:ph type="dt" sz="half" idx="15"/>
          </p:nvPr>
        </p:nvSpPr>
        <p:spPr/>
        <p:txBody>
          <a:bodyPr/>
          <a:lstStyle/>
          <a:p>
            <a:fld id="{678926A0-C875-4523-9F87-FF58D27B89BF}" type="datetime1">
              <a:rPr lang="da-DK" noProof="0" smtClean="0"/>
              <a:t>16-03-2026</a:t>
            </a:fld>
            <a:endParaRPr lang="da-DK" noProof="0"/>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endParaRPr lang="da-DK" noProof="0"/>
          </a:p>
        </p:txBody>
      </p:sp>
      <p:sp>
        <p:nvSpPr>
          <p:cNvPr id="10" name="Slide Number Placeholder 9">
            <a:extLst>
              <a:ext uri="{FF2B5EF4-FFF2-40B4-BE49-F238E27FC236}">
                <a16:creationId xmlns:a16="http://schemas.microsoft.com/office/drawing/2014/main" id="{74FB935E-4BBE-8AE7-4C78-351D6FEA298F}"/>
              </a:ext>
            </a:extLst>
          </p:cNvPr>
          <p:cNvSpPr>
            <a:spLocks noGrp="1"/>
          </p:cNvSpPr>
          <p:nvPr>
            <p:ph type="sldNum" sz="quarter" idx="17"/>
          </p:nvPr>
        </p:nvSpPr>
        <p:spPr/>
        <p:txBody>
          <a:bodyPr/>
          <a:lstStyle/>
          <a:p>
            <a:fld id="{FA9C6259-F55B-47A6-AB0B-9E9F0835A2F0}" type="slidenum">
              <a:rPr lang="da-DK" noProof="0" smtClean="0"/>
              <a:pPr/>
              <a:t>‹nr.›</a:t>
            </a:fld>
            <a:endParaRPr lang="da-DK" noProof="0"/>
          </a:p>
        </p:txBody>
      </p:sp>
      <p:sp>
        <p:nvSpPr>
          <p:cNvPr id="6" name="Content Placeholder">
            <a:extLst>
              <a:ext uri="{FF2B5EF4-FFF2-40B4-BE49-F238E27FC236}">
                <a16:creationId xmlns:a16="http://schemas.microsoft.com/office/drawing/2014/main" id="{0129D7A0-F04D-8DBC-3ACB-63335806FE5F}"/>
              </a:ext>
            </a:extLst>
          </p:cNvPr>
          <p:cNvSpPr>
            <a:spLocks noGrp="1"/>
          </p:cNvSpPr>
          <p:nvPr>
            <p:ph sz="quarter" idx="18" hasCustomPrompt="1"/>
          </p:nvPr>
        </p:nvSpPr>
        <p:spPr>
          <a:xfrm>
            <a:off x="431798" y="1656000"/>
            <a:ext cx="5589743" cy="4473336"/>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3" name="Title 12">
            <a:extLst>
              <a:ext uri="{FF2B5EF4-FFF2-40B4-BE49-F238E27FC236}">
                <a16:creationId xmlns:a16="http://schemas.microsoft.com/office/drawing/2014/main" id="{3C2C6B7D-7846-A287-04EE-573DBF38EA5F}"/>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296899808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o indholdselementer 2">
    <p:bg>
      <p:bgPr>
        <a:solidFill>
          <a:schemeClr val="bg1"/>
        </a:solidFill>
        <a:effectLst/>
      </p:bgPr>
    </p:bg>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431800" y="431799"/>
            <a:ext cx="5580000" cy="5697538"/>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4" name="Date Placeholder 3">
            <a:extLst>
              <a:ext uri="{FF2B5EF4-FFF2-40B4-BE49-F238E27FC236}">
                <a16:creationId xmlns:a16="http://schemas.microsoft.com/office/drawing/2014/main" id="{4452554D-DF05-128A-4BCD-8E3DB1FE52D4}"/>
              </a:ext>
            </a:extLst>
          </p:cNvPr>
          <p:cNvSpPr>
            <a:spLocks noGrp="1"/>
          </p:cNvSpPr>
          <p:nvPr>
            <p:ph type="dt" sz="half" idx="15"/>
          </p:nvPr>
        </p:nvSpPr>
        <p:spPr/>
        <p:txBody>
          <a:bodyPr/>
          <a:lstStyle/>
          <a:p>
            <a:fld id="{DC914322-6570-4C48-8B29-7CF75C3D5673}" type="datetime1">
              <a:rPr lang="da-DK" noProof="0" smtClean="0"/>
              <a:t>16-03-2026</a:t>
            </a:fld>
            <a:endParaRPr lang="da-DK" noProof="0"/>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endParaRPr lang="da-DK" noProof="0"/>
          </a:p>
        </p:txBody>
      </p:sp>
      <p:sp>
        <p:nvSpPr>
          <p:cNvPr id="10" name="Slide Number Placeholder 9">
            <a:extLst>
              <a:ext uri="{FF2B5EF4-FFF2-40B4-BE49-F238E27FC236}">
                <a16:creationId xmlns:a16="http://schemas.microsoft.com/office/drawing/2014/main" id="{74FB935E-4BBE-8AE7-4C78-351D6FEA298F}"/>
              </a:ext>
            </a:extLst>
          </p:cNvPr>
          <p:cNvSpPr>
            <a:spLocks noGrp="1"/>
          </p:cNvSpPr>
          <p:nvPr>
            <p:ph type="sldNum" sz="quarter" idx="17"/>
          </p:nvPr>
        </p:nvSpPr>
        <p:spPr/>
        <p:txBody>
          <a:bodyPr/>
          <a:lstStyle/>
          <a:p>
            <a:fld id="{FA9C6259-F55B-47A6-AB0B-9E9F0835A2F0}" type="slidenum">
              <a:rPr lang="da-DK" noProof="0" smtClean="0"/>
              <a:pPr/>
              <a:t>‹nr.›</a:t>
            </a:fld>
            <a:endParaRPr lang="da-DK" noProof="0"/>
          </a:p>
        </p:txBody>
      </p:sp>
      <p:sp>
        <p:nvSpPr>
          <p:cNvPr id="7" name="Content Placeholder">
            <a:extLst>
              <a:ext uri="{FF2B5EF4-FFF2-40B4-BE49-F238E27FC236}">
                <a16:creationId xmlns:a16="http://schemas.microsoft.com/office/drawing/2014/main" id="{1723AB27-3754-226D-A398-7727124900A9}"/>
              </a:ext>
            </a:extLst>
          </p:cNvPr>
          <p:cNvSpPr>
            <a:spLocks noGrp="1"/>
          </p:cNvSpPr>
          <p:nvPr>
            <p:ph sz="quarter" idx="18" hasCustomPrompt="1"/>
          </p:nvPr>
        </p:nvSpPr>
        <p:spPr>
          <a:xfrm>
            <a:off x="6180200" y="1655999"/>
            <a:ext cx="5589743" cy="4473337"/>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3" name="Title 12">
            <a:extLst>
              <a:ext uri="{FF2B5EF4-FFF2-40B4-BE49-F238E27FC236}">
                <a16:creationId xmlns:a16="http://schemas.microsoft.com/office/drawing/2014/main" id="{68DD4317-00BA-5FCB-1A03-A4E94521B303}"/>
              </a:ext>
            </a:extLst>
          </p:cNvPr>
          <p:cNvSpPr>
            <a:spLocks noGrp="1"/>
          </p:cNvSpPr>
          <p:nvPr>
            <p:ph type="title" hasCustomPrompt="1"/>
          </p:nvPr>
        </p:nvSpPr>
        <p:spPr>
          <a:xfrm>
            <a:off x="6178613" y="431800"/>
            <a:ext cx="5580000"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373742215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o indholdselementer 3">
    <p:bg>
      <p:bgPr>
        <a:solidFill>
          <a:schemeClr val="bg1"/>
        </a:solidFill>
        <a:effectLst/>
      </p:bgPr>
    </p:bg>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4308201" y="431799"/>
            <a:ext cx="7452000" cy="5697538"/>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E0E3F621-D296-4C38-8595-5851425F7944}" type="datetime1">
              <a:rPr lang="da-DK" noProof="0" smtClean="0"/>
              <a:t>16-03-2026</a:t>
            </a:fld>
            <a:endParaRPr lang="da-DK" noProof="0"/>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noProof="0" smtClean="0"/>
              <a:pPr/>
              <a:t>‹nr.›</a:t>
            </a:fld>
            <a:endParaRPr lang="da-DK" noProof="0"/>
          </a:p>
        </p:txBody>
      </p:sp>
      <p:sp>
        <p:nvSpPr>
          <p:cNvPr id="14" name="Content Placeholder">
            <a:extLst>
              <a:ext uri="{FF2B5EF4-FFF2-40B4-BE49-F238E27FC236}">
                <a16:creationId xmlns:a16="http://schemas.microsoft.com/office/drawing/2014/main" id="{489CF51D-E9A1-FFB5-DAB7-0216F34E71CF}"/>
              </a:ext>
            </a:extLst>
          </p:cNvPr>
          <p:cNvSpPr>
            <a:spLocks noGrp="1"/>
          </p:cNvSpPr>
          <p:nvPr>
            <p:ph sz="quarter" idx="18" hasCustomPrompt="1"/>
          </p:nvPr>
        </p:nvSpPr>
        <p:spPr>
          <a:xfrm>
            <a:off x="431798" y="1655999"/>
            <a:ext cx="3671999" cy="4473337"/>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4" name="Title 12">
            <a:extLst>
              <a:ext uri="{FF2B5EF4-FFF2-40B4-BE49-F238E27FC236}">
                <a16:creationId xmlns:a16="http://schemas.microsoft.com/office/drawing/2014/main" id="{9B511BD1-62C9-2931-077D-EB10B439CF3E}"/>
              </a:ext>
            </a:extLst>
          </p:cNvPr>
          <p:cNvSpPr>
            <a:spLocks noGrp="1"/>
          </p:cNvSpPr>
          <p:nvPr>
            <p:ph type="title" hasCustomPrompt="1"/>
          </p:nvPr>
        </p:nvSpPr>
        <p:spPr>
          <a:xfrm>
            <a:off x="431799" y="431800"/>
            <a:ext cx="3671998"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188079683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Et indholdselement">
    <p:bg>
      <p:bgPr>
        <a:solidFill>
          <a:schemeClr val="bg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B39A03-0C51-0B8A-9E8B-8E35B30E26EF}"/>
              </a:ext>
            </a:extLst>
          </p:cNvPr>
          <p:cNvSpPr>
            <a:spLocks noGrp="1"/>
          </p:cNvSpPr>
          <p:nvPr>
            <p:ph type="dt" sz="half" idx="10"/>
          </p:nvPr>
        </p:nvSpPr>
        <p:spPr/>
        <p:txBody>
          <a:bodyPr/>
          <a:lstStyle/>
          <a:p>
            <a:fld id="{94941ECD-003F-405A-8A51-5DF016D39791}" type="datetime1">
              <a:rPr lang="da-DK" noProof="0" smtClean="0"/>
              <a:t>16-03-2026</a:t>
            </a:fld>
            <a:endParaRPr lang="da-DK" noProof="0"/>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AF52A892-3C3A-81B2-F030-F5D87B444B7F}"/>
              </a:ext>
            </a:extLst>
          </p:cNvPr>
          <p:cNvSpPr>
            <a:spLocks noGrp="1"/>
          </p:cNvSpPr>
          <p:nvPr>
            <p:ph type="sldNum" sz="quarter" idx="12"/>
          </p:nvPr>
        </p:nvSpPr>
        <p:spPr/>
        <p:txBody>
          <a:bodyPr/>
          <a:lstStyle/>
          <a:p>
            <a:fld id="{FA9C6259-F55B-47A6-AB0B-9E9F0835A2F0}" type="slidenum">
              <a:rPr lang="da-DK" noProof="0" smtClean="0"/>
              <a:pPr/>
              <a:t>‹nr.›</a:t>
            </a:fld>
            <a:endParaRPr lang="da-DK" noProof="0"/>
          </a:p>
        </p:txBody>
      </p:sp>
      <p:sp>
        <p:nvSpPr>
          <p:cNvPr id="6" name="Content Placeholder">
            <a:extLst>
              <a:ext uri="{FF2B5EF4-FFF2-40B4-BE49-F238E27FC236}">
                <a16:creationId xmlns:a16="http://schemas.microsoft.com/office/drawing/2014/main" id="{FE748EBE-5271-38ED-B58F-113D8DD5F652}"/>
              </a:ext>
            </a:extLst>
          </p:cNvPr>
          <p:cNvSpPr>
            <a:spLocks noGrp="1"/>
          </p:cNvSpPr>
          <p:nvPr>
            <p:ph sz="quarter" idx="13"/>
          </p:nvPr>
        </p:nvSpPr>
        <p:spPr>
          <a:xfrm>
            <a:off x="431797" y="1656000"/>
            <a:ext cx="11326813" cy="4473338"/>
          </a:xfrm>
        </p:spPr>
        <p:txBody>
          <a:bodyPr/>
          <a:lstStyle>
            <a:lvl1pPr marL="0" indent="0">
              <a:buNone/>
              <a:defRPr/>
            </a:lvl1pPr>
          </a:lstStyle>
          <a:p>
            <a:pPr lvl="0"/>
            <a:r>
              <a:rPr lang="da-DK" noProof="0"/>
              <a:t>Klik for at redigere teksttypografierne i masteren</a:t>
            </a:r>
          </a:p>
        </p:txBody>
      </p:sp>
      <p:sp>
        <p:nvSpPr>
          <p:cNvPr id="3" name="Title 12">
            <a:extLst>
              <a:ext uri="{FF2B5EF4-FFF2-40B4-BE49-F238E27FC236}">
                <a16:creationId xmlns:a16="http://schemas.microsoft.com/office/drawing/2014/main" id="{667AE106-68BA-78B3-FB5D-0001A9C1883A}"/>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394010881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re indholdselementer">
    <p:bg>
      <p:bgPr>
        <a:solidFill>
          <a:schemeClr val="bg1"/>
        </a:solidFill>
        <a:effectLst/>
      </p:bgPr>
    </p:bg>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585997"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4773FBD4-BB06-4D59-935D-36388EEC380F}" type="datetime1">
              <a:rPr lang="da-DK" noProof="0" smtClean="0"/>
              <a:t>16-03-2026</a:t>
            </a:fld>
            <a:endParaRPr lang="da-DK" noProof="0"/>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noProof="0" smtClean="0"/>
              <a:pPr/>
              <a:t>‹nr.›</a:t>
            </a:fld>
            <a:endParaRPr lang="da-DK" noProof="0"/>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585210"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16" name="Content Placeholder">
            <a:extLst>
              <a:ext uri="{FF2B5EF4-FFF2-40B4-BE49-F238E27FC236}">
                <a16:creationId xmlns:a16="http://schemas.microsoft.com/office/drawing/2014/main" id="{071BC6CF-C0A0-026F-8923-83DEC5C53812}"/>
              </a:ext>
            </a:extLst>
          </p:cNvPr>
          <p:cNvSpPr>
            <a:spLocks noGrp="1"/>
          </p:cNvSpPr>
          <p:nvPr>
            <p:ph sz="quarter" idx="19" hasCustomPrompt="1"/>
          </p:nvPr>
        </p:nvSpPr>
        <p:spPr>
          <a:xfrm>
            <a:off x="4368000"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8" name="Text Placeholder 14">
            <a:extLst>
              <a:ext uri="{FF2B5EF4-FFF2-40B4-BE49-F238E27FC236}">
                <a16:creationId xmlns:a16="http://schemas.microsoft.com/office/drawing/2014/main" id="{CBF7BF71-5BF4-B4EB-6418-C90F6D38E0C3}"/>
              </a:ext>
            </a:extLst>
          </p:cNvPr>
          <p:cNvSpPr>
            <a:spLocks noGrp="1"/>
          </p:cNvSpPr>
          <p:nvPr>
            <p:ph type="body" sz="quarter" idx="20" hasCustomPrompt="1"/>
          </p:nvPr>
        </p:nvSpPr>
        <p:spPr>
          <a:xfrm>
            <a:off x="4367213"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19" name="Content Placeholder">
            <a:extLst>
              <a:ext uri="{FF2B5EF4-FFF2-40B4-BE49-F238E27FC236}">
                <a16:creationId xmlns:a16="http://schemas.microsoft.com/office/drawing/2014/main" id="{FB703B9F-4489-0A5E-3BB0-56D56672CABD}"/>
              </a:ext>
            </a:extLst>
          </p:cNvPr>
          <p:cNvSpPr>
            <a:spLocks noGrp="1"/>
          </p:cNvSpPr>
          <p:nvPr>
            <p:ph sz="quarter" idx="21" hasCustomPrompt="1"/>
          </p:nvPr>
        </p:nvSpPr>
        <p:spPr>
          <a:xfrm>
            <a:off x="8143468"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1" name="Text Placeholder 14">
            <a:extLst>
              <a:ext uri="{FF2B5EF4-FFF2-40B4-BE49-F238E27FC236}">
                <a16:creationId xmlns:a16="http://schemas.microsoft.com/office/drawing/2014/main" id="{8D5872B1-C6FC-9F83-9DDF-D8BCE82E24FD}"/>
              </a:ext>
            </a:extLst>
          </p:cNvPr>
          <p:cNvSpPr>
            <a:spLocks noGrp="1"/>
          </p:cNvSpPr>
          <p:nvPr>
            <p:ph type="body" sz="quarter" idx="22" hasCustomPrompt="1"/>
          </p:nvPr>
        </p:nvSpPr>
        <p:spPr>
          <a:xfrm>
            <a:off x="8142681"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5" name="Title 12">
            <a:extLst>
              <a:ext uri="{FF2B5EF4-FFF2-40B4-BE49-F238E27FC236}">
                <a16:creationId xmlns:a16="http://schemas.microsoft.com/office/drawing/2014/main" id="{861E4C75-244C-D56C-A4DA-D765ABF1389B}"/>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428560354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re cards m. indhold">
    <p:bg>
      <p:bgPr>
        <a:solidFill>
          <a:schemeClr val="bg1"/>
        </a:solidFill>
        <a:effectLst/>
      </p:bgPr>
    </p:bg>
    <p:spTree>
      <p:nvGrpSpPr>
        <p:cNvPr id="1" name=""/>
        <p:cNvGrpSpPr/>
        <p:nvPr/>
      </p:nvGrpSpPr>
      <p:grpSpPr>
        <a:xfrm>
          <a:off x="0" y="0"/>
          <a:ext cx="0" cy="0"/>
          <a:chOff x="0" y="0"/>
          <a:chExt cx="0" cy="0"/>
        </a:xfrm>
      </p:grpSpPr>
      <p:sp>
        <p:nvSpPr>
          <p:cNvPr id="17" name="Rektangel: enkelt hjørne afrundet 16">
            <a:extLst>
              <a:ext uri="{FF2B5EF4-FFF2-40B4-BE49-F238E27FC236}">
                <a16:creationId xmlns:a16="http://schemas.microsoft.com/office/drawing/2014/main" id="{239FAEE3-E58D-2A51-7A83-9E7E086AB2DD}"/>
              </a:ext>
            </a:extLst>
          </p:cNvPr>
          <p:cNvSpPr/>
          <p:nvPr userDrawn="1"/>
        </p:nvSpPr>
        <p:spPr>
          <a:xfrm rot="5400000">
            <a:off x="286992" y="1980955"/>
            <a:ext cx="4053564"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576000" tIns="144000" rIns="288000" bIns="144000" rtlCol="0" anchor="t" anchorCtr="0">
            <a:noAutofit/>
          </a:bodyPr>
          <a:lstStyle/>
          <a:p>
            <a:pPr>
              <a:lnSpc>
                <a:spcPct val="90000"/>
              </a:lnSpc>
            </a:pPr>
            <a:endParaRPr lang="da-DK" sz="1200" noProof="0">
              <a:solidFill>
                <a:schemeClr val="tx1"/>
              </a:solidFill>
              <a:latin typeface="Work Sans" pitchFamily="2" charset="0"/>
            </a:endParaRPr>
          </a:p>
        </p:txBody>
      </p:sp>
      <p:sp>
        <p:nvSpPr>
          <p:cNvPr id="8" name="Content Placeholder">
            <a:extLst>
              <a:ext uri="{FF2B5EF4-FFF2-40B4-BE49-F238E27FC236}">
                <a16:creationId xmlns:a16="http://schemas.microsoft.com/office/drawing/2014/main" id="{4E91CDE7-A150-9C6F-48B3-D2425425F88B}"/>
              </a:ext>
            </a:extLst>
          </p:cNvPr>
          <p:cNvSpPr>
            <a:spLocks noGrp="1" noChangeAspect="1"/>
          </p:cNvSpPr>
          <p:nvPr>
            <p:ph sz="quarter" idx="13" hasCustomPrompt="1"/>
          </p:nvPr>
        </p:nvSpPr>
        <p:spPr>
          <a:xfrm>
            <a:off x="83777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 name="Date Placeholder 1">
            <a:extLst>
              <a:ext uri="{FF2B5EF4-FFF2-40B4-BE49-F238E27FC236}">
                <a16:creationId xmlns:a16="http://schemas.microsoft.com/office/drawing/2014/main" id="{0C77669E-DEE7-EB4A-4292-A95259C3D557}"/>
              </a:ext>
            </a:extLst>
          </p:cNvPr>
          <p:cNvSpPr>
            <a:spLocks noGrp="1"/>
          </p:cNvSpPr>
          <p:nvPr>
            <p:ph type="dt" sz="half" idx="15"/>
          </p:nvPr>
        </p:nvSpPr>
        <p:spPr/>
        <p:txBody>
          <a:bodyPr/>
          <a:lstStyle/>
          <a:p>
            <a:fld id="{AEB86F2A-BF68-4935-884F-8F1B7F437D5C}" type="datetime1">
              <a:rPr lang="da-DK" noProof="0" smtClean="0"/>
              <a:t>16-03-2026</a:t>
            </a:fld>
            <a:endParaRPr lang="da-DK" noProof="0"/>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1" name="Slide Number Placeholder 10">
            <a:extLst>
              <a:ext uri="{FF2B5EF4-FFF2-40B4-BE49-F238E27FC236}">
                <a16:creationId xmlns:a16="http://schemas.microsoft.com/office/drawing/2014/main" id="{77292BE3-986F-4881-434D-6FAA5339FAEF}"/>
              </a:ext>
            </a:extLst>
          </p:cNvPr>
          <p:cNvSpPr>
            <a:spLocks noGrp="1"/>
          </p:cNvSpPr>
          <p:nvPr>
            <p:ph type="sldNum" sz="quarter" idx="17"/>
          </p:nvPr>
        </p:nvSpPr>
        <p:spPr/>
        <p:txBody>
          <a:bodyPr/>
          <a:lstStyle/>
          <a:p>
            <a:fld id="{FA9C6259-F55B-47A6-AB0B-9E9F0835A2F0}" type="slidenum">
              <a:rPr lang="da-DK" noProof="0" smtClean="0"/>
              <a:pPr/>
              <a:t>‹nr.›</a:t>
            </a:fld>
            <a:endParaRPr lang="da-DK" noProof="0"/>
          </a:p>
        </p:txBody>
      </p:sp>
      <p:sp>
        <p:nvSpPr>
          <p:cNvPr id="13" name="Title 12">
            <a:extLst>
              <a:ext uri="{FF2B5EF4-FFF2-40B4-BE49-F238E27FC236}">
                <a16:creationId xmlns:a16="http://schemas.microsoft.com/office/drawing/2014/main" id="{212DDD1D-CF2D-FE1E-8665-2DF511DFB772}"/>
              </a:ext>
            </a:extLst>
          </p:cNvPr>
          <p:cNvSpPr>
            <a:spLocks noGrp="1"/>
          </p:cNvSpPr>
          <p:nvPr>
            <p:ph type="title" hasCustomPrompt="1"/>
          </p:nvPr>
        </p:nvSpPr>
        <p:spPr>
          <a:xfrm>
            <a:off x="431799" y="431800"/>
            <a:ext cx="11326814" cy="864000"/>
          </a:xfrm>
          <a:prstGeom prst="rect">
            <a:avLst/>
          </a:prstGeom>
        </p:spPr>
        <p:txBody>
          <a:bodyPr anchor="ctr"/>
          <a:lstStyle>
            <a:lvl1pPr>
              <a:defRPr/>
            </a:lvl1pPr>
          </a:lstStyle>
          <a:p>
            <a:r>
              <a:rPr lang="da-DK" noProof="0"/>
              <a:t>Klik for at redigere titeltypografien i masteren </a:t>
            </a:r>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83777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
        <p:nvSpPr>
          <p:cNvPr id="6" name="Rektangel: enkelt hjørne afrundet 3">
            <a:extLst>
              <a:ext uri="{FF2B5EF4-FFF2-40B4-BE49-F238E27FC236}">
                <a16:creationId xmlns:a16="http://schemas.microsoft.com/office/drawing/2014/main" id="{3F44D920-C562-CB3A-A90E-203C61152FDC}"/>
              </a:ext>
            </a:extLst>
          </p:cNvPr>
          <p:cNvSpPr/>
          <p:nvPr userDrawn="1"/>
        </p:nvSpPr>
        <p:spPr>
          <a:xfrm rot="5400000">
            <a:off x="4080000"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7" name="Content Placeholder">
            <a:extLst>
              <a:ext uri="{FF2B5EF4-FFF2-40B4-BE49-F238E27FC236}">
                <a16:creationId xmlns:a16="http://schemas.microsoft.com/office/drawing/2014/main" id="{CB865392-8DC1-3E12-AFFD-90B24E43F8AC}"/>
              </a:ext>
            </a:extLst>
          </p:cNvPr>
          <p:cNvSpPr>
            <a:spLocks noGrp="1" noChangeAspect="1"/>
          </p:cNvSpPr>
          <p:nvPr>
            <p:ph sz="quarter" idx="19" hasCustomPrompt="1"/>
          </p:nvPr>
        </p:nvSpPr>
        <p:spPr>
          <a:xfrm>
            <a:off x="4620000"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9" name="Text Placeholder 14">
            <a:extLst>
              <a:ext uri="{FF2B5EF4-FFF2-40B4-BE49-F238E27FC236}">
                <a16:creationId xmlns:a16="http://schemas.microsoft.com/office/drawing/2014/main" id="{DA071D47-D938-4517-894E-F44F79B81D53}"/>
              </a:ext>
            </a:extLst>
          </p:cNvPr>
          <p:cNvSpPr>
            <a:spLocks noGrp="1"/>
          </p:cNvSpPr>
          <p:nvPr>
            <p:ph type="body" sz="quarter" idx="20" hasCustomPrompt="1"/>
          </p:nvPr>
        </p:nvSpPr>
        <p:spPr>
          <a:xfrm>
            <a:off x="4620000"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
        <p:nvSpPr>
          <p:cNvPr id="10" name="Rektangel: enkelt hjørne afrundet 3">
            <a:extLst>
              <a:ext uri="{FF2B5EF4-FFF2-40B4-BE49-F238E27FC236}">
                <a16:creationId xmlns:a16="http://schemas.microsoft.com/office/drawing/2014/main" id="{5A8845E3-CF08-DCD4-A85C-CA8C47B27A0C}"/>
              </a:ext>
            </a:extLst>
          </p:cNvPr>
          <p:cNvSpPr/>
          <p:nvPr userDrawn="1"/>
        </p:nvSpPr>
        <p:spPr>
          <a:xfrm rot="5400000">
            <a:off x="7862226"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12" name="Content Placeholder">
            <a:extLst>
              <a:ext uri="{FF2B5EF4-FFF2-40B4-BE49-F238E27FC236}">
                <a16:creationId xmlns:a16="http://schemas.microsoft.com/office/drawing/2014/main" id="{09975C7B-92A1-77A3-6DF3-98B1EC362A64}"/>
              </a:ext>
            </a:extLst>
          </p:cNvPr>
          <p:cNvSpPr>
            <a:spLocks noGrp="1" noChangeAspect="1"/>
          </p:cNvSpPr>
          <p:nvPr>
            <p:ph sz="quarter" idx="21" hasCustomPrompt="1"/>
          </p:nvPr>
        </p:nvSpPr>
        <p:spPr>
          <a:xfrm>
            <a:off x="840222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4" name="Text Placeholder 14">
            <a:extLst>
              <a:ext uri="{FF2B5EF4-FFF2-40B4-BE49-F238E27FC236}">
                <a16:creationId xmlns:a16="http://schemas.microsoft.com/office/drawing/2014/main" id="{8306526A-8341-2F8B-ECCF-7F99D0F10D26}"/>
              </a:ext>
            </a:extLst>
          </p:cNvPr>
          <p:cNvSpPr>
            <a:spLocks noGrp="1"/>
          </p:cNvSpPr>
          <p:nvPr>
            <p:ph type="body" sz="quarter" idx="22" hasCustomPrompt="1"/>
          </p:nvPr>
        </p:nvSpPr>
        <p:spPr>
          <a:xfrm>
            <a:off x="840222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Tree>
    <p:extLst>
      <p:ext uri="{BB962C8B-B14F-4D97-AF65-F5344CB8AC3E}">
        <p14:creationId xmlns:p14="http://schemas.microsoft.com/office/powerpoint/2010/main" val="173796446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tor hvid fla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2298AB2-D819-DC76-9043-BEDE7D8D3C12}"/>
              </a:ext>
            </a:extLst>
          </p:cNvPr>
          <p:cNvGraphicFramePr>
            <a:graphicFrameLocks noChangeAspect="1"/>
          </p:cNvGraphicFramePr>
          <p:nvPr userDrawn="1">
            <p:custDataLst>
              <p:tags r:id="rId1"/>
            </p:custDataLst>
            <p:extLst>
              <p:ext uri="{D42A27DB-BD31-4B8C-83A1-F6EECF244321}">
                <p14:modId xmlns:p14="http://schemas.microsoft.com/office/powerpoint/2010/main" val="31895365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8" name="think-cell data - do not delete" hidden="1">
                        <a:extLst>
                          <a:ext uri="{FF2B5EF4-FFF2-40B4-BE49-F238E27FC236}">
                            <a16:creationId xmlns:a16="http://schemas.microsoft.com/office/drawing/2014/main" id="{F2298AB2-D819-DC76-9043-BEDE7D8D3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ktangel: enkelt hjørne afrundet 5">
            <a:extLst>
              <a:ext uri="{FF2B5EF4-FFF2-40B4-BE49-F238E27FC236}">
                <a16:creationId xmlns:a16="http://schemas.microsoft.com/office/drawing/2014/main" id="{45EF9235-5FF1-84BD-32D8-FF150C5A9837}"/>
              </a:ext>
            </a:extLst>
          </p:cNvPr>
          <p:cNvSpPr/>
          <p:nvPr userDrawn="1"/>
        </p:nvSpPr>
        <p:spPr>
          <a:xfrm flipH="1">
            <a:off x="332507" y="2097975"/>
            <a:ext cx="11859491" cy="4760026"/>
          </a:xfrm>
          <a:prstGeom prst="round1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432000" rIns="432000" bIns="720000" rtlCol="0" anchor="b" anchorCtr="0">
            <a:noAutofit/>
          </a:bodyPr>
          <a:lstStyle/>
          <a:p>
            <a:pPr>
              <a:lnSpc>
                <a:spcPct val="90000"/>
              </a:lnSpc>
            </a:pPr>
            <a:endParaRPr lang="da-DK" sz="1400" noProof="0">
              <a:solidFill>
                <a:schemeClr val="bg1"/>
              </a:solidFill>
              <a:latin typeface="Work Sans" pitchFamily="2" charset="0"/>
            </a:endParaRPr>
          </a:p>
        </p:txBody>
      </p:sp>
      <p:sp>
        <p:nvSpPr>
          <p:cNvPr id="4" name="Pladsholder til slidenummer 3">
            <a:extLst>
              <a:ext uri="{FF2B5EF4-FFF2-40B4-BE49-F238E27FC236}">
                <a16:creationId xmlns:a16="http://schemas.microsoft.com/office/drawing/2014/main" id="{39CB9D82-382E-298B-3817-C5C5B1C47E5D}"/>
              </a:ext>
            </a:extLst>
          </p:cNvPr>
          <p:cNvSpPr>
            <a:spLocks noGrp="1"/>
          </p:cNvSpPr>
          <p:nvPr>
            <p:ph type="sldNum" sz="quarter" idx="11"/>
          </p:nvPr>
        </p:nvSpPr>
        <p:spPr/>
        <p:txBody>
          <a:bodyPr/>
          <a:lstStyle/>
          <a:p>
            <a:fld id="{FA9C6259-F55B-47A6-AB0B-9E9F0835A2F0}" type="slidenum">
              <a:rPr lang="da-DK" noProof="0" smtClean="0"/>
              <a:pPr/>
              <a:t>‹nr.›</a:t>
            </a:fld>
            <a:endParaRPr lang="da-DK" noProof="0"/>
          </a:p>
        </p:txBody>
      </p:sp>
      <p:sp>
        <p:nvSpPr>
          <p:cNvPr id="5" name="Pladsholder til sidefod 4">
            <a:extLst>
              <a:ext uri="{FF2B5EF4-FFF2-40B4-BE49-F238E27FC236}">
                <a16:creationId xmlns:a16="http://schemas.microsoft.com/office/drawing/2014/main" id="{822E06CC-EF17-CA2D-D02E-F106338D4C45}"/>
              </a:ext>
            </a:extLst>
          </p:cNvPr>
          <p:cNvSpPr>
            <a:spLocks noGrp="1"/>
          </p:cNvSpPr>
          <p:nvPr>
            <p:ph type="ftr" sz="quarter" idx="12"/>
          </p:nvPr>
        </p:nvSpPr>
        <p:spPr/>
        <p:txBody>
          <a:bodyPr/>
          <a:lstStyle/>
          <a:p>
            <a:endParaRPr lang="da-DK" noProof="0"/>
          </a:p>
        </p:txBody>
      </p:sp>
      <p:sp>
        <p:nvSpPr>
          <p:cNvPr id="3" name="Title 12">
            <a:extLst>
              <a:ext uri="{FF2B5EF4-FFF2-40B4-BE49-F238E27FC236}">
                <a16:creationId xmlns:a16="http://schemas.microsoft.com/office/drawing/2014/main" id="{3BF1382A-D154-401E-AD7B-62E00776D589}"/>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260848059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Lille hvid fla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205B73C-9FCD-D20A-B361-EF7A41384850}"/>
              </a:ext>
            </a:extLst>
          </p:cNvPr>
          <p:cNvGraphicFramePr>
            <a:graphicFrameLocks noChangeAspect="1"/>
          </p:cNvGraphicFramePr>
          <p:nvPr userDrawn="1">
            <p:custDataLst>
              <p:tags r:id="rId1"/>
            </p:custDataLst>
            <p:extLst>
              <p:ext uri="{D42A27DB-BD31-4B8C-83A1-F6EECF244321}">
                <p14:modId xmlns:p14="http://schemas.microsoft.com/office/powerpoint/2010/main" val="4027441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8" name="think-cell data - do not delete" hidden="1">
                        <a:extLst>
                          <a:ext uri="{FF2B5EF4-FFF2-40B4-BE49-F238E27FC236}">
                            <a16:creationId xmlns:a16="http://schemas.microsoft.com/office/drawing/2014/main" id="{6205B73C-9FCD-D20A-B361-EF7A413848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ktangel: enkelt hjørne afrundet 5">
            <a:extLst>
              <a:ext uri="{FF2B5EF4-FFF2-40B4-BE49-F238E27FC236}">
                <a16:creationId xmlns:a16="http://schemas.microsoft.com/office/drawing/2014/main" id="{D38DE1BB-29E9-56DB-E284-8DAD2530B8B3}"/>
              </a:ext>
            </a:extLst>
          </p:cNvPr>
          <p:cNvSpPr/>
          <p:nvPr userDrawn="1"/>
        </p:nvSpPr>
        <p:spPr>
          <a:xfrm flipH="1">
            <a:off x="6096000" y="2098800"/>
            <a:ext cx="6096000" cy="4759200"/>
          </a:xfrm>
          <a:prstGeom prst="round1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432000" rIns="432000" bIns="720000" rtlCol="0" anchor="b" anchorCtr="0">
            <a:noAutofit/>
          </a:bodyPr>
          <a:lstStyle/>
          <a:p>
            <a:pPr>
              <a:lnSpc>
                <a:spcPct val="90000"/>
              </a:lnSpc>
            </a:pPr>
            <a:endParaRPr lang="da-DK" sz="1400" noProof="0">
              <a:solidFill>
                <a:schemeClr val="bg1"/>
              </a:solidFill>
              <a:latin typeface="Work Sans" pitchFamily="2" charset="0"/>
            </a:endParaRPr>
          </a:p>
        </p:txBody>
      </p:sp>
      <p:sp>
        <p:nvSpPr>
          <p:cNvPr id="3" name="Pladsholder til dato 2">
            <a:extLst>
              <a:ext uri="{FF2B5EF4-FFF2-40B4-BE49-F238E27FC236}">
                <a16:creationId xmlns:a16="http://schemas.microsoft.com/office/drawing/2014/main" id="{77889C3F-4CA2-1E96-FCD2-DEDE05E056FD}"/>
              </a:ext>
            </a:extLst>
          </p:cNvPr>
          <p:cNvSpPr>
            <a:spLocks noGrp="1"/>
          </p:cNvSpPr>
          <p:nvPr>
            <p:ph type="dt" sz="half" idx="10"/>
          </p:nvPr>
        </p:nvSpPr>
        <p:spPr/>
        <p:txBody>
          <a:bodyPr/>
          <a:lstStyle/>
          <a:p>
            <a:fld id="{B3A39859-7ABB-433C-B1D4-D62313A8C4DE}" type="datetime1">
              <a:rPr lang="da-DK" noProof="0" smtClean="0"/>
              <a:t>16-03-2026</a:t>
            </a:fld>
            <a:endParaRPr lang="da-DK" noProof="0"/>
          </a:p>
        </p:txBody>
      </p:sp>
      <p:sp>
        <p:nvSpPr>
          <p:cNvPr id="4" name="Pladsholder til slidenummer 3">
            <a:extLst>
              <a:ext uri="{FF2B5EF4-FFF2-40B4-BE49-F238E27FC236}">
                <a16:creationId xmlns:a16="http://schemas.microsoft.com/office/drawing/2014/main" id="{7D6FC41D-98BB-1029-A664-C24749662821}"/>
              </a:ext>
            </a:extLst>
          </p:cNvPr>
          <p:cNvSpPr>
            <a:spLocks noGrp="1"/>
          </p:cNvSpPr>
          <p:nvPr>
            <p:ph type="sldNum" sz="quarter" idx="11"/>
          </p:nvPr>
        </p:nvSpPr>
        <p:spPr/>
        <p:txBody>
          <a:bodyPr/>
          <a:lstStyle/>
          <a:p>
            <a:fld id="{FA9C6259-F55B-47A6-AB0B-9E9F0835A2F0}" type="slidenum">
              <a:rPr lang="da-DK" noProof="0" smtClean="0"/>
              <a:pPr/>
              <a:t>‹nr.›</a:t>
            </a:fld>
            <a:endParaRPr lang="da-DK" noProof="0"/>
          </a:p>
        </p:txBody>
      </p:sp>
      <p:sp>
        <p:nvSpPr>
          <p:cNvPr id="5" name="Pladsholder til sidefod 4">
            <a:extLst>
              <a:ext uri="{FF2B5EF4-FFF2-40B4-BE49-F238E27FC236}">
                <a16:creationId xmlns:a16="http://schemas.microsoft.com/office/drawing/2014/main" id="{30A20506-F69A-90C2-8DAF-E1A6B3D1DBB0}"/>
              </a:ext>
            </a:extLst>
          </p:cNvPr>
          <p:cNvSpPr>
            <a:spLocks noGrp="1"/>
          </p:cNvSpPr>
          <p:nvPr>
            <p:ph type="ftr" sz="quarter" idx="12"/>
          </p:nvPr>
        </p:nvSpPr>
        <p:spPr/>
        <p:txBody>
          <a:bodyPr/>
          <a:lstStyle/>
          <a:p>
            <a:endParaRPr lang="da-DK" noProof="0"/>
          </a:p>
        </p:txBody>
      </p:sp>
      <p:sp>
        <p:nvSpPr>
          <p:cNvPr id="7" name="Title 12">
            <a:extLst>
              <a:ext uri="{FF2B5EF4-FFF2-40B4-BE49-F238E27FC236}">
                <a16:creationId xmlns:a16="http://schemas.microsoft.com/office/drawing/2014/main" id="{67D4C4C4-E315-C8F4-F8FA-05712F77C57C}"/>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36091299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otobaggrund">
    <p:bg>
      <p:bgRef idx="1001">
        <a:schemeClr val="bg2"/>
      </p:bgRef>
    </p:bg>
    <p:spTree>
      <p:nvGrpSpPr>
        <p:cNvPr id="1" name=""/>
        <p:cNvGrpSpPr/>
        <p:nvPr/>
      </p:nvGrpSpPr>
      <p:grpSpPr>
        <a:xfrm>
          <a:off x="0" y="0"/>
          <a:ext cx="0" cy="0"/>
          <a:chOff x="0" y="0"/>
          <a:chExt cx="0" cy="0"/>
        </a:xfrm>
      </p:grpSpPr>
      <p:sp>
        <p:nvSpPr>
          <p:cNvPr id="21" name="Pladsholder til billede 20">
            <a:extLst>
              <a:ext uri="{FF2B5EF4-FFF2-40B4-BE49-F238E27FC236}">
                <a16:creationId xmlns:a16="http://schemas.microsoft.com/office/drawing/2014/main" id="{87ACCDF2-438B-3952-1B50-A08B33E4181A}"/>
              </a:ext>
            </a:extLst>
          </p:cNvPr>
          <p:cNvSpPr>
            <a:spLocks noGrp="1"/>
          </p:cNvSpPr>
          <p:nvPr>
            <p:ph type="pic" sz="quarter" idx="14"/>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4317599 w 12192000"/>
              <a:gd name="connsiteY3" fmla="*/ 6858000 h 6858000"/>
              <a:gd name="connsiteX4" fmla="*/ 4173417 w 12192000"/>
              <a:gd name="connsiteY4" fmla="*/ 6765567 h 6858000"/>
              <a:gd name="connsiteX5" fmla="*/ 107135 w 12192000"/>
              <a:gd name="connsiteY5" fmla="*/ 2064956 h 6858000"/>
              <a:gd name="connsiteX6" fmla="*/ 0 w 12192000"/>
              <a:gd name="connsiteY6" fmla="*/ 182797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6858000"/>
                </a:lnTo>
                <a:lnTo>
                  <a:pt x="4317599" y="6858000"/>
                </a:lnTo>
                <a:lnTo>
                  <a:pt x="4173417" y="6765567"/>
                </a:lnTo>
                <a:cubicBezTo>
                  <a:pt x="2435362" y="5591360"/>
                  <a:pt x="1024740" y="3969295"/>
                  <a:pt x="107135" y="2064956"/>
                </a:cubicBezTo>
                <a:lnTo>
                  <a:pt x="0" y="1827979"/>
                </a:lnTo>
                <a:close/>
              </a:path>
            </a:pathLst>
          </a:custGeom>
          <a:blipFill dpi="0" rotWithShape="1">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r>
              <a:rPr lang="da-DK" noProof="0"/>
              <a:t>Klik på ikonet for at tilføje et billede</a:t>
            </a:r>
          </a:p>
        </p:txBody>
      </p:sp>
      <p:pic>
        <p:nvPicPr>
          <p:cNvPr id="4" name="Grafik 10">
            <a:extLst>
              <a:ext uri="{FF2B5EF4-FFF2-40B4-BE49-F238E27FC236}">
                <a16:creationId xmlns:a16="http://schemas.microsoft.com/office/drawing/2014/main" id="{338930BB-ED3B-9B59-A12C-1FE9A9787C6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298042" y="6430133"/>
            <a:ext cx="1460571" cy="144000"/>
          </a:xfrm>
          <a:prstGeom prst="rect">
            <a:avLst/>
          </a:prstGeom>
        </p:spPr>
      </p:pic>
      <p:sp>
        <p:nvSpPr>
          <p:cNvPr id="10" name="Title 1">
            <a:extLst>
              <a:ext uri="{FF2B5EF4-FFF2-40B4-BE49-F238E27FC236}">
                <a16:creationId xmlns:a16="http://schemas.microsoft.com/office/drawing/2014/main" id="{BD12AD03-B76E-BE2B-C389-00DD8A910DA3}"/>
              </a:ext>
            </a:extLst>
          </p:cNvPr>
          <p:cNvSpPr>
            <a:spLocks noGrp="1"/>
          </p:cNvSpPr>
          <p:nvPr>
            <p:ph type="ctrTitle"/>
          </p:nvPr>
        </p:nvSpPr>
        <p:spPr>
          <a:xfrm>
            <a:off x="431799" y="2088000"/>
            <a:ext cx="7535864" cy="3456000"/>
          </a:xfrm>
          <a:prstGeom prst="rect">
            <a:avLst/>
          </a:prstGeom>
        </p:spPr>
        <p:txBody>
          <a:bodyPr anchor="b">
            <a:noAutofit/>
          </a:bodyPr>
          <a:lstStyle>
            <a:lvl1pPr algn="l">
              <a:defRPr sz="4800"/>
            </a:lvl1pPr>
          </a:lstStyle>
          <a:p>
            <a:r>
              <a:rPr lang="da-DK" noProof="0"/>
              <a:t>Klik for at redigere titeltypografien i masteren</a:t>
            </a:r>
          </a:p>
        </p:txBody>
      </p:sp>
      <p:sp>
        <p:nvSpPr>
          <p:cNvPr id="13" name="Date Placeholder 12">
            <a:extLst>
              <a:ext uri="{FF2B5EF4-FFF2-40B4-BE49-F238E27FC236}">
                <a16:creationId xmlns:a16="http://schemas.microsoft.com/office/drawing/2014/main" id="{6BD0004D-5E1D-7D00-F58D-C52BD817C6F3}"/>
              </a:ext>
            </a:extLst>
          </p:cNvPr>
          <p:cNvSpPr>
            <a:spLocks noGrp="1"/>
          </p:cNvSpPr>
          <p:nvPr>
            <p:ph type="dt" sz="half" idx="15"/>
          </p:nvPr>
        </p:nvSpPr>
        <p:spPr/>
        <p:txBody>
          <a:bodyPr/>
          <a:lstStyle/>
          <a:p>
            <a:fld id="{810FE435-D793-480B-ADBE-38EB889C7CA1}" type="datetime1">
              <a:rPr lang="da-DK" noProof="0" smtClean="0"/>
              <a:t>16-03-2026</a:t>
            </a:fld>
            <a:endParaRPr lang="da-DK" noProof="0"/>
          </a:p>
        </p:txBody>
      </p:sp>
      <p:sp>
        <p:nvSpPr>
          <p:cNvPr id="14" name="Footer Placeholder 13">
            <a:extLst>
              <a:ext uri="{FF2B5EF4-FFF2-40B4-BE49-F238E27FC236}">
                <a16:creationId xmlns:a16="http://schemas.microsoft.com/office/drawing/2014/main" id="{21EA0916-AA0A-2A0A-E000-40B07DE48FE0}"/>
              </a:ext>
            </a:extLst>
          </p:cNvPr>
          <p:cNvSpPr>
            <a:spLocks noGrp="1"/>
          </p:cNvSpPr>
          <p:nvPr>
            <p:ph type="ftr" sz="quarter" idx="16"/>
          </p:nvPr>
        </p:nvSpPr>
        <p:spPr/>
        <p:txBody>
          <a:bodyPr/>
          <a:lstStyle/>
          <a:p>
            <a:endParaRPr lang="da-DK" noProof="0"/>
          </a:p>
        </p:txBody>
      </p:sp>
      <p:sp>
        <p:nvSpPr>
          <p:cNvPr id="15" name="Slide Number Placeholder 14">
            <a:extLst>
              <a:ext uri="{FF2B5EF4-FFF2-40B4-BE49-F238E27FC236}">
                <a16:creationId xmlns:a16="http://schemas.microsoft.com/office/drawing/2014/main" id="{6D202148-A549-C620-77FB-883263587440}"/>
              </a:ext>
            </a:extLst>
          </p:cNvPr>
          <p:cNvSpPr>
            <a:spLocks noGrp="1"/>
          </p:cNvSpPr>
          <p:nvPr>
            <p:ph type="sldNum" sz="quarter" idx="17"/>
          </p:nvPr>
        </p:nvSpPr>
        <p:spPr/>
        <p:txBody>
          <a:bodyPr/>
          <a:lstStyle/>
          <a:p>
            <a:fld id="{FA9C6259-F55B-47A6-AB0B-9E9F0835A2F0}" type="slidenum">
              <a:rPr lang="da-DK" noProof="0" smtClean="0"/>
              <a:pPr/>
              <a:t>‹nr.›</a:t>
            </a:fld>
            <a:endParaRPr lang="da-DK" noProof="0"/>
          </a:p>
        </p:txBody>
      </p:sp>
      <p:sp>
        <p:nvSpPr>
          <p:cNvPr id="2" name="Subtitle 2">
            <a:extLst>
              <a:ext uri="{FF2B5EF4-FFF2-40B4-BE49-F238E27FC236}">
                <a16:creationId xmlns:a16="http://schemas.microsoft.com/office/drawing/2014/main" id="{B8CA00F9-D4F2-A44A-A187-002C7CA04E1A}"/>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Tree>
    <p:extLst>
      <p:ext uri="{BB962C8B-B14F-4D97-AF65-F5344CB8AC3E}">
        <p14:creationId xmlns:p14="http://schemas.microsoft.com/office/powerpoint/2010/main" val="250630067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iagram 1">
    <p:spTree>
      <p:nvGrpSpPr>
        <p:cNvPr id="1" name=""/>
        <p:cNvGrpSpPr/>
        <p:nvPr/>
      </p:nvGrpSpPr>
      <p:grpSpPr>
        <a:xfrm>
          <a:off x="0" y="0"/>
          <a:ext cx="0" cy="0"/>
          <a:chOff x="0" y="0"/>
          <a:chExt cx="0" cy="0"/>
        </a:xfrm>
      </p:grpSpPr>
      <p:sp>
        <p:nvSpPr>
          <p:cNvPr id="7"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5152318" y="431800"/>
            <a:ext cx="6614556" cy="2664000"/>
          </a:xfrm>
        </p:spPr>
        <p:txBody>
          <a:bodyPr/>
          <a:lstStyle/>
          <a:p>
            <a:r>
              <a:rPr lang="da-DK" noProof="0"/>
              <a:t>Klik på ikonet for at tilføje et diagram</a:t>
            </a:r>
          </a:p>
        </p:txBody>
      </p:sp>
      <p:sp>
        <p:nvSpPr>
          <p:cNvPr id="6" name="Date Placeholder 5">
            <a:extLst>
              <a:ext uri="{FF2B5EF4-FFF2-40B4-BE49-F238E27FC236}">
                <a16:creationId xmlns:a16="http://schemas.microsoft.com/office/drawing/2014/main" id="{7ED0435C-DCD8-00E5-E76C-4CEB12F79B38}"/>
              </a:ext>
            </a:extLst>
          </p:cNvPr>
          <p:cNvSpPr>
            <a:spLocks noGrp="1"/>
          </p:cNvSpPr>
          <p:nvPr>
            <p:ph type="dt" sz="half" idx="15"/>
          </p:nvPr>
        </p:nvSpPr>
        <p:spPr/>
        <p:txBody>
          <a:bodyPr/>
          <a:lstStyle/>
          <a:p>
            <a:fld id="{2B134EF5-8588-4E33-BF0C-252BD5E92640}" type="datetime1">
              <a:rPr lang="da-DK" noProof="0" smtClean="0"/>
              <a:t>16-03-2026</a:t>
            </a:fld>
            <a:endParaRPr lang="da-DK" noProof="0"/>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noProof="0"/>
          </a:p>
        </p:txBody>
      </p:sp>
      <p:sp>
        <p:nvSpPr>
          <p:cNvPr id="9" name="Slide Number Placeholder 8">
            <a:extLst>
              <a:ext uri="{FF2B5EF4-FFF2-40B4-BE49-F238E27FC236}">
                <a16:creationId xmlns:a16="http://schemas.microsoft.com/office/drawing/2014/main" id="{79AD1462-A3E1-40E6-B2B0-CB733C384D90}"/>
              </a:ext>
            </a:extLst>
          </p:cNvPr>
          <p:cNvSpPr>
            <a:spLocks noGrp="1"/>
          </p:cNvSpPr>
          <p:nvPr>
            <p:ph type="sldNum" sz="quarter" idx="17"/>
          </p:nvPr>
        </p:nvSpPr>
        <p:spPr/>
        <p:txBody>
          <a:bodyPr/>
          <a:lstStyle/>
          <a:p>
            <a:fld id="{FA9C6259-F55B-47A6-AB0B-9E9F0835A2F0}" type="slidenum">
              <a:rPr lang="da-DK" noProof="0" smtClean="0"/>
              <a:pPr/>
              <a:t>‹nr.›</a:t>
            </a:fld>
            <a:endParaRPr lang="da-DK" noProof="0"/>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414750"/>
            <a:ext cx="3775076" cy="576000"/>
          </a:xfrm>
        </p:spPr>
        <p:txBody>
          <a:bodyPr lIns="0"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5" name="Pladsholder til diagram 6">
            <a:extLst>
              <a:ext uri="{FF2B5EF4-FFF2-40B4-BE49-F238E27FC236}">
                <a16:creationId xmlns:a16="http://schemas.microsoft.com/office/drawing/2014/main" id="{14D904DA-7A51-1AFE-8F7D-6D6101DB4105}"/>
              </a:ext>
            </a:extLst>
          </p:cNvPr>
          <p:cNvSpPr>
            <a:spLocks noGrp="1"/>
          </p:cNvSpPr>
          <p:nvPr>
            <p:ph type="chart" sz="quarter" idx="18"/>
          </p:nvPr>
        </p:nvSpPr>
        <p:spPr>
          <a:xfrm>
            <a:off x="5152319" y="3450754"/>
            <a:ext cx="6614556" cy="2664000"/>
          </a:xfrm>
        </p:spPr>
        <p:txBody>
          <a:bodyPr/>
          <a:lstStyle/>
          <a:p>
            <a:r>
              <a:rPr lang="da-DK" noProof="0"/>
              <a:t>Klik på ikonet for at tilføje et diagram</a:t>
            </a:r>
          </a:p>
        </p:txBody>
      </p:sp>
      <p:sp>
        <p:nvSpPr>
          <p:cNvPr id="4" name="Title 12">
            <a:extLst>
              <a:ext uri="{FF2B5EF4-FFF2-40B4-BE49-F238E27FC236}">
                <a16:creationId xmlns:a16="http://schemas.microsoft.com/office/drawing/2014/main" id="{EC366CA4-3D12-B1FA-C0F1-1146898E22AA}"/>
              </a:ext>
            </a:extLst>
          </p:cNvPr>
          <p:cNvSpPr>
            <a:spLocks noGrp="1"/>
          </p:cNvSpPr>
          <p:nvPr>
            <p:ph type="title" hasCustomPrompt="1"/>
          </p:nvPr>
        </p:nvSpPr>
        <p:spPr>
          <a:xfrm>
            <a:off x="431799" y="431800"/>
            <a:ext cx="3775075"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1675728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iagram 2">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7ED0435C-DCD8-00E5-E76C-4CEB12F79B38}"/>
              </a:ext>
            </a:extLst>
          </p:cNvPr>
          <p:cNvSpPr>
            <a:spLocks noGrp="1"/>
          </p:cNvSpPr>
          <p:nvPr>
            <p:ph type="dt" sz="half" idx="15"/>
          </p:nvPr>
        </p:nvSpPr>
        <p:spPr/>
        <p:txBody>
          <a:bodyPr/>
          <a:lstStyle/>
          <a:p>
            <a:fld id="{211F67FE-D1FB-4510-ABE1-6575B85839D5}" type="datetime1">
              <a:rPr lang="da-DK" noProof="0" smtClean="0"/>
              <a:t>16-03-2026</a:t>
            </a:fld>
            <a:endParaRPr lang="da-DK" noProof="0"/>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noProof="0"/>
          </a:p>
        </p:txBody>
      </p:sp>
      <p:sp>
        <p:nvSpPr>
          <p:cNvPr id="9" name="Slide Number Placeholder 8">
            <a:extLst>
              <a:ext uri="{FF2B5EF4-FFF2-40B4-BE49-F238E27FC236}">
                <a16:creationId xmlns:a16="http://schemas.microsoft.com/office/drawing/2014/main" id="{79AD1462-A3E1-40E6-B2B0-CB733C384D90}"/>
              </a:ext>
            </a:extLst>
          </p:cNvPr>
          <p:cNvSpPr>
            <a:spLocks noGrp="1"/>
          </p:cNvSpPr>
          <p:nvPr>
            <p:ph type="sldNum" sz="quarter" idx="17"/>
          </p:nvPr>
        </p:nvSpPr>
        <p:spPr/>
        <p:txBody>
          <a:bodyPr/>
          <a:lstStyle/>
          <a:p>
            <a:fld id="{FA9C6259-F55B-47A6-AB0B-9E9F0835A2F0}" type="slidenum">
              <a:rPr lang="da-DK" noProof="0" smtClean="0"/>
              <a:pPr/>
              <a:t>‹nr.›</a:t>
            </a:fld>
            <a:endParaRPr lang="da-DK" noProof="0"/>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4" name="Title 12">
            <a:extLst>
              <a:ext uri="{FF2B5EF4-FFF2-40B4-BE49-F238E27FC236}">
                <a16:creationId xmlns:a16="http://schemas.microsoft.com/office/drawing/2014/main" id="{271B2AA6-E7C2-D7D1-1979-13246170887D}"/>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5"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431798" y="2026507"/>
            <a:ext cx="11326813" cy="4101806"/>
          </a:xfrm>
        </p:spPr>
        <p:txBody>
          <a:bodyPr/>
          <a:lstStyle/>
          <a:p>
            <a:r>
              <a:rPr lang="da-DK" noProof="0"/>
              <a:t>Klik på ikonet for at tilføje et diagram</a:t>
            </a:r>
          </a:p>
        </p:txBody>
      </p:sp>
    </p:spTree>
    <p:extLst>
      <p:ext uri="{BB962C8B-B14F-4D97-AF65-F5344CB8AC3E}">
        <p14:creationId xmlns:p14="http://schemas.microsoft.com/office/powerpoint/2010/main" val="207022621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el + undertitel">
    <p:bg>
      <p:bgPr>
        <a:solidFill>
          <a:schemeClr val="bg1"/>
        </a:solidFill>
        <a:effectLst/>
      </p:bgPr>
    </p:bg>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28FAA754-24BD-1A67-A780-7D8496CEC1D2}"/>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2" name="Date Placeholder 1">
            <a:extLst>
              <a:ext uri="{FF2B5EF4-FFF2-40B4-BE49-F238E27FC236}">
                <a16:creationId xmlns:a16="http://schemas.microsoft.com/office/drawing/2014/main" id="{1D2DB66E-02E7-2A8D-D03B-3C00E434A96C}"/>
              </a:ext>
            </a:extLst>
          </p:cNvPr>
          <p:cNvSpPr>
            <a:spLocks noGrp="1"/>
          </p:cNvSpPr>
          <p:nvPr>
            <p:ph type="dt" sz="half" idx="10"/>
          </p:nvPr>
        </p:nvSpPr>
        <p:spPr/>
        <p:txBody>
          <a:bodyPr/>
          <a:lstStyle/>
          <a:p>
            <a:fld id="{BB0C8DC8-BF57-4320-9959-91DF99E745D4}" type="datetime1">
              <a:rPr lang="da-DK" noProof="0" smtClean="0"/>
              <a:t>16-03-2026</a:t>
            </a:fld>
            <a:endParaRPr lang="da-DK" noProof="0"/>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noProof="0"/>
          </a:p>
        </p:txBody>
      </p:sp>
      <p:sp>
        <p:nvSpPr>
          <p:cNvPr id="4" name="Slide Number Placeholder 3">
            <a:extLst>
              <a:ext uri="{FF2B5EF4-FFF2-40B4-BE49-F238E27FC236}">
                <a16:creationId xmlns:a16="http://schemas.microsoft.com/office/drawing/2014/main" id="{C7A84AD7-DEB8-76C1-8311-45C672833B54}"/>
              </a:ext>
            </a:extLst>
          </p:cNvPr>
          <p:cNvSpPr>
            <a:spLocks noGrp="1"/>
          </p:cNvSpPr>
          <p:nvPr>
            <p:ph type="sldNum" sz="quarter" idx="12"/>
          </p:nvPr>
        </p:nvSpPr>
        <p:spPr/>
        <p:txBody>
          <a:bodyPr/>
          <a:lstStyle/>
          <a:p>
            <a:fld id="{FA9C6259-F55B-47A6-AB0B-9E9F0835A2F0}" type="slidenum">
              <a:rPr lang="da-DK" noProof="0" smtClean="0"/>
              <a:pPr/>
              <a:t>‹nr.›</a:t>
            </a:fld>
            <a:endParaRPr lang="da-DK" noProof="0"/>
          </a:p>
        </p:txBody>
      </p:sp>
      <p:sp>
        <p:nvSpPr>
          <p:cNvPr id="5" name="Title 12">
            <a:extLst>
              <a:ext uri="{FF2B5EF4-FFF2-40B4-BE49-F238E27FC236}">
                <a16:creationId xmlns:a16="http://schemas.microsoft.com/office/drawing/2014/main" id="{46E026C3-3A91-E1B9-412C-1A5EC27E9BD4}"/>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349939783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Kun titel ">
    <p:bg>
      <p:bgPr>
        <a:solidFill>
          <a:schemeClr val="bg1"/>
        </a:solidFill>
        <a:effectLst/>
      </p:bgPr>
    </p:bg>
    <p:spTree>
      <p:nvGrpSpPr>
        <p:cNvPr id="1" name=""/>
        <p:cNvGrpSpPr/>
        <p:nvPr/>
      </p:nvGrpSpPr>
      <p:grpSpPr>
        <a:xfrm>
          <a:off x="0" y="0"/>
          <a:ext cx="0" cy="0"/>
          <a:chOff x="0" y="0"/>
          <a:chExt cx="0" cy="0"/>
        </a:xfrm>
      </p:grpSpPr>
      <p:sp>
        <p:nvSpPr>
          <p:cNvPr id="13" name="Titel 1">
            <a:extLst>
              <a:ext uri="{FF2B5EF4-FFF2-40B4-BE49-F238E27FC236}">
                <a16:creationId xmlns:a16="http://schemas.microsoft.com/office/drawing/2014/main" id="{9833738D-1655-2E01-2D96-CF62BAEF1D8B}"/>
              </a:ext>
            </a:extLst>
          </p:cNvPr>
          <p:cNvSpPr>
            <a:spLocks noGrp="1"/>
          </p:cNvSpPr>
          <p:nvPr>
            <p:ph type="title" hasCustomPrompt="1"/>
          </p:nvPr>
        </p:nvSpPr>
        <p:spPr>
          <a:xfrm>
            <a:off x="1343025" y="3429000"/>
            <a:ext cx="10415588" cy="2700338"/>
          </a:xfrm>
          <a:prstGeom prst="rect">
            <a:avLst/>
          </a:prstGeom>
        </p:spPr>
        <p:txBody>
          <a:bodyPr>
            <a:noAutofit/>
          </a:bodyPr>
          <a:lstStyle>
            <a:lvl1pPr>
              <a:defRPr sz="4800"/>
            </a:lvl1pPr>
          </a:lstStyle>
          <a:p>
            <a:r>
              <a:rPr lang="da-DK" noProof="0"/>
              <a:t>Klik for at redigere titeltypografien i masteren </a:t>
            </a:r>
          </a:p>
        </p:txBody>
      </p:sp>
      <p:sp>
        <p:nvSpPr>
          <p:cNvPr id="2" name="Date Placeholder 1">
            <a:extLst>
              <a:ext uri="{FF2B5EF4-FFF2-40B4-BE49-F238E27FC236}">
                <a16:creationId xmlns:a16="http://schemas.microsoft.com/office/drawing/2014/main" id="{1D2DB66E-02E7-2A8D-D03B-3C00E434A96C}"/>
              </a:ext>
            </a:extLst>
          </p:cNvPr>
          <p:cNvSpPr>
            <a:spLocks noGrp="1"/>
          </p:cNvSpPr>
          <p:nvPr>
            <p:ph type="dt" sz="half" idx="10"/>
          </p:nvPr>
        </p:nvSpPr>
        <p:spPr/>
        <p:txBody>
          <a:bodyPr/>
          <a:lstStyle/>
          <a:p>
            <a:fld id="{B2EA7A3B-215B-4532-A986-91737798BE74}" type="datetime1">
              <a:rPr lang="da-DK" noProof="0" smtClean="0"/>
              <a:t>16-03-2026</a:t>
            </a:fld>
            <a:endParaRPr lang="da-DK" noProof="0"/>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noProof="0"/>
          </a:p>
        </p:txBody>
      </p:sp>
      <p:sp>
        <p:nvSpPr>
          <p:cNvPr id="4" name="Slide Number Placeholder 3">
            <a:extLst>
              <a:ext uri="{FF2B5EF4-FFF2-40B4-BE49-F238E27FC236}">
                <a16:creationId xmlns:a16="http://schemas.microsoft.com/office/drawing/2014/main" id="{C7A84AD7-DEB8-76C1-8311-45C672833B54}"/>
              </a:ext>
            </a:extLst>
          </p:cNvPr>
          <p:cNvSpPr>
            <a:spLocks noGrp="1"/>
          </p:cNvSpPr>
          <p:nvPr>
            <p:ph type="sldNum" sz="quarter" idx="12"/>
          </p:nvPr>
        </p:nvSpPr>
        <p:spPr/>
        <p:txBody>
          <a:bodyPr/>
          <a:lstStyle/>
          <a:p>
            <a:fld id="{FA9C6259-F55B-47A6-AB0B-9E9F0835A2F0}" type="slidenum">
              <a:rPr lang="da-DK" noProof="0" smtClean="0"/>
              <a:pPr/>
              <a:t>‹nr.›</a:t>
            </a:fld>
            <a:endParaRPr lang="da-DK" noProof="0"/>
          </a:p>
        </p:txBody>
      </p:sp>
    </p:spTree>
    <p:extLst>
      <p:ext uri="{BB962C8B-B14F-4D97-AF65-F5344CB8AC3E}">
        <p14:creationId xmlns:p14="http://schemas.microsoft.com/office/powerpoint/2010/main" val="56491177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Konklusion/sidste side">
    <p:bg>
      <p:bgPr>
        <a:solidFill>
          <a:schemeClr val="bg1"/>
        </a:solidFill>
        <a:effectLst/>
      </p:bgPr>
    </p:bg>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5499103" y="431800"/>
            <a:ext cx="7920000" cy="792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7038975" y="2457338"/>
            <a:ext cx="4719638" cy="2160000"/>
          </a:xfrm>
          <a:prstGeom prst="rect">
            <a:avLst/>
          </a:prstGeom>
        </p:spPr>
        <p:txBody>
          <a:bodyPr anchor="b">
            <a:noAutofit/>
          </a:bodyPr>
          <a:lstStyle>
            <a:lvl1pPr algn="l">
              <a:defRPr sz="4800"/>
            </a:lvl1pPr>
          </a:lstStyle>
          <a:p>
            <a:r>
              <a:rPr lang="da-DK" noProof="0"/>
              <a:t>Klik for at redigere titeltypografien i masteren</a:t>
            </a:r>
          </a:p>
        </p:txBody>
      </p:sp>
      <p:sp>
        <p:nvSpPr>
          <p:cNvPr id="4" name="Date Placeholder 3">
            <a:extLst>
              <a:ext uri="{FF2B5EF4-FFF2-40B4-BE49-F238E27FC236}">
                <a16:creationId xmlns:a16="http://schemas.microsoft.com/office/drawing/2014/main" id="{4C4CE7D8-6EC0-2491-8806-3C1E5919B56A}"/>
              </a:ext>
            </a:extLst>
          </p:cNvPr>
          <p:cNvSpPr>
            <a:spLocks noGrp="1"/>
          </p:cNvSpPr>
          <p:nvPr>
            <p:ph type="dt" sz="half" idx="10"/>
          </p:nvPr>
        </p:nvSpPr>
        <p:spPr/>
        <p:txBody>
          <a:bodyPr/>
          <a:lstStyle/>
          <a:p>
            <a:fld id="{7AED4884-017D-4DAA-B5D0-15AAF27C520B}" type="datetime1">
              <a:rPr lang="da-DK" noProof="0" smtClean="0"/>
              <a:t>16-03-2026</a:t>
            </a:fld>
            <a:endParaRPr lang="da-DK" noProof="0"/>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DEDDE538-0CB7-902A-4AB4-ACEC925EBE81}"/>
              </a:ext>
            </a:extLst>
          </p:cNvPr>
          <p:cNvSpPr>
            <a:spLocks noGrp="1"/>
          </p:cNvSpPr>
          <p:nvPr>
            <p:ph type="sldNum" sz="quarter" idx="12"/>
          </p:nvPr>
        </p:nvSpPr>
        <p:spPr/>
        <p:txBody>
          <a:bodyPr/>
          <a:lstStyle/>
          <a:p>
            <a:fld id="{FA9C6259-F55B-47A6-AB0B-9E9F0835A2F0}" type="slidenum">
              <a:rPr lang="da-DK" noProof="0" smtClean="0"/>
              <a:pPr/>
              <a:t>‹nr.›</a:t>
            </a:fld>
            <a:endParaRPr lang="da-DK" noProof="0"/>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7038976" y="4617338"/>
            <a:ext cx="4719638" cy="1512000"/>
          </a:xfrm>
        </p:spPr>
        <p:txBody>
          <a:bodyPr lIns="36000" anchor="t">
            <a:noAutofit/>
          </a:bodyPr>
          <a:lstStyle>
            <a:lvl1pPr marL="342900" indent="-342900" algn="l">
              <a:lnSpc>
                <a:spcPct val="120000"/>
              </a:lnSpc>
              <a:spcBef>
                <a:spcPts val="0"/>
              </a:spcBef>
              <a:buFont typeface="+mj-lt"/>
              <a:buAutoNum type="arabicPeriod"/>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pic>
        <p:nvPicPr>
          <p:cNvPr id="3" name="Graphic 2">
            <a:extLst>
              <a:ext uri="{FF2B5EF4-FFF2-40B4-BE49-F238E27FC236}">
                <a16:creationId xmlns:a16="http://schemas.microsoft.com/office/drawing/2014/main" id="{B706AD55-435D-6AC1-C02A-509C8CC7669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30133"/>
            <a:ext cx="1440000" cy="144482"/>
          </a:xfrm>
          <a:prstGeom prst="rect">
            <a:avLst/>
          </a:prstGeom>
        </p:spPr>
      </p:pic>
    </p:spTree>
    <p:extLst>
      <p:ext uri="{BB962C8B-B14F-4D97-AF65-F5344CB8AC3E}">
        <p14:creationId xmlns:p14="http://schemas.microsoft.com/office/powerpoint/2010/main" val="334182282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44FE01F-05B3-141E-3A3D-047B8BE685C2}"/>
              </a:ext>
            </a:extLst>
          </p:cNvPr>
          <p:cNvSpPr>
            <a:spLocks noGrp="1"/>
          </p:cNvSpPr>
          <p:nvPr>
            <p:ph type="dt" sz="half" idx="10"/>
          </p:nvPr>
        </p:nvSpPr>
        <p:spPr/>
        <p:txBody>
          <a:bodyPr/>
          <a:lstStyle/>
          <a:p>
            <a:fld id="{82C0AAFA-96FA-4890-AA56-F874AA14C84B}" type="datetime1">
              <a:rPr lang="da-DK" noProof="0" smtClean="0"/>
              <a:t>16-03-2026</a:t>
            </a:fld>
            <a:endParaRPr lang="da-DK" noProof="0"/>
          </a:p>
        </p:txBody>
      </p:sp>
      <p:sp>
        <p:nvSpPr>
          <p:cNvPr id="6" name="Footer Placeholder 5">
            <a:extLst>
              <a:ext uri="{FF2B5EF4-FFF2-40B4-BE49-F238E27FC236}">
                <a16:creationId xmlns:a16="http://schemas.microsoft.com/office/drawing/2014/main" id="{3090F1F2-3AE0-677B-B191-BA5C5084BA79}"/>
              </a:ext>
            </a:extLst>
          </p:cNvPr>
          <p:cNvSpPr>
            <a:spLocks noGrp="1"/>
          </p:cNvSpPr>
          <p:nvPr>
            <p:ph type="ftr" sz="quarter" idx="11"/>
          </p:nvPr>
        </p:nvSpPr>
        <p:spPr/>
        <p:txBody>
          <a:bodyPr/>
          <a:lstStyle/>
          <a:p>
            <a:endParaRPr lang="da-DK" noProof="0"/>
          </a:p>
        </p:txBody>
      </p:sp>
      <p:sp>
        <p:nvSpPr>
          <p:cNvPr id="7" name="Slide Number Placeholder 6">
            <a:extLst>
              <a:ext uri="{FF2B5EF4-FFF2-40B4-BE49-F238E27FC236}">
                <a16:creationId xmlns:a16="http://schemas.microsoft.com/office/drawing/2014/main" id="{CC039739-61FF-0729-466D-1BA3D0939D16}"/>
              </a:ext>
            </a:extLst>
          </p:cNvPr>
          <p:cNvSpPr>
            <a:spLocks noGrp="1"/>
          </p:cNvSpPr>
          <p:nvPr>
            <p:ph type="sldNum" sz="quarter" idx="12"/>
          </p:nvPr>
        </p:nvSpPr>
        <p:spPr/>
        <p:txBody>
          <a:bodyPr/>
          <a:lstStyle/>
          <a:p>
            <a:fld id="{FA9C6259-F55B-47A6-AB0B-9E9F0835A2F0}" type="slidenum">
              <a:rPr lang="da-DK" noProof="0" smtClean="0"/>
              <a:pPr/>
              <a:t>‹nr.›</a:t>
            </a:fld>
            <a:endParaRPr lang="da-DK" noProof="0"/>
          </a:p>
        </p:txBody>
      </p:sp>
    </p:spTree>
    <p:extLst>
      <p:ext uri="{BB962C8B-B14F-4D97-AF65-F5344CB8AC3E}">
        <p14:creationId xmlns:p14="http://schemas.microsoft.com/office/powerpoint/2010/main" val="378020321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bg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B39A03-0C51-0B8A-9E8B-8E35B30E26EF}"/>
              </a:ext>
            </a:extLst>
          </p:cNvPr>
          <p:cNvSpPr>
            <a:spLocks noGrp="1"/>
          </p:cNvSpPr>
          <p:nvPr>
            <p:ph type="dt" sz="half" idx="10"/>
          </p:nvPr>
        </p:nvSpPr>
        <p:spPr/>
        <p:txBody>
          <a:bodyPr/>
          <a:lstStyle/>
          <a:p>
            <a:fld id="{2FF443B1-60D5-4BC0-A4C4-BE84C1ADD243}" type="datetime1">
              <a:rPr lang="da-DK" noProof="0" smtClean="0"/>
              <a:t>16-03-2026</a:t>
            </a:fld>
            <a:endParaRPr lang="da-DK" noProof="0"/>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AF52A892-3C3A-81B2-F030-F5D87B444B7F}"/>
              </a:ext>
            </a:extLst>
          </p:cNvPr>
          <p:cNvSpPr>
            <a:spLocks noGrp="1"/>
          </p:cNvSpPr>
          <p:nvPr>
            <p:ph type="sldNum" sz="quarter" idx="12"/>
          </p:nvPr>
        </p:nvSpPr>
        <p:spPr/>
        <p:txBody>
          <a:bodyPr/>
          <a:lstStyle/>
          <a:p>
            <a:fld id="{FA9C6259-F55B-47A6-AB0B-9E9F0835A2F0}" type="slidenum">
              <a:rPr lang="da-DK" noProof="0" smtClean="0"/>
              <a:pPr/>
              <a:t>‹nr.›</a:t>
            </a:fld>
            <a:endParaRPr lang="da-DK" noProof="0"/>
          </a:p>
        </p:txBody>
      </p:sp>
      <p:sp>
        <p:nvSpPr>
          <p:cNvPr id="3" name="Subtitle 2">
            <a:extLst>
              <a:ext uri="{FF2B5EF4-FFF2-40B4-BE49-F238E27FC236}">
                <a16:creationId xmlns:a16="http://schemas.microsoft.com/office/drawing/2014/main" id="{48194491-1241-453F-7501-6382C4C29CA4}"/>
              </a:ext>
            </a:extLst>
          </p:cNvPr>
          <p:cNvSpPr>
            <a:spLocks noGrp="1"/>
          </p:cNvSpPr>
          <p:nvPr>
            <p:ph type="subTitle" idx="1"/>
          </p:nvPr>
        </p:nvSpPr>
        <p:spPr>
          <a:xfrm>
            <a:off x="431798" y="1656000"/>
            <a:ext cx="11326815" cy="4473338"/>
          </a:xfrm>
        </p:spPr>
        <p:txBody>
          <a:bodyPr numCol="3" spcCol="144000" anchor="t">
            <a:noAutofit/>
          </a:bodyPr>
          <a:lstStyle>
            <a:lvl1pPr marL="0" indent="0" algn="l">
              <a:lnSpc>
                <a:spcPct val="120000"/>
              </a:lnSpc>
              <a:spcBef>
                <a:spcPts val="0"/>
              </a:spcBef>
              <a:buFont typeface="Arial" panose="020B0604020202020204" pitchFamily="34" charset="0"/>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5" name="Title 12">
            <a:extLst>
              <a:ext uri="{FF2B5EF4-FFF2-40B4-BE49-F238E27FC236}">
                <a16:creationId xmlns:a16="http://schemas.microsoft.com/office/drawing/2014/main" id="{FDAF7E88-9764-D25E-F5F5-32CDA064F806}"/>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79909475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Hvid baggrund">
    <p:bg>
      <p:bgPr>
        <a:solidFill>
          <a:srgbClr val="FFFFFF"/>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2BDC76B8-60F6-62D3-9F73-E81662203017}"/>
              </a:ext>
            </a:extLst>
          </p:cNvPr>
          <p:cNvSpPr>
            <a:spLocks noGrp="1"/>
          </p:cNvSpPr>
          <p:nvPr userDrawn="1">
            <p:ph type="subTitle" idx="1"/>
          </p:nvPr>
        </p:nvSpPr>
        <p:spPr>
          <a:xfrm>
            <a:off x="431798" y="1656000"/>
            <a:ext cx="11326815" cy="4473338"/>
          </a:xfrm>
        </p:spPr>
        <p:txBody>
          <a:bodyPr numCol="3" spcCol="144000" anchor="t">
            <a:noAutofit/>
          </a:bodyPr>
          <a:lstStyle>
            <a:lvl1pPr marL="0" indent="0" algn="l">
              <a:lnSpc>
                <a:spcPct val="120000"/>
              </a:lnSpc>
              <a:spcBef>
                <a:spcPts val="0"/>
              </a:spcBef>
              <a:buFont typeface="Arial" panose="020B0604020202020204" pitchFamily="34" charset="0"/>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2" name="Date Placeholder 1">
            <a:extLst>
              <a:ext uri="{FF2B5EF4-FFF2-40B4-BE49-F238E27FC236}">
                <a16:creationId xmlns:a16="http://schemas.microsoft.com/office/drawing/2014/main" id="{82B39A03-0C51-0B8A-9E8B-8E35B30E26EF}"/>
              </a:ext>
            </a:extLst>
          </p:cNvPr>
          <p:cNvSpPr>
            <a:spLocks noGrp="1"/>
          </p:cNvSpPr>
          <p:nvPr>
            <p:ph type="dt" sz="half" idx="10"/>
          </p:nvPr>
        </p:nvSpPr>
        <p:spPr/>
        <p:txBody>
          <a:bodyPr/>
          <a:lstStyle/>
          <a:p>
            <a:fld id="{EA39D739-B318-4A5C-8908-6025AE83401A}" type="datetime1">
              <a:rPr lang="da-DK" noProof="0" smtClean="0"/>
              <a:t>16-03-2026</a:t>
            </a:fld>
            <a:endParaRPr lang="da-DK" noProof="0"/>
          </a:p>
        </p:txBody>
      </p:sp>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9" name="Slide Number Placeholder 8">
            <a:extLst>
              <a:ext uri="{FF2B5EF4-FFF2-40B4-BE49-F238E27FC236}">
                <a16:creationId xmlns:a16="http://schemas.microsoft.com/office/drawing/2014/main" id="{AF52A892-3C3A-81B2-F030-F5D87B444B7F}"/>
              </a:ext>
            </a:extLst>
          </p:cNvPr>
          <p:cNvSpPr>
            <a:spLocks noGrp="1"/>
          </p:cNvSpPr>
          <p:nvPr>
            <p:ph type="sldNum" sz="quarter" idx="12"/>
          </p:nvPr>
        </p:nvSpPr>
        <p:spPr/>
        <p:txBody>
          <a:bodyPr/>
          <a:lstStyle/>
          <a:p>
            <a:fld id="{FA9C6259-F55B-47A6-AB0B-9E9F0835A2F0}" type="slidenum">
              <a:rPr lang="da-DK" noProof="0" smtClean="0"/>
              <a:pPr/>
              <a:t>‹nr.›</a:t>
            </a:fld>
            <a:endParaRPr lang="da-DK" noProof="0"/>
          </a:p>
        </p:txBody>
      </p:sp>
      <p:sp>
        <p:nvSpPr>
          <p:cNvPr id="5" name="Title 12">
            <a:extLst>
              <a:ext uri="{FF2B5EF4-FFF2-40B4-BE49-F238E27FC236}">
                <a16:creationId xmlns:a16="http://schemas.microsoft.com/office/drawing/2014/main" id="{F5D34E66-28FF-1EF0-A52B-001830E65E89}"/>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Tree>
    <p:extLst>
      <p:ext uri="{BB962C8B-B14F-4D97-AF65-F5344CB8AC3E}">
        <p14:creationId xmlns:p14="http://schemas.microsoft.com/office/powerpoint/2010/main" val="337585542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 spalte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noProof="0"/>
              <a:t>Klik for at redigere titeltypografien i masteren</a:t>
            </a:r>
          </a:p>
        </p:txBody>
      </p:sp>
      <p:sp>
        <p:nvSpPr>
          <p:cNvPr id="3" name="Content Placeholder 2"/>
          <p:cNvSpPr>
            <a:spLocks noGrp="1"/>
          </p:cNvSpPr>
          <p:nvPr>
            <p:ph idx="1" hasCustomPrompt="1"/>
          </p:nvPr>
        </p:nvSpPr>
        <p:spPr/>
        <p:txBody>
          <a:bodyPr/>
          <a:lstStyle>
            <a:lvl1pPr>
              <a:defRPr/>
            </a:lvl1p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8" name="Pladsholder til indhold 30">
            <a:extLst>
              <a:ext uri="{FF2B5EF4-FFF2-40B4-BE49-F238E27FC236}">
                <a16:creationId xmlns:a16="http://schemas.microsoft.com/office/drawing/2014/main" id="{D9A3C91C-8ECC-4700-93EE-AB873B7B3C4D}"/>
              </a:ext>
            </a:extLst>
          </p:cNvPr>
          <p:cNvSpPr>
            <a:spLocks noGrp="1"/>
          </p:cNvSpPr>
          <p:nvPr>
            <p:ph sz="quarter" idx="43" hasCustomPrompt="1"/>
          </p:nvPr>
        </p:nvSpPr>
        <p:spPr>
          <a:xfrm>
            <a:off x="358775" y="5957888"/>
            <a:ext cx="11472863" cy="179387"/>
          </a:xfrm>
        </p:spPr>
        <p:txBody>
          <a:bodyPr anchor="b" anchorCtr="0"/>
          <a:lstStyle>
            <a:lvl1pPr marL="0" indent="0">
              <a:buFontTx/>
              <a:buNone/>
              <a:defRPr sz="800" b="0" i="1"/>
            </a:lvl1pPr>
            <a:lvl2pPr marL="0" indent="0">
              <a:buFontTx/>
              <a:buNone/>
              <a:defRPr sz="800" b="0" i="1"/>
            </a:lvl2pPr>
            <a:lvl3pPr marL="0" indent="0">
              <a:buFontTx/>
              <a:buNone/>
              <a:defRPr sz="800" b="0" i="1"/>
            </a:lvl3pPr>
            <a:lvl4pPr marL="0" indent="0">
              <a:buFontTx/>
              <a:buNone/>
              <a:defRPr sz="800" b="0" i="1"/>
            </a:lvl4pPr>
            <a:lvl5pPr marL="0" indent="0">
              <a:buFontTx/>
              <a:buNone/>
              <a:defRPr sz="800" b="0" i="1"/>
            </a:lvl5pPr>
          </a:lstStyle>
          <a:p>
            <a:pPr lvl="0"/>
            <a:r>
              <a:rPr lang="da-DK"/>
              <a:t>Klik for at tilføje notetekst</a:t>
            </a:r>
          </a:p>
        </p:txBody>
      </p:sp>
      <p:sp>
        <p:nvSpPr>
          <p:cNvPr id="9" name="Slide Number Placeholder 8">
            <a:extLst>
              <a:ext uri="{FF2B5EF4-FFF2-40B4-BE49-F238E27FC236}">
                <a16:creationId xmlns:a16="http://schemas.microsoft.com/office/drawing/2014/main" id="{7EF78581-ECF4-4EF5-9368-9774A00A7EA8}"/>
              </a:ext>
            </a:extLst>
          </p:cNvPr>
          <p:cNvSpPr>
            <a:spLocks noGrp="1"/>
          </p:cNvSpPr>
          <p:nvPr>
            <p:ph type="sldNum" sz="quarter" idx="12"/>
          </p:nvPr>
        </p:nvSpPr>
        <p:spPr/>
        <p:txBody>
          <a:bodyPr/>
          <a:lstStyle/>
          <a:p>
            <a:fld id="{23AA811B-2EBD-4900-905E-5BE206449611}" type="slidenum">
              <a:rPr lang="da-DK" smtClean="0"/>
              <a:pPr/>
              <a:t>‹nr.›</a:t>
            </a:fld>
            <a:endParaRPr lang="da-DK"/>
          </a:p>
        </p:txBody>
      </p:sp>
      <p:sp>
        <p:nvSpPr>
          <p:cNvPr id="10" name="Date Placeholder 9">
            <a:extLst>
              <a:ext uri="{FF2B5EF4-FFF2-40B4-BE49-F238E27FC236}">
                <a16:creationId xmlns:a16="http://schemas.microsoft.com/office/drawing/2014/main" id="{343A3E2D-3CEE-4EF1-B38F-DD2C041C42DD}"/>
              </a:ext>
            </a:extLst>
          </p:cNvPr>
          <p:cNvSpPr>
            <a:spLocks noGrp="1"/>
          </p:cNvSpPr>
          <p:nvPr>
            <p:ph type="dt" sz="half" idx="13"/>
          </p:nvPr>
        </p:nvSpPr>
        <p:spPr/>
        <p:txBody>
          <a:bodyPr/>
          <a:lstStyle/>
          <a:p>
            <a:fld id="{ADC98290-A44B-4539-A694-F7FEAC9C739E}" type="datetime1">
              <a:rPr lang="da-DK" smtClean="0"/>
              <a:t>16-03-2026</a:t>
            </a:fld>
            <a:endParaRPr lang="da-DK"/>
          </a:p>
        </p:txBody>
      </p:sp>
      <p:sp>
        <p:nvSpPr>
          <p:cNvPr id="11" name="Footer Placeholder 10">
            <a:extLst>
              <a:ext uri="{FF2B5EF4-FFF2-40B4-BE49-F238E27FC236}">
                <a16:creationId xmlns:a16="http://schemas.microsoft.com/office/drawing/2014/main" id="{FF87DD96-4C54-492F-A175-8E9CB1721B61}"/>
              </a:ext>
            </a:extLst>
          </p:cNvPr>
          <p:cNvSpPr>
            <a:spLocks noGrp="1"/>
          </p:cNvSpPr>
          <p:nvPr>
            <p:ph type="ftr" sz="quarter" idx="14"/>
          </p:nvPr>
        </p:nvSpPr>
        <p:spPr/>
        <p:txBody>
          <a:bodyPr/>
          <a:lstStyle/>
          <a:p>
            <a:endParaRPr lang="da-DK"/>
          </a:p>
        </p:txBody>
      </p:sp>
    </p:spTree>
    <p:extLst>
      <p:ext uri="{BB962C8B-B14F-4D97-AF65-F5344CB8AC3E}">
        <p14:creationId xmlns:p14="http://schemas.microsoft.com/office/powerpoint/2010/main" val="182055993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Forside stort foto">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5151438" y="3305251"/>
            <a:ext cx="4320000" cy="432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13" name="Pladsholder til billede 12">
            <a:extLst>
              <a:ext uri="{FF2B5EF4-FFF2-40B4-BE49-F238E27FC236}">
                <a16:creationId xmlns:a16="http://schemas.microsoft.com/office/drawing/2014/main" id="{B4BB3258-0B60-1552-4805-6DF2745AB181}"/>
              </a:ext>
            </a:extLst>
          </p:cNvPr>
          <p:cNvSpPr>
            <a:spLocks noGrp="1"/>
          </p:cNvSpPr>
          <p:nvPr>
            <p:ph type="pic" sz="quarter" idx="14"/>
          </p:nvPr>
        </p:nvSpPr>
        <p:spPr>
          <a:xfrm>
            <a:off x="6431999" y="766"/>
            <a:ext cx="5760000" cy="5759234"/>
          </a:xfrm>
          <a:custGeom>
            <a:avLst/>
            <a:gdLst>
              <a:gd name="connsiteX0" fmla="*/ 246529 w 5760000"/>
              <a:gd name="connsiteY0" fmla="*/ 0 h 5759234"/>
              <a:gd name="connsiteX1" fmla="*/ 5760000 w 5760000"/>
              <a:gd name="connsiteY1" fmla="*/ 0 h 5759234"/>
              <a:gd name="connsiteX2" fmla="*/ 5760000 w 5760000"/>
              <a:gd name="connsiteY2" fmla="*/ 5512446 h 5759234"/>
              <a:gd name="connsiteX3" fmla="*/ 5604636 w 5760000"/>
              <a:gd name="connsiteY3" fmla="*/ 5565016 h 5759234"/>
              <a:gd name="connsiteX4" fmla="*/ 4320000 w 5760000"/>
              <a:gd name="connsiteY4" fmla="*/ 5759234 h 5759234"/>
              <a:gd name="connsiteX5" fmla="*/ 0 w 5760000"/>
              <a:gd name="connsiteY5" fmla="*/ 1439234 h 5759234"/>
              <a:gd name="connsiteX6" fmla="*/ 194219 w 5760000"/>
              <a:gd name="connsiteY6" fmla="*/ 154598 h 5759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60000" h="5759234">
                <a:moveTo>
                  <a:pt x="246529" y="0"/>
                </a:moveTo>
                <a:lnTo>
                  <a:pt x="5760000" y="0"/>
                </a:lnTo>
                <a:lnTo>
                  <a:pt x="5760000" y="5512446"/>
                </a:lnTo>
                <a:lnTo>
                  <a:pt x="5604636" y="5565016"/>
                </a:lnTo>
                <a:cubicBezTo>
                  <a:pt x="5198820" y="5691238"/>
                  <a:pt x="4767351" y="5759234"/>
                  <a:pt x="4320000" y="5759234"/>
                </a:cubicBezTo>
                <a:cubicBezTo>
                  <a:pt x="1934130" y="5759234"/>
                  <a:pt x="0" y="3825104"/>
                  <a:pt x="0" y="1439234"/>
                </a:cubicBezTo>
                <a:cubicBezTo>
                  <a:pt x="0" y="991884"/>
                  <a:pt x="67997" y="560414"/>
                  <a:pt x="194219" y="154598"/>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a:noAutofit/>
          </a:bodyPr>
          <a:lstStyle/>
          <a:p>
            <a:endParaRPr lang="da-DK" noProof="0"/>
          </a:p>
        </p:txBody>
      </p:sp>
      <p:sp>
        <p:nvSpPr>
          <p:cNvPr id="10" name="Title 1">
            <a:extLst>
              <a:ext uri="{FF2B5EF4-FFF2-40B4-BE49-F238E27FC236}">
                <a16:creationId xmlns:a16="http://schemas.microsoft.com/office/drawing/2014/main" id="{C34E04C9-69D3-EB50-5ED9-9026462005DA}"/>
              </a:ext>
            </a:extLst>
          </p:cNvPr>
          <p:cNvSpPr>
            <a:spLocks noGrp="1"/>
          </p:cNvSpPr>
          <p:nvPr>
            <p:ph type="ctrTitle"/>
          </p:nvPr>
        </p:nvSpPr>
        <p:spPr>
          <a:xfrm>
            <a:off x="431799" y="2088000"/>
            <a:ext cx="7535864" cy="3456000"/>
          </a:xfrm>
        </p:spPr>
        <p:txBody>
          <a:bodyPr anchor="b">
            <a:noAutofit/>
          </a:bodyPr>
          <a:lstStyle>
            <a:lvl1pPr algn="l">
              <a:defRPr sz="4800" b="0" i="0">
                <a:latin typeface="Work Sans Light" pitchFamily="2" charset="77"/>
              </a:defRPr>
            </a:lvl1pPr>
          </a:lstStyle>
          <a:p>
            <a:r>
              <a:rPr lang="da-DK" noProof="0" err="1"/>
              <a:t>Click</a:t>
            </a:r>
            <a:r>
              <a:rPr lang="da-DK" noProof="0"/>
              <a:t> to </a:t>
            </a:r>
            <a:r>
              <a:rPr lang="da-DK" noProof="0" err="1"/>
              <a:t>edit</a:t>
            </a:r>
            <a:r>
              <a:rPr lang="da-DK" noProof="0"/>
              <a:t> Master </a:t>
            </a:r>
            <a:r>
              <a:rPr lang="da-DK" noProof="0" err="1"/>
              <a:t>title</a:t>
            </a:r>
            <a:r>
              <a:rPr lang="da-DK" noProof="0"/>
              <a:t> style</a:t>
            </a:r>
          </a:p>
        </p:txBody>
      </p:sp>
      <p:sp>
        <p:nvSpPr>
          <p:cNvPr id="18" name="Footer Placeholder 17">
            <a:extLst>
              <a:ext uri="{FF2B5EF4-FFF2-40B4-BE49-F238E27FC236}">
                <a16:creationId xmlns:a16="http://schemas.microsoft.com/office/drawing/2014/main" id="{0EB72483-46D8-AF30-C0D9-889B0ECCCC92}"/>
              </a:ext>
            </a:extLst>
          </p:cNvPr>
          <p:cNvSpPr>
            <a:spLocks noGrp="1"/>
          </p:cNvSpPr>
          <p:nvPr>
            <p:ph type="ftr" sz="quarter" idx="16"/>
          </p:nvPr>
        </p:nvSpPr>
        <p:spPr/>
        <p:txBody>
          <a:bodyPr/>
          <a:lstStyle/>
          <a:p>
            <a:endParaRPr lang="da-DK" noProof="0"/>
          </a:p>
        </p:txBody>
      </p:sp>
      <p:sp>
        <p:nvSpPr>
          <p:cNvPr id="2" name="Subtitle 2">
            <a:extLst>
              <a:ext uri="{FF2B5EF4-FFF2-40B4-BE49-F238E27FC236}">
                <a16:creationId xmlns:a16="http://schemas.microsoft.com/office/drawing/2014/main" id="{EA0C4E0F-96AB-1CC4-4CA1-F997F4CD40A1}"/>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pic>
        <p:nvPicPr>
          <p:cNvPr id="4" name="Graphic 3">
            <a:extLst>
              <a:ext uri="{FF2B5EF4-FFF2-40B4-BE49-F238E27FC236}">
                <a16:creationId xmlns:a16="http://schemas.microsoft.com/office/drawing/2014/main" id="{39D4A5DC-CCA9-9442-65B1-14B23574D71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29600"/>
            <a:ext cx="1435201" cy="144000"/>
          </a:xfrm>
          <a:prstGeom prst="rect">
            <a:avLst/>
          </a:prstGeom>
        </p:spPr>
      </p:pic>
      <p:sp>
        <p:nvSpPr>
          <p:cNvPr id="3" name="Date Placeholder 3">
            <a:extLst>
              <a:ext uri="{FF2B5EF4-FFF2-40B4-BE49-F238E27FC236}">
                <a16:creationId xmlns:a16="http://schemas.microsoft.com/office/drawing/2014/main" id="{2A6CDFBD-D35D-7351-AD4D-221B1F6E5F2B}"/>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5E180755-552F-4A09-AC42-523D713EC2EC}" type="datetime1">
              <a:rPr lang="da-DK" smtClean="0"/>
              <a:t>16-03-2026</a:t>
            </a:fld>
            <a:endParaRPr lang="da-DK"/>
          </a:p>
        </p:txBody>
      </p:sp>
      <p:sp>
        <p:nvSpPr>
          <p:cNvPr id="5" name="Slide Number Placeholder 5">
            <a:extLst>
              <a:ext uri="{FF2B5EF4-FFF2-40B4-BE49-F238E27FC236}">
                <a16:creationId xmlns:a16="http://schemas.microsoft.com/office/drawing/2014/main" id="{25E050D3-615D-7D97-7834-A381561A31D8}"/>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a:p>
        </p:txBody>
      </p:sp>
    </p:spTree>
    <p:extLst>
      <p:ext uri="{BB962C8B-B14F-4D97-AF65-F5344CB8AC3E}">
        <p14:creationId xmlns:p14="http://schemas.microsoft.com/office/powerpoint/2010/main" val="1449009660"/>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1">
    <p:bg>
      <p:bgPr>
        <a:solidFill>
          <a:schemeClr val="bg1"/>
        </a:solidFill>
        <a:effectLst/>
      </p:bgPr>
    </p:bg>
    <p:spTree>
      <p:nvGrpSpPr>
        <p:cNvPr id="1" name=""/>
        <p:cNvGrpSpPr/>
        <p:nvPr/>
      </p:nvGrpSpPr>
      <p:grpSpPr>
        <a:xfrm>
          <a:off x="0" y="0"/>
          <a:ext cx="0" cy="0"/>
          <a:chOff x="0" y="0"/>
          <a:chExt cx="0" cy="0"/>
        </a:xfrm>
      </p:grpSpPr>
      <p:sp>
        <p:nvSpPr>
          <p:cNvPr id="28" name="Pladsholder til tekst 27">
            <a:extLst>
              <a:ext uri="{FF2B5EF4-FFF2-40B4-BE49-F238E27FC236}">
                <a16:creationId xmlns:a16="http://schemas.microsoft.com/office/drawing/2014/main" id="{74399AB2-9F15-DAB9-D5AF-57ADA09960C0}"/>
              </a:ext>
            </a:extLst>
          </p:cNvPr>
          <p:cNvSpPr>
            <a:spLocks noGrp="1"/>
          </p:cNvSpPr>
          <p:nvPr>
            <p:ph type="body" sz="quarter" idx="13" hasCustomPrompt="1"/>
          </p:nvPr>
        </p:nvSpPr>
        <p:spPr>
          <a:xfrm>
            <a:off x="5948079" y="2894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9" name="Pladsholder til indhold 38">
            <a:extLst>
              <a:ext uri="{FF2B5EF4-FFF2-40B4-BE49-F238E27FC236}">
                <a16:creationId xmlns:a16="http://schemas.microsoft.com/office/drawing/2014/main" id="{D4FBA7D3-9EE0-3E27-EC3F-4047A1FED231}"/>
              </a:ext>
            </a:extLst>
          </p:cNvPr>
          <p:cNvSpPr>
            <a:spLocks noGrp="1"/>
          </p:cNvSpPr>
          <p:nvPr>
            <p:ph sz="quarter" idx="21" hasCustomPrompt="1"/>
          </p:nvPr>
        </p:nvSpPr>
        <p:spPr>
          <a:xfrm>
            <a:off x="5156077" y="2894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4" name="Pladsholder til tekst 27">
            <a:extLst>
              <a:ext uri="{FF2B5EF4-FFF2-40B4-BE49-F238E27FC236}">
                <a16:creationId xmlns:a16="http://schemas.microsoft.com/office/drawing/2014/main" id="{9ED5405B-E6D8-0AA4-7093-43C41471FFFC}"/>
              </a:ext>
            </a:extLst>
          </p:cNvPr>
          <p:cNvSpPr>
            <a:spLocks noGrp="1"/>
          </p:cNvSpPr>
          <p:nvPr>
            <p:ph type="body" sz="quarter" idx="22" hasCustomPrompt="1"/>
          </p:nvPr>
        </p:nvSpPr>
        <p:spPr>
          <a:xfrm>
            <a:off x="5948079" y="2030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8" name="Pladsholder til indhold 38">
            <a:extLst>
              <a:ext uri="{FF2B5EF4-FFF2-40B4-BE49-F238E27FC236}">
                <a16:creationId xmlns:a16="http://schemas.microsoft.com/office/drawing/2014/main" id="{089FDB5C-95FC-6228-25A0-FFA44B117D1F}"/>
              </a:ext>
            </a:extLst>
          </p:cNvPr>
          <p:cNvSpPr>
            <a:spLocks noGrp="1"/>
          </p:cNvSpPr>
          <p:nvPr>
            <p:ph sz="quarter" idx="23" hasCustomPrompt="1"/>
          </p:nvPr>
        </p:nvSpPr>
        <p:spPr>
          <a:xfrm>
            <a:off x="5156077" y="2030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10" name="Pladsholder til tekst 27">
            <a:extLst>
              <a:ext uri="{FF2B5EF4-FFF2-40B4-BE49-F238E27FC236}">
                <a16:creationId xmlns:a16="http://schemas.microsoft.com/office/drawing/2014/main" id="{60FFD07F-A2FE-6C41-F11E-A76EC796912E}"/>
              </a:ext>
            </a:extLst>
          </p:cNvPr>
          <p:cNvSpPr>
            <a:spLocks noGrp="1"/>
          </p:cNvSpPr>
          <p:nvPr>
            <p:ph type="body" sz="quarter" idx="24" hasCustomPrompt="1"/>
          </p:nvPr>
        </p:nvSpPr>
        <p:spPr>
          <a:xfrm>
            <a:off x="5948079" y="1166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5156077" y="1166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12" name="Pladsholder til tekst 27">
            <a:extLst>
              <a:ext uri="{FF2B5EF4-FFF2-40B4-BE49-F238E27FC236}">
                <a16:creationId xmlns:a16="http://schemas.microsoft.com/office/drawing/2014/main" id="{E7449D5C-4889-7C85-B135-D9BCC5B3F010}"/>
              </a:ext>
            </a:extLst>
          </p:cNvPr>
          <p:cNvSpPr>
            <a:spLocks noGrp="1"/>
          </p:cNvSpPr>
          <p:nvPr>
            <p:ph type="body" sz="quarter" idx="26" hasCustomPrompt="1"/>
          </p:nvPr>
        </p:nvSpPr>
        <p:spPr>
          <a:xfrm>
            <a:off x="5948079" y="3758811"/>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3" name="Pladsholder til indhold 38">
            <a:extLst>
              <a:ext uri="{FF2B5EF4-FFF2-40B4-BE49-F238E27FC236}">
                <a16:creationId xmlns:a16="http://schemas.microsoft.com/office/drawing/2014/main" id="{BF611594-5934-4853-7B72-D1FAC3DC23DF}"/>
              </a:ext>
            </a:extLst>
          </p:cNvPr>
          <p:cNvSpPr>
            <a:spLocks noGrp="1"/>
          </p:cNvSpPr>
          <p:nvPr>
            <p:ph sz="quarter" idx="27" hasCustomPrompt="1"/>
          </p:nvPr>
        </p:nvSpPr>
        <p:spPr>
          <a:xfrm>
            <a:off x="5156077" y="3758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4</a:t>
            </a:r>
          </a:p>
        </p:txBody>
      </p:sp>
      <p:sp>
        <p:nvSpPr>
          <p:cNvPr id="15" name="Pladsholder til tekst 27">
            <a:extLst>
              <a:ext uri="{FF2B5EF4-FFF2-40B4-BE49-F238E27FC236}">
                <a16:creationId xmlns:a16="http://schemas.microsoft.com/office/drawing/2014/main" id="{3F6B035A-D85E-F504-732F-8690B44F6A86}"/>
              </a:ext>
            </a:extLst>
          </p:cNvPr>
          <p:cNvSpPr>
            <a:spLocks noGrp="1"/>
          </p:cNvSpPr>
          <p:nvPr>
            <p:ph type="body" sz="quarter" idx="28" hasCustomPrompt="1"/>
          </p:nvPr>
        </p:nvSpPr>
        <p:spPr>
          <a:xfrm>
            <a:off x="5948079" y="4631550"/>
            <a:ext cx="3922996"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6" name="Pladsholder til indhold 38">
            <a:extLst>
              <a:ext uri="{FF2B5EF4-FFF2-40B4-BE49-F238E27FC236}">
                <a16:creationId xmlns:a16="http://schemas.microsoft.com/office/drawing/2014/main" id="{6C2CF3A2-B959-2F57-1DB2-791F198185F0}"/>
              </a:ext>
            </a:extLst>
          </p:cNvPr>
          <p:cNvSpPr>
            <a:spLocks noGrp="1"/>
          </p:cNvSpPr>
          <p:nvPr>
            <p:ph sz="quarter" idx="29" hasCustomPrompt="1"/>
          </p:nvPr>
        </p:nvSpPr>
        <p:spPr>
          <a:xfrm>
            <a:off x="5156077" y="4631550"/>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5</a:t>
            </a:r>
          </a:p>
        </p:txBody>
      </p:sp>
      <p:sp>
        <p:nvSpPr>
          <p:cNvPr id="2" name="Date Placeholder 1">
            <a:extLst>
              <a:ext uri="{FF2B5EF4-FFF2-40B4-BE49-F238E27FC236}">
                <a16:creationId xmlns:a16="http://schemas.microsoft.com/office/drawing/2014/main" id="{A6640BC3-7044-B81C-328D-F4BBF2415911}"/>
              </a:ext>
            </a:extLst>
          </p:cNvPr>
          <p:cNvSpPr>
            <a:spLocks noGrp="1"/>
          </p:cNvSpPr>
          <p:nvPr>
            <p:ph type="dt" sz="half" idx="30"/>
          </p:nvPr>
        </p:nvSpPr>
        <p:spPr/>
        <p:txBody>
          <a:bodyPr/>
          <a:lstStyle/>
          <a:p>
            <a:fld id="{9C8DAF18-194E-4BC1-8171-BCEE08F1E7A6}" type="datetime1">
              <a:rPr lang="da-DK" noProof="0" smtClean="0"/>
              <a:t>16-03-2026</a:t>
            </a:fld>
            <a:endParaRPr lang="da-DK" noProof="0"/>
          </a:p>
        </p:txBody>
      </p:sp>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endParaRPr lang="da-DK" noProof="0"/>
          </a:p>
        </p:txBody>
      </p:sp>
      <p:sp>
        <p:nvSpPr>
          <p:cNvPr id="9" name="Slide Number Placeholder 8">
            <a:extLst>
              <a:ext uri="{FF2B5EF4-FFF2-40B4-BE49-F238E27FC236}">
                <a16:creationId xmlns:a16="http://schemas.microsoft.com/office/drawing/2014/main" id="{E40FD786-FCA0-3285-71FC-DCA2042D4260}"/>
              </a:ext>
            </a:extLst>
          </p:cNvPr>
          <p:cNvSpPr>
            <a:spLocks noGrp="1"/>
          </p:cNvSpPr>
          <p:nvPr>
            <p:ph type="sldNum" sz="quarter" idx="32"/>
          </p:nvPr>
        </p:nvSpPr>
        <p:spPr/>
        <p:txBody>
          <a:bodyPr/>
          <a:lstStyle/>
          <a:p>
            <a:fld id="{FA9C6259-F55B-47A6-AB0B-9E9F0835A2F0}" type="slidenum">
              <a:rPr lang="da-DK" noProof="0" smtClean="0"/>
              <a:pPr/>
              <a:t>‹nr.›</a:t>
            </a:fld>
            <a:endParaRPr lang="da-DK" noProof="0"/>
          </a:p>
        </p:txBody>
      </p:sp>
      <p:sp>
        <p:nvSpPr>
          <p:cNvPr id="7" name="Pladsholder til tekst 5">
            <a:extLst>
              <a:ext uri="{FF2B5EF4-FFF2-40B4-BE49-F238E27FC236}">
                <a16:creationId xmlns:a16="http://schemas.microsoft.com/office/drawing/2014/main" id="{6B15978D-A4A6-B675-D35B-D8BF0D7DD6BC}"/>
              </a:ext>
            </a:extLst>
          </p:cNvPr>
          <p:cNvSpPr>
            <a:spLocks noGrp="1"/>
          </p:cNvSpPr>
          <p:nvPr>
            <p:ph type="body" sz="quarter" idx="33" hasCustomPrompt="1"/>
          </p:nvPr>
        </p:nvSpPr>
        <p:spPr>
          <a:xfrm>
            <a:off x="1013036" y="2767869"/>
            <a:ext cx="3498850" cy="738188"/>
          </a:xfrm>
        </p:spPr>
        <p:txBody>
          <a:bodyPr/>
          <a:lstStyle>
            <a:lvl1pPr marL="0" indent="0" algn="r">
              <a:buNone/>
              <a:defRPr sz="4800">
                <a:latin typeface="Work Sans Light" pitchFamily="2" charset="0"/>
              </a:defRPr>
            </a:lvl1pPr>
          </a:lstStyle>
          <a:p>
            <a:pPr lvl="0"/>
            <a:r>
              <a:rPr lang="en-US"/>
              <a:t>Agenda</a:t>
            </a:r>
            <a:endParaRPr lang="da-DK"/>
          </a:p>
        </p:txBody>
      </p:sp>
    </p:spTree>
    <p:extLst>
      <p:ext uri="{BB962C8B-B14F-4D97-AF65-F5344CB8AC3E}">
        <p14:creationId xmlns:p14="http://schemas.microsoft.com/office/powerpoint/2010/main" val="106576167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Forside mellem foto">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41944FA7-AAA6-D86F-6147-BF737C629904}"/>
              </a:ext>
            </a:extLst>
          </p:cNvPr>
          <p:cNvSpPr>
            <a:spLocks noGrp="1"/>
          </p:cNvSpPr>
          <p:nvPr userDrawn="1">
            <p:ph type="ftr" sz="quarter" idx="11"/>
          </p:nvPr>
        </p:nvSpPr>
        <p:spPr/>
        <p:txBody>
          <a:bodyPr/>
          <a:lstStyle/>
          <a:p>
            <a:endParaRPr lang="da-DK" noProof="0"/>
          </a:p>
        </p:txBody>
      </p:sp>
      <p:sp>
        <p:nvSpPr>
          <p:cNvPr id="15" name="Pladsholder til billede 14">
            <a:extLst>
              <a:ext uri="{FF2B5EF4-FFF2-40B4-BE49-F238E27FC236}">
                <a16:creationId xmlns:a16="http://schemas.microsoft.com/office/drawing/2014/main" id="{D4F0A874-BE77-EA98-4884-E920ADA15F98}"/>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endParaRPr lang="da-DK" noProof="0"/>
          </a:p>
        </p:txBody>
      </p:sp>
      <p:sp>
        <p:nvSpPr>
          <p:cNvPr id="10" name="Title 1">
            <a:extLst>
              <a:ext uri="{FF2B5EF4-FFF2-40B4-BE49-F238E27FC236}">
                <a16:creationId xmlns:a16="http://schemas.microsoft.com/office/drawing/2014/main" id="{4F7F7B28-3669-A985-CDFF-1D1034D69153}"/>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err="1"/>
              <a:t>Click</a:t>
            </a:r>
            <a:r>
              <a:rPr lang="da-DK" noProof="0"/>
              <a:t> to </a:t>
            </a:r>
            <a:r>
              <a:rPr lang="da-DK" noProof="0" err="1"/>
              <a:t>edit</a:t>
            </a:r>
            <a:r>
              <a:rPr lang="da-DK" noProof="0"/>
              <a:t> Master </a:t>
            </a:r>
            <a:r>
              <a:rPr lang="da-DK" noProof="0" err="1"/>
              <a:t>title</a:t>
            </a:r>
            <a:r>
              <a:rPr lang="da-DK" noProof="0"/>
              <a:t> style</a:t>
            </a:r>
          </a:p>
        </p:txBody>
      </p:sp>
      <p:sp>
        <p:nvSpPr>
          <p:cNvPr id="2" name="Subtitle 2">
            <a:extLst>
              <a:ext uri="{FF2B5EF4-FFF2-40B4-BE49-F238E27FC236}">
                <a16:creationId xmlns:a16="http://schemas.microsoft.com/office/drawing/2014/main" id="{DA5B75DC-64B3-F2AC-CB73-2BDE14D81F6B}"/>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pic>
        <p:nvPicPr>
          <p:cNvPr id="4" name="Graphic 3">
            <a:extLst>
              <a:ext uri="{FF2B5EF4-FFF2-40B4-BE49-F238E27FC236}">
                <a16:creationId xmlns:a16="http://schemas.microsoft.com/office/drawing/2014/main" id="{126433F0-F19A-6A16-0CB7-52D2C4A5D47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29600"/>
            <a:ext cx="1435201" cy="144000"/>
          </a:xfrm>
          <a:prstGeom prst="rect">
            <a:avLst/>
          </a:prstGeom>
        </p:spPr>
      </p:pic>
      <p:sp>
        <p:nvSpPr>
          <p:cNvPr id="3" name="Date Placeholder 3">
            <a:extLst>
              <a:ext uri="{FF2B5EF4-FFF2-40B4-BE49-F238E27FC236}">
                <a16:creationId xmlns:a16="http://schemas.microsoft.com/office/drawing/2014/main" id="{C2DC901F-686D-AA4F-87BC-550FF86A7496}"/>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56635535-7FB2-4EF6-AA59-EA1FACEFA7E8}" type="datetime1">
              <a:rPr lang="da-DK" smtClean="0"/>
              <a:t>16-03-2026</a:t>
            </a:fld>
            <a:endParaRPr lang="da-DK"/>
          </a:p>
        </p:txBody>
      </p:sp>
      <p:sp>
        <p:nvSpPr>
          <p:cNvPr id="8" name="Slide Number Placeholder 5">
            <a:extLst>
              <a:ext uri="{FF2B5EF4-FFF2-40B4-BE49-F238E27FC236}">
                <a16:creationId xmlns:a16="http://schemas.microsoft.com/office/drawing/2014/main" id="{92F8FE35-13D6-934C-9828-BADB81383BD1}"/>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a:p>
        </p:txBody>
      </p:sp>
    </p:spTree>
    <p:extLst>
      <p:ext uri="{BB962C8B-B14F-4D97-AF65-F5344CB8AC3E}">
        <p14:creationId xmlns:p14="http://schemas.microsoft.com/office/powerpoint/2010/main" val="1866792506"/>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For- og mellemside">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839847" y="1828710"/>
            <a:ext cx="14400000" cy="1440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a:extLst>
              <a:ext uri="{FF2B5EF4-FFF2-40B4-BE49-F238E27FC236}">
                <a16:creationId xmlns:a16="http://schemas.microsoft.com/office/drawing/2014/main" id="{E4336E9A-8E96-CD8C-7598-F87632CD81CF}"/>
              </a:ext>
            </a:extLst>
          </p:cNvPr>
          <p:cNvSpPr>
            <a:spLocks noGrp="1"/>
          </p:cNvSpPr>
          <p:nvPr userDrawn="1">
            <p:ph type="ctrTitle"/>
          </p:nvPr>
        </p:nvSpPr>
        <p:spPr>
          <a:xfrm>
            <a:off x="431799" y="2088000"/>
            <a:ext cx="7535864" cy="3456000"/>
          </a:xfrm>
        </p:spPr>
        <p:txBody>
          <a:bodyPr anchor="b">
            <a:noAutofit/>
          </a:bodyPr>
          <a:lstStyle>
            <a:lvl1pPr algn="l">
              <a:defRPr sz="4800"/>
            </a:lvl1pPr>
          </a:lstStyle>
          <a:p>
            <a:r>
              <a:rPr lang="da-DK" noProof="0" err="1"/>
              <a:t>Click</a:t>
            </a:r>
            <a:r>
              <a:rPr lang="da-DK" noProof="0"/>
              <a:t> to </a:t>
            </a:r>
            <a:r>
              <a:rPr lang="da-DK" noProof="0" err="1"/>
              <a:t>edit</a:t>
            </a:r>
            <a:r>
              <a:rPr lang="da-DK" noProof="0"/>
              <a:t> Master </a:t>
            </a:r>
            <a:r>
              <a:rPr lang="da-DK" noProof="0" err="1"/>
              <a:t>title</a:t>
            </a:r>
            <a:r>
              <a:rPr lang="da-DK" noProof="0"/>
              <a:t> style</a:t>
            </a:r>
          </a:p>
        </p:txBody>
      </p:sp>
      <p:sp>
        <p:nvSpPr>
          <p:cNvPr id="8" name="Footer Placeholder 7">
            <a:extLst>
              <a:ext uri="{FF2B5EF4-FFF2-40B4-BE49-F238E27FC236}">
                <a16:creationId xmlns:a16="http://schemas.microsoft.com/office/drawing/2014/main" id="{1C47A8E7-6453-55F6-1FD0-1E1D313138A3}"/>
              </a:ext>
            </a:extLst>
          </p:cNvPr>
          <p:cNvSpPr>
            <a:spLocks noGrp="1"/>
          </p:cNvSpPr>
          <p:nvPr>
            <p:ph type="ftr" sz="quarter" idx="11"/>
          </p:nvPr>
        </p:nvSpPr>
        <p:spPr/>
        <p:txBody>
          <a:bodyPr/>
          <a:lstStyle/>
          <a:p>
            <a:endParaRPr lang="da-DK" noProof="0"/>
          </a:p>
        </p:txBody>
      </p:sp>
      <p:sp>
        <p:nvSpPr>
          <p:cNvPr id="5" name="Subtitle 2">
            <a:extLst>
              <a:ext uri="{FF2B5EF4-FFF2-40B4-BE49-F238E27FC236}">
                <a16:creationId xmlns:a16="http://schemas.microsoft.com/office/drawing/2014/main" id="{972111B0-131A-6C59-5E8C-E428294A1E2F}"/>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pic>
        <p:nvPicPr>
          <p:cNvPr id="13" name="Graphic 12">
            <a:extLst>
              <a:ext uri="{FF2B5EF4-FFF2-40B4-BE49-F238E27FC236}">
                <a16:creationId xmlns:a16="http://schemas.microsoft.com/office/drawing/2014/main" id="{AF7E3EF3-9AD3-AC8E-EFA2-F5E75D8FEFA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29600"/>
            <a:ext cx="1435201" cy="144000"/>
          </a:xfrm>
          <a:prstGeom prst="rect">
            <a:avLst/>
          </a:prstGeom>
        </p:spPr>
      </p:pic>
      <p:sp>
        <p:nvSpPr>
          <p:cNvPr id="3" name="Date Placeholder 3">
            <a:extLst>
              <a:ext uri="{FF2B5EF4-FFF2-40B4-BE49-F238E27FC236}">
                <a16:creationId xmlns:a16="http://schemas.microsoft.com/office/drawing/2014/main" id="{D14FAE37-E008-9877-66ED-CC0E615C9994}"/>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83343-4248-4D66-A897-675B7E9C9B7B}" type="datetime1">
              <a:rPr lang="da-DK" smtClean="0"/>
              <a:t>16-03-2026</a:t>
            </a:fld>
            <a:endParaRPr lang="da-DK"/>
          </a:p>
        </p:txBody>
      </p:sp>
      <p:sp>
        <p:nvSpPr>
          <p:cNvPr id="6" name="Slide Number Placeholder 5">
            <a:extLst>
              <a:ext uri="{FF2B5EF4-FFF2-40B4-BE49-F238E27FC236}">
                <a16:creationId xmlns:a16="http://schemas.microsoft.com/office/drawing/2014/main" id="{BD5E2A8F-83C2-131D-7E07-4D7728AEC2EC}"/>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a:p>
        </p:txBody>
      </p:sp>
    </p:spTree>
    <p:extLst>
      <p:ext uri="{BB962C8B-B14F-4D97-AF65-F5344CB8AC3E}">
        <p14:creationId xmlns:p14="http://schemas.microsoft.com/office/powerpoint/2010/main" val="2783174309"/>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For- og mellemside 2">
    <p:spTree>
      <p:nvGrpSpPr>
        <p:cNvPr id="1" name=""/>
        <p:cNvGrpSpPr/>
        <p:nvPr/>
      </p:nvGrpSpPr>
      <p:grpSpPr>
        <a:xfrm>
          <a:off x="0" y="0"/>
          <a:ext cx="0" cy="0"/>
          <a:chOff x="0" y="0"/>
          <a:chExt cx="0" cy="0"/>
        </a:xfrm>
      </p:grpSpPr>
      <p:sp>
        <p:nvSpPr>
          <p:cNvPr id="10" name="Ellipse 9">
            <a:extLst>
              <a:ext uri="{FF2B5EF4-FFF2-40B4-BE49-F238E27FC236}">
                <a16:creationId xmlns:a16="http://schemas.microsoft.com/office/drawing/2014/main" id="{5AA295E5-0594-DC72-01CE-6F399165BD3C}"/>
              </a:ext>
            </a:extLst>
          </p:cNvPr>
          <p:cNvSpPr>
            <a:spLocks noChangeAspect="1"/>
          </p:cNvSpPr>
          <p:nvPr userDrawn="1"/>
        </p:nvSpPr>
        <p:spPr>
          <a:xfrm>
            <a:off x="3803305" y="-10033678"/>
            <a:ext cx="14400000" cy="1440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12" name="Title 1">
            <a:extLst>
              <a:ext uri="{FF2B5EF4-FFF2-40B4-BE49-F238E27FC236}">
                <a16:creationId xmlns:a16="http://schemas.microsoft.com/office/drawing/2014/main" id="{A07F47E0-90FC-E8B7-B715-D3C7DEAA0FD6}"/>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err="1"/>
              <a:t>Click</a:t>
            </a:r>
            <a:r>
              <a:rPr lang="da-DK" noProof="0"/>
              <a:t> to </a:t>
            </a:r>
            <a:r>
              <a:rPr lang="da-DK" noProof="0" err="1"/>
              <a:t>edit</a:t>
            </a:r>
            <a:r>
              <a:rPr lang="da-DK" noProof="0"/>
              <a:t> Master </a:t>
            </a:r>
            <a:r>
              <a:rPr lang="da-DK" noProof="0" err="1"/>
              <a:t>title</a:t>
            </a:r>
            <a:r>
              <a:rPr lang="da-DK" noProof="0"/>
              <a:t> style</a:t>
            </a:r>
          </a:p>
        </p:txBody>
      </p:sp>
      <p:sp>
        <p:nvSpPr>
          <p:cNvPr id="16" name="Footer Placeholder 15">
            <a:extLst>
              <a:ext uri="{FF2B5EF4-FFF2-40B4-BE49-F238E27FC236}">
                <a16:creationId xmlns:a16="http://schemas.microsoft.com/office/drawing/2014/main" id="{5C96EA94-779A-6A0C-8DAF-15DD10091434}"/>
              </a:ext>
            </a:extLst>
          </p:cNvPr>
          <p:cNvSpPr>
            <a:spLocks noGrp="1"/>
          </p:cNvSpPr>
          <p:nvPr>
            <p:ph type="ftr" sz="quarter" idx="11"/>
          </p:nvPr>
        </p:nvSpPr>
        <p:spPr/>
        <p:txBody>
          <a:bodyPr/>
          <a:lstStyle/>
          <a:p>
            <a:endParaRPr lang="da-DK" noProof="0"/>
          </a:p>
        </p:txBody>
      </p:sp>
      <p:sp>
        <p:nvSpPr>
          <p:cNvPr id="2" name="Subtitle 2">
            <a:extLst>
              <a:ext uri="{FF2B5EF4-FFF2-40B4-BE49-F238E27FC236}">
                <a16:creationId xmlns:a16="http://schemas.microsoft.com/office/drawing/2014/main" id="{E07C53AB-35E0-E874-E5AB-A22135039BAD}"/>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pic>
        <p:nvPicPr>
          <p:cNvPr id="6" name="Graphic 5">
            <a:extLst>
              <a:ext uri="{FF2B5EF4-FFF2-40B4-BE49-F238E27FC236}">
                <a16:creationId xmlns:a16="http://schemas.microsoft.com/office/drawing/2014/main" id="{F1134F24-3881-EF79-66F9-8F80C6AC2E9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29600"/>
            <a:ext cx="1435201" cy="144000"/>
          </a:xfrm>
          <a:prstGeom prst="rect">
            <a:avLst/>
          </a:prstGeom>
        </p:spPr>
      </p:pic>
      <p:sp>
        <p:nvSpPr>
          <p:cNvPr id="5" name="Date Placeholder 3">
            <a:extLst>
              <a:ext uri="{FF2B5EF4-FFF2-40B4-BE49-F238E27FC236}">
                <a16:creationId xmlns:a16="http://schemas.microsoft.com/office/drawing/2014/main" id="{B9002E4B-BD64-1A4C-0625-21E76EF0148D}"/>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CB332F9-646C-4384-903F-EC3562B4F94E}" type="datetime1">
              <a:rPr lang="da-DK" smtClean="0"/>
              <a:t>16-03-2026</a:t>
            </a:fld>
            <a:endParaRPr lang="da-DK"/>
          </a:p>
        </p:txBody>
      </p:sp>
      <p:sp>
        <p:nvSpPr>
          <p:cNvPr id="7" name="Slide Number Placeholder 5">
            <a:extLst>
              <a:ext uri="{FF2B5EF4-FFF2-40B4-BE49-F238E27FC236}">
                <a16:creationId xmlns:a16="http://schemas.microsoft.com/office/drawing/2014/main" id="{16C374E6-4CC6-E9B5-AEBD-7A0B6309BEBF}"/>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a:p>
        </p:txBody>
      </p:sp>
    </p:spTree>
    <p:extLst>
      <p:ext uri="{BB962C8B-B14F-4D97-AF65-F5344CB8AC3E}">
        <p14:creationId xmlns:p14="http://schemas.microsoft.com/office/powerpoint/2010/main" val="1570300764"/>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Mellemside lille foto">
    <p:spTree>
      <p:nvGrpSpPr>
        <p:cNvPr id="1" name=""/>
        <p:cNvGrpSpPr/>
        <p:nvPr/>
      </p:nvGrpSpPr>
      <p:grpSpPr>
        <a:xfrm>
          <a:off x="0" y="0"/>
          <a:ext cx="0" cy="0"/>
          <a:chOff x="0" y="0"/>
          <a:chExt cx="0" cy="0"/>
        </a:xfrm>
      </p:grpSpPr>
      <p:sp>
        <p:nvSpPr>
          <p:cNvPr id="25" name="Ellipse 24">
            <a:extLst>
              <a:ext uri="{FF2B5EF4-FFF2-40B4-BE49-F238E27FC236}">
                <a16:creationId xmlns:a16="http://schemas.microsoft.com/office/drawing/2014/main" id="{DDCB68FE-98E2-61BB-504F-4232724B1634}"/>
              </a:ext>
            </a:extLst>
          </p:cNvPr>
          <p:cNvSpPr>
            <a:spLocks noChangeAspect="1"/>
          </p:cNvSpPr>
          <p:nvPr userDrawn="1"/>
        </p:nvSpPr>
        <p:spPr>
          <a:xfrm>
            <a:off x="1892371" y="-5095322"/>
            <a:ext cx="8640000" cy="864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8188364" y="1269001"/>
            <a:ext cx="4319999" cy="4319999"/>
          </a:xfrm>
          <a:prstGeom prst="ellipse">
            <a:avLst/>
          </a:prstGeom>
          <a:blipFill>
            <a:blip r:embed="rId2" cstate="screen">
              <a:extLst>
                <a:ext uri="{28A0092B-C50C-407E-A947-70E740481C1C}">
                  <a14:useLocalDpi xmlns:a14="http://schemas.microsoft.com/office/drawing/2010/main"/>
                </a:ext>
              </a:extLst>
            </a:blip>
            <a:srcRect/>
            <a:stretch>
              <a:fillRect/>
            </a:stretch>
          </a:blipFill>
        </p:spPr>
        <p:txBody>
          <a:bodyPr/>
          <a:lstStyle/>
          <a:p>
            <a:endParaRPr lang="da-DK" noProof="0"/>
          </a:p>
        </p:txBody>
      </p:sp>
      <p:sp>
        <p:nvSpPr>
          <p:cNvPr id="8" name="Pladsholder til tekst 7">
            <a:extLst>
              <a:ext uri="{FF2B5EF4-FFF2-40B4-BE49-F238E27FC236}">
                <a16:creationId xmlns:a16="http://schemas.microsoft.com/office/drawing/2014/main" id="{0912F1B6-40D3-0A36-D413-1ECBF33CBD40}"/>
              </a:ext>
            </a:extLst>
          </p:cNvPr>
          <p:cNvSpPr>
            <a:spLocks noGrp="1"/>
          </p:cNvSpPr>
          <p:nvPr>
            <p:ph type="body" sz="quarter" idx="14" hasCustomPrompt="1"/>
          </p:nvPr>
        </p:nvSpPr>
        <p:spPr>
          <a:xfrm>
            <a:off x="431800" y="3670711"/>
            <a:ext cx="7535863" cy="272639"/>
          </a:xfrm>
        </p:spPr>
        <p:txBody>
          <a:bodyPr anchor="b">
            <a:spAutoFit/>
          </a:bodyPr>
          <a:lstStyle>
            <a:lvl1pPr marL="0" indent="0">
              <a:buNone/>
              <a:defRPr>
                <a:solidFill>
                  <a:schemeClr val="accent1"/>
                </a:solidFill>
                <a:latin typeface="Work Sans SemiBold" pitchFamily="2" charset="0"/>
              </a:defRPr>
            </a:lvl1pPr>
            <a:lvl2pPr marL="222250" indent="0">
              <a:buNone/>
              <a:defRPr>
                <a:latin typeface="Work Sans SemiBold" pitchFamily="2" charset="0"/>
              </a:defRPr>
            </a:lvl2pPr>
            <a:lvl3pPr marL="542925" indent="0">
              <a:buNone/>
              <a:defRPr>
                <a:latin typeface="Work Sans SemiBold" pitchFamily="2" charset="0"/>
              </a:defRPr>
            </a:lvl3pPr>
            <a:lvl4pPr marL="895350" indent="0">
              <a:buNone/>
              <a:defRPr>
                <a:latin typeface="Work Sans SemiBold" pitchFamily="2" charset="0"/>
              </a:defRPr>
            </a:lvl4pPr>
            <a:lvl5pPr marL="1166813" indent="0">
              <a:buNone/>
              <a:defRPr>
                <a:latin typeface="Work Sans SemiBold" pitchFamily="2" charset="0"/>
              </a:defRPr>
            </a:lvl5pPr>
          </a:lstStyle>
          <a:p>
            <a:pPr lvl="0"/>
            <a:r>
              <a:rPr lang="da-DK" noProof="0" err="1"/>
              <a:t>Click</a:t>
            </a:r>
            <a:r>
              <a:rPr lang="da-DK" noProof="0"/>
              <a:t> to </a:t>
            </a:r>
            <a:r>
              <a:rPr lang="da-DK" noProof="0" err="1"/>
              <a:t>edit</a:t>
            </a:r>
            <a:r>
              <a:rPr lang="da-DK" noProof="0"/>
              <a:t> Event information</a:t>
            </a:r>
          </a:p>
        </p:txBody>
      </p:sp>
      <p:sp>
        <p:nvSpPr>
          <p:cNvPr id="12" name="Title 1">
            <a:extLst>
              <a:ext uri="{FF2B5EF4-FFF2-40B4-BE49-F238E27FC236}">
                <a16:creationId xmlns:a16="http://schemas.microsoft.com/office/drawing/2014/main" id="{0CD0DD1B-C53E-3CED-42BA-6674B4F31035}"/>
              </a:ext>
            </a:extLst>
          </p:cNvPr>
          <p:cNvSpPr>
            <a:spLocks noGrp="1"/>
          </p:cNvSpPr>
          <p:nvPr>
            <p:ph type="ctrTitle"/>
          </p:nvPr>
        </p:nvSpPr>
        <p:spPr>
          <a:xfrm>
            <a:off x="431799" y="3943350"/>
            <a:ext cx="7535864" cy="1600650"/>
          </a:xfrm>
        </p:spPr>
        <p:txBody>
          <a:bodyPr anchor="b">
            <a:noAutofit/>
          </a:bodyPr>
          <a:lstStyle>
            <a:lvl1pPr algn="l">
              <a:defRPr sz="4800"/>
            </a:lvl1pPr>
          </a:lstStyle>
          <a:p>
            <a:r>
              <a:rPr lang="da-DK" noProof="0" err="1"/>
              <a:t>Click</a:t>
            </a:r>
            <a:r>
              <a:rPr lang="da-DK" noProof="0"/>
              <a:t> to </a:t>
            </a:r>
            <a:r>
              <a:rPr lang="da-DK" noProof="0" err="1"/>
              <a:t>edit</a:t>
            </a:r>
            <a:r>
              <a:rPr lang="da-DK" noProof="0"/>
              <a:t> Master </a:t>
            </a:r>
            <a:r>
              <a:rPr lang="da-DK" noProof="0" err="1"/>
              <a:t>title</a:t>
            </a:r>
            <a:r>
              <a:rPr lang="da-DK" noProof="0"/>
              <a:t> style</a:t>
            </a:r>
          </a:p>
        </p:txBody>
      </p:sp>
      <p:sp>
        <p:nvSpPr>
          <p:cNvPr id="18" name="Footer Placeholder 17">
            <a:extLst>
              <a:ext uri="{FF2B5EF4-FFF2-40B4-BE49-F238E27FC236}">
                <a16:creationId xmlns:a16="http://schemas.microsoft.com/office/drawing/2014/main" id="{61AB509A-C619-03F1-10C6-5550B9D788FB}"/>
              </a:ext>
            </a:extLst>
          </p:cNvPr>
          <p:cNvSpPr>
            <a:spLocks noGrp="1"/>
          </p:cNvSpPr>
          <p:nvPr>
            <p:ph type="ftr" sz="quarter" idx="16"/>
          </p:nvPr>
        </p:nvSpPr>
        <p:spPr/>
        <p:txBody>
          <a:bodyPr/>
          <a:lstStyle/>
          <a:p>
            <a:endParaRPr lang="da-DK" noProof="0"/>
          </a:p>
        </p:txBody>
      </p:sp>
      <p:sp>
        <p:nvSpPr>
          <p:cNvPr id="2" name="Subtitle 2">
            <a:extLst>
              <a:ext uri="{FF2B5EF4-FFF2-40B4-BE49-F238E27FC236}">
                <a16:creationId xmlns:a16="http://schemas.microsoft.com/office/drawing/2014/main" id="{70903153-4847-5E42-3465-3B918ADE2019}"/>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pic>
        <p:nvPicPr>
          <p:cNvPr id="4" name="Graphic 3">
            <a:extLst>
              <a:ext uri="{FF2B5EF4-FFF2-40B4-BE49-F238E27FC236}">
                <a16:creationId xmlns:a16="http://schemas.microsoft.com/office/drawing/2014/main" id="{8456B0AF-9B0C-83C0-625C-FE0CCB9F20F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23411" y="6429600"/>
            <a:ext cx="1435201" cy="144000"/>
          </a:xfrm>
          <a:prstGeom prst="rect">
            <a:avLst/>
          </a:prstGeom>
        </p:spPr>
      </p:pic>
      <p:sp>
        <p:nvSpPr>
          <p:cNvPr id="3" name="Date Placeholder 3">
            <a:extLst>
              <a:ext uri="{FF2B5EF4-FFF2-40B4-BE49-F238E27FC236}">
                <a16:creationId xmlns:a16="http://schemas.microsoft.com/office/drawing/2014/main" id="{1A0E0B17-D1B4-A851-535C-6538431BFFAA}"/>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BB33AED4-FEAC-4ACE-BC77-C89E5FFCA83C}" type="datetime1">
              <a:rPr lang="da-DK" smtClean="0"/>
              <a:t>16-03-2026</a:t>
            </a:fld>
            <a:endParaRPr lang="da-DK"/>
          </a:p>
        </p:txBody>
      </p:sp>
      <p:sp>
        <p:nvSpPr>
          <p:cNvPr id="5" name="Slide Number Placeholder 5">
            <a:extLst>
              <a:ext uri="{FF2B5EF4-FFF2-40B4-BE49-F238E27FC236}">
                <a16:creationId xmlns:a16="http://schemas.microsoft.com/office/drawing/2014/main" id="{958D328E-3BD1-8C49-8898-92F8AC556D2A}"/>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a:p>
        </p:txBody>
      </p:sp>
    </p:spTree>
    <p:extLst>
      <p:ext uri="{BB962C8B-B14F-4D97-AF65-F5344CB8AC3E}">
        <p14:creationId xmlns:p14="http://schemas.microsoft.com/office/powerpoint/2010/main" val="795908129"/>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Mellemside lille foto 2">
    <p:spTree>
      <p:nvGrpSpPr>
        <p:cNvPr id="1" name=""/>
        <p:cNvGrpSpPr/>
        <p:nvPr/>
      </p:nvGrpSpPr>
      <p:grpSpPr>
        <a:xfrm>
          <a:off x="0" y="0"/>
          <a:ext cx="0" cy="0"/>
          <a:chOff x="0" y="0"/>
          <a:chExt cx="0" cy="0"/>
        </a:xfrm>
      </p:grpSpPr>
      <p:sp>
        <p:nvSpPr>
          <p:cNvPr id="10" name="Pladsholder til tekst 9">
            <a:extLst>
              <a:ext uri="{FF2B5EF4-FFF2-40B4-BE49-F238E27FC236}">
                <a16:creationId xmlns:a16="http://schemas.microsoft.com/office/drawing/2014/main" id="{8EAB7028-35CF-586A-9D7B-4652BD5AD207}"/>
              </a:ext>
            </a:extLst>
          </p:cNvPr>
          <p:cNvSpPr>
            <a:spLocks noGrp="1"/>
          </p:cNvSpPr>
          <p:nvPr>
            <p:ph type="body" sz="quarter" idx="15" hasCustomPrompt="1"/>
          </p:nvPr>
        </p:nvSpPr>
        <p:spPr>
          <a:xfrm>
            <a:off x="1307024" y="4772373"/>
            <a:ext cx="3775075" cy="665451"/>
          </a:xfrm>
        </p:spPr>
        <p:txBody>
          <a:bodyPr/>
          <a:lstStyle>
            <a:lvl1pPr marL="0" indent="0" algn="ctr">
              <a:lnSpc>
                <a:spcPct val="100000"/>
              </a:lnSpc>
              <a:buNone/>
              <a:defRPr/>
            </a:lvl1pPr>
            <a:lvl2pPr marL="222250" indent="0" algn="ctr">
              <a:buNone/>
              <a:defRPr/>
            </a:lvl2pPr>
            <a:lvl3pPr marL="542925" indent="0" algn="ctr">
              <a:buNone/>
              <a:defRPr/>
            </a:lvl3pPr>
            <a:lvl4pPr marL="895350" indent="0" algn="ctr">
              <a:buNone/>
              <a:defRPr/>
            </a:lvl4pPr>
            <a:lvl5pPr marL="1166813" indent="0" algn="ctr">
              <a:buNone/>
              <a:defRPr/>
            </a:lvl5pPr>
          </a:lstStyle>
          <a:p>
            <a:pPr lvl="0"/>
            <a:r>
              <a:rPr lang="da-DK" noProof="0"/>
              <a:t>Klik for at redigere teksttypografierne i masteren</a:t>
            </a:r>
          </a:p>
        </p:txBody>
      </p:sp>
      <p:sp>
        <p:nvSpPr>
          <p:cNvPr id="12" name="Footer Placeholder 11">
            <a:extLst>
              <a:ext uri="{FF2B5EF4-FFF2-40B4-BE49-F238E27FC236}">
                <a16:creationId xmlns:a16="http://schemas.microsoft.com/office/drawing/2014/main" id="{6AAA001F-86A6-9EAE-DE70-6B4F55F32BE5}"/>
              </a:ext>
            </a:extLst>
          </p:cNvPr>
          <p:cNvSpPr>
            <a:spLocks noGrp="1"/>
          </p:cNvSpPr>
          <p:nvPr>
            <p:ph type="ftr" sz="quarter" idx="17"/>
          </p:nvPr>
        </p:nvSpPr>
        <p:spPr/>
        <p:txBody>
          <a:bodyPr/>
          <a:lstStyle/>
          <a:p>
            <a:endParaRPr lang="da-DK" noProof="0"/>
          </a:p>
        </p:txBody>
      </p:sp>
      <p:pic>
        <p:nvPicPr>
          <p:cNvPr id="4" name="Graphic 3">
            <a:extLst>
              <a:ext uri="{FF2B5EF4-FFF2-40B4-BE49-F238E27FC236}">
                <a16:creationId xmlns:a16="http://schemas.microsoft.com/office/drawing/2014/main" id="{1D6CB448-15A2-5C6F-D76C-FEE39B94C56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23411" y="6429600"/>
            <a:ext cx="1435201" cy="144000"/>
          </a:xfrm>
          <a:prstGeom prst="rect">
            <a:avLst/>
          </a:prstGeom>
        </p:spPr>
      </p:pic>
      <p:sp>
        <p:nvSpPr>
          <p:cNvPr id="5" name="Title 1">
            <a:extLst>
              <a:ext uri="{FF2B5EF4-FFF2-40B4-BE49-F238E27FC236}">
                <a16:creationId xmlns:a16="http://schemas.microsoft.com/office/drawing/2014/main" id="{52B8246C-3B15-E60B-E032-0BDE231A942B}"/>
              </a:ext>
            </a:extLst>
          </p:cNvPr>
          <p:cNvSpPr>
            <a:spLocks noGrp="1"/>
          </p:cNvSpPr>
          <p:nvPr>
            <p:ph type="ctrTitle"/>
          </p:nvPr>
        </p:nvSpPr>
        <p:spPr>
          <a:xfrm>
            <a:off x="6096000" y="1900771"/>
            <a:ext cx="5662613" cy="997196"/>
          </a:xfrm>
          <a:prstGeom prst="rect">
            <a:avLst/>
          </a:prstGeom>
        </p:spPr>
        <p:txBody>
          <a:bodyPr wrap="square" anchor="b">
            <a:spAutoFit/>
          </a:bodyPr>
          <a:lstStyle>
            <a:lvl1pPr algn="l">
              <a:defRPr sz="3600"/>
            </a:lvl1pPr>
          </a:lstStyle>
          <a:p>
            <a:r>
              <a:rPr lang="da-DK" noProof="0"/>
              <a:t>Klik for at redigere titeltypografien i masteren</a:t>
            </a:r>
          </a:p>
        </p:txBody>
      </p:sp>
      <p:sp>
        <p:nvSpPr>
          <p:cNvPr id="6" name="Subtitle 2">
            <a:extLst>
              <a:ext uri="{FF2B5EF4-FFF2-40B4-BE49-F238E27FC236}">
                <a16:creationId xmlns:a16="http://schemas.microsoft.com/office/drawing/2014/main" id="{6EFA6118-2A1A-E16F-D0C7-FAA0E4F2D081}"/>
              </a:ext>
            </a:extLst>
          </p:cNvPr>
          <p:cNvSpPr>
            <a:spLocks noGrp="1"/>
          </p:cNvSpPr>
          <p:nvPr>
            <p:ph type="subTitle" idx="1"/>
          </p:nvPr>
        </p:nvSpPr>
        <p:spPr>
          <a:xfrm>
            <a:off x="6103144" y="3084095"/>
            <a:ext cx="5655470" cy="2549872"/>
          </a:xfrm>
        </p:spPr>
        <p:txBody>
          <a:bodyPr anchor="t">
            <a:noAutofit/>
          </a:bodyPr>
          <a:lstStyle>
            <a:lvl1pPr marL="285750" indent="-285750" algn="l">
              <a:lnSpc>
                <a:spcPct val="120000"/>
              </a:lnSpc>
              <a:spcBef>
                <a:spcPts val="0"/>
              </a:spcBef>
              <a:buFont typeface="Arial" panose="020B0604020202020204" pitchFamily="34" charset="0"/>
              <a:buChar char="•"/>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redigere undertiteltypografien i masteren</a:t>
            </a:r>
          </a:p>
        </p:txBody>
      </p:sp>
      <p:sp>
        <p:nvSpPr>
          <p:cNvPr id="7" name="Pladsholder til tekst 7">
            <a:extLst>
              <a:ext uri="{FF2B5EF4-FFF2-40B4-BE49-F238E27FC236}">
                <a16:creationId xmlns:a16="http://schemas.microsoft.com/office/drawing/2014/main" id="{8AB4E988-4628-95B3-0447-D9BDE7BBFB06}"/>
              </a:ext>
            </a:extLst>
          </p:cNvPr>
          <p:cNvSpPr>
            <a:spLocks noGrp="1"/>
          </p:cNvSpPr>
          <p:nvPr>
            <p:ph type="body" sz="quarter" idx="14" hasCustomPrompt="1"/>
          </p:nvPr>
        </p:nvSpPr>
        <p:spPr>
          <a:xfrm>
            <a:off x="6096000" y="1430496"/>
            <a:ext cx="5662612" cy="272639"/>
          </a:xfrm>
        </p:spPr>
        <p:txBody>
          <a:bodyPr wrap="square" anchor="b">
            <a:spAutoFit/>
          </a:bodyPr>
          <a:lstStyle>
            <a:lvl1pPr marL="0" indent="0">
              <a:buNone/>
              <a:defRPr>
                <a:solidFill>
                  <a:schemeClr val="accent1"/>
                </a:solidFill>
                <a:latin typeface="Work Sans SemiBold" pitchFamily="2" charset="0"/>
              </a:defRPr>
            </a:lvl1pPr>
            <a:lvl2pPr marL="222250" indent="0">
              <a:buNone/>
              <a:defRPr>
                <a:latin typeface="Work Sans SemiBold" pitchFamily="2" charset="0"/>
              </a:defRPr>
            </a:lvl2pPr>
            <a:lvl3pPr marL="542925" indent="0">
              <a:buNone/>
              <a:defRPr>
                <a:latin typeface="Work Sans SemiBold" pitchFamily="2" charset="0"/>
              </a:defRPr>
            </a:lvl3pPr>
            <a:lvl4pPr marL="895350" indent="0">
              <a:buNone/>
              <a:defRPr>
                <a:latin typeface="Work Sans SemiBold" pitchFamily="2" charset="0"/>
              </a:defRPr>
            </a:lvl4pPr>
            <a:lvl5pPr marL="1166813" indent="0">
              <a:buNone/>
              <a:defRPr>
                <a:latin typeface="Work Sans SemiBold" pitchFamily="2" charset="0"/>
              </a:defRPr>
            </a:lvl5pPr>
          </a:lstStyle>
          <a:p>
            <a:pPr lvl="0"/>
            <a:r>
              <a:rPr lang="da-DK" noProof="0" err="1"/>
              <a:t>Click</a:t>
            </a:r>
            <a:r>
              <a:rPr lang="da-DK" noProof="0"/>
              <a:t> to </a:t>
            </a:r>
            <a:r>
              <a:rPr lang="da-DK" noProof="0" err="1"/>
              <a:t>edit</a:t>
            </a:r>
            <a:r>
              <a:rPr lang="da-DK" noProof="0"/>
              <a:t> Event information</a:t>
            </a:r>
          </a:p>
        </p:txBody>
      </p:sp>
      <p:sp>
        <p:nvSpPr>
          <p:cNvPr id="27" name="Picture Placeholder">
            <a:extLst>
              <a:ext uri="{FF2B5EF4-FFF2-40B4-BE49-F238E27FC236}">
                <a16:creationId xmlns:a16="http://schemas.microsoft.com/office/drawing/2014/main" id="{1DAC79FD-072D-537E-D09C-B9B7B6E869C9}"/>
              </a:ext>
            </a:extLst>
          </p:cNvPr>
          <p:cNvSpPr>
            <a:spLocks noGrp="1" noChangeAspect="1"/>
          </p:cNvSpPr>
          <p:nvPr>
            <p:ph type="pic" sz="quarter" idx="13"/>
          </p:nvPr>
        </p:nvSpPr>
        <p:spPr>
          <a:xfrm>
            <a:off x="1343025" y="864000"/>
            <a:ext cx="3739073" cy="3739073"/>
          </a:xfrm>
          <a:prstGeom prst="ellipse">
            <a:avLst/>
          </a:prstGeom>
          <a:blipFill>
            <a:blip r:embed="rId4" cstate="screen">
              <a:extLst>
                <a:ext uri="{28A0092B-C50C-407E-A947-70E740481C1C}">
                  <a14:useLocalDpi xmlns:a14="http://schemas.microsoft.com/office/drawing/2010/main"/>
                </a:ext>
              </a:extLst>
            </a:blip>
            <a:srcRect/>
            <a:stretch>
              <a:fillRect/>
            </a:stretch>
          </a:blipFill>
        </p:spPr>
        <p:txBody>
          <a:bodyPr/>
          <a:lstStyle/>
          <a:p>
            <a:endParaRPr lang="da-DK" noProof="0"/>
          </a:p>
        </p:txBody>
      </p:sp>
      <p:sp>
        <p:nvSpPr>
          <p:cNvPr id="11" name="Date Placeholder 3">
            <a:extLst>
              <a:ext uri="{FF2B5EF4-FFF2-40B4-BE49-F238E27FC236}">
                <a16:creationId xmlns:a16="http://schemas.microsoft.com/office/drawing/2014/main" id="{A47C8A39-4A17-037C-50FC-A2BD79DB1578}"/>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B53DCA7D-BC72-4F0B-97D0-70DDA2EE0252}" type="datetime1">
              <a:rPr lang="da-DK" smtClean="0"/>
              <a:t>16-03-2026</a:t>
            </a:fld>
            <a:endParaRPr lang="da-DK"/>
          </a:p>
        </p:txBody>
      </p:sp>
      <p:sp>
        <p:nvSpPr>
          <p:cNvPr id="14" name="Slide Number Placeholder 5">
            <a:extLst>
              <a:ext uri="{FF2B5EF4-FFF2-40B4-BE49-F238E27FC236}">
                <a16:creationId xmlns:a16="http://schemas.microsoft.com/office/drawing/2014/main" id="{BBDE46C5-71EB-375B-EBD6-D1B33EA56661}"/>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a:p>
        </p:txBody>
      </p:sp>
    </p:spTree>
    <p:extLst>
      <p:ext uri="{BB962C8B-B14F-4D97-AF65-F5344CB8AC3E}">
        <p14:creationId xmlns:p14="http://schemas.microsoft.com/office/powerpoint/2010/main" val="1197122861"/>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Fotobaggrund">
    <p:spTree>
      <p:nvGrpSpPr>
        <p:cNvPr id="1" name=""/>
        <p:cNvGrpSpPr/>
        <p:nvPr/>
      </p:nvGrpSpPr>
      <p:grpSpPr>
        <a:xfrm>
          <a:off x="0" y="0"/>
          <a:ext cx="0" cy="0"/>
          <a:chOff x="0" y="0"/>
          <a:chExt cx="0" cy="0"/>
        </a:xfrm>
      </p:grpSpPr>
      <p:sp>
        <p:nvSpPr>
          <p:cNvPr id="21" name="Pladsholder til billede 20">
            <a:extLst>
              <a:ext uri="{FF2B5EF4-FFF2-40B4-BE49-F238E27FC236}">
                <a16:creationId xmlns:a16="http://schemas.microsoft.com/office/drawing/2014/main" id="{87ACCDF2-438B-3952-1B50-A08B33E4181A}"/>
              </a:ext>
            </a:extLst>
          </p:cNvPr>
          <p:cNvSpPr>
            <a:spLocks noGrp="1"/>
          </p:cNvSpPr>
          <p:nvPr>
            <p:ph type="pic" sz="quarter" idx="14"/>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4317599 w 12192000"/>
              <a:gd name="connsiteY3" fmla="*/ 6858000 h 6858000"/>
              <a:gd name="connsiteX4" fmla="*/ 4173417 w 12192000"/>
              <a:gd name="connsiteY4" fmla="*/ 6765567 h 6858000"/>
              <a:gd name="connsiteX5" fmla="*/ 107135 w 12192000"/>
              <a:gd name="connsiteY5" fmla="*/ 2064956 h 6858000"/>
              <a:gd name="connsiteX6" fmla="*/ 0 w 12192000"/>
              <a:gd name="connsiteY6" fmla="*/ 182797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6858000"/>
                </a:lnTo>
                <a:lnTo>
                  <a:pt x="4317599" y="6858000"/>
                </a:lnTo>
                <a:lnTo>
                  <a:pt x="4173417" y="6765567"/>
                </a:lnTo>
                <a:cubicBezTo>
                  <a:pt x="2435362" y="5591360"/>
                  <a:pt x="1024740" y="3969295"/>
                  <a:pt x="107135" y="2064956"/>
                </a:cubicBezTo>
                <a:lnTo>
                  <a:pt x="0" y="1827979"/>
                </a:lnTo>
                <a:close/>
              </a:path>
            </a:pathLst>
          </a:custGeom>
          <a:blipFill dpi="0" rotWithShape="1">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endParaRPr lang="da-DK" noProof="0"/>
          </a:p>
        </p:txBody>
      </p:sp>
      <p:pic>
        <p:nvPicPr>
          <p:cNvPr id="4" name="Grafik 10">
            <a:extLst>
              <a:ext uri="{FF2B5EF4-FFF2-40B4-BE49-F238E27FC236}">
                <a16:creationId xmlns:a16="http://schemas.microsoft.com/office/drawing/2014/main" id="{338930BB-ED3B-9B59-A12C-1FE9A9787C6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298042" y="6430133"/>
            <a:ext cx="1460571" cy="144000"/>
          </a:xfrm>
          <a:prstGeom prst="rect">
            <a:avLst/>
          </a:prstGeom>
        </p:spPr>
      </p:pic>
      <p:sp>
        <p:nvSpPr>
          <p:cNvPr id="10" name="Title 1">
            <a:extLst>
              <a:ext uri="{FF2B5EF4-FFF2-40B4-BE49-F238E27FC236}">
                <a16:creationId xmlns:a16="http://schemas.microsoft.com/office/drawing/2014/main" id="{BD12AD03-B76E-BE2B-C389-00DD8A910DA3}"/>
              </a:ext>
            </a:extLst>
          </p:cNvPr>
          <p:cNvSpPr>
            <a:spLocks noGrp="1"/>
          </p:cNvSpPr>
          <p:nvPr>
            <p:ph type="ctrTitle"/>
          </p:nvPr>
        </p:nvSpPr>
        <p:spPr>
          <a:xfrm>
            <a:off x="431799" y="2088000"/>
            <a:ext cx="7535864" cy="3456000"/>
          </a:xfrm>
        </p:spPr>
        <p:txBody>
          <a:bodyPr anchor="b">
            <a:noAutofit/>
          </a:bodyPr>
          <a:lstStyle>
            <a:lvl1pPr algn="l">
              <a:defRPr sz="4800"/>
            </a:lvl1pPr>
          </a:lstStyle>
          <a:p>
            <a:r>
              <a:rPr lang="da-DK" noProof="0" err="1"/>
              <a:t>Click</a:t>
            </a:r>
            <a:r>
              <a:rPr lang="da-DK" noProof="0"/>
              <a:t> to </a:t>
            </a:r>
            <a:r>
              <a:rPr lang="da-DK" noProof="0" err="1"/>
              <a:t>edit</a:t>
            </a:r>
            <a:r>
              <a:rPr lang="da-DK" noProof="0"/>
              <a:t> Master </a:t>
            </a:r>
            <a:r>
              <a:rPr lang="da-DK" noProof="0" err="1"/>
              <a:t>title</a:t>
            </a:r>
            <a:r>
              <a:rPr lang="da-DK" noProof="0"/>
              <a:t> style</a:t>
            </a:r>
          </a:p>
        </p:txBody>
      </p:sp>
      <p:sp>
        <p:nvSpPr>
          <p:cNvPr id="14" name="Footer Placeholder 13">
            <a:extLst>
              <a:ext uri="{FF2B5EF4-FFF2-40B4-BE49-F238E27FC236}">
                <a16:creationId xmlns:a16="http://schemas.microsoft.com/office/drawing/2014/main" id="{21EA0916-AA0A-2A0A-E000-40B07DE48FE0}"/>
              </a:ext>
            </a:extLst>
          </p:cNvPr>
          <p:cNvSpPr>
            <a:spLocks noGrp="1"/>
          </p:cNvSpPr>
          <p:nvPr>
            <p:ph type="ftr" sz="quarter" idx="16"/>
          </p:nvPr>
        </p:nvSpPr>
        <p:spPr/>
        <p:txBody>
          <a:bodyPr/>
          <a:lstStyle/>
          <a:p>
            <a:endParaRPr lang="da-DK" noProof="0"/>
          </a:p>
        </p:txBody>
      </p:sp>
      <p:sp>
        <p:nvSpPr>
          <p:cNvPr id="2" name="Subtitle 2">
            <a:extLst>
              <a:ext uri="{FF2B5EF4-FFF2-40B4-BE49-F238E27FC236}">
                <a16:creationId xmlns:a16="http://schemas.microsoft.com/office/drawing/2014/main" id="{B8CA00F9-D4F2-A44A-A187-002C7CA04E1A}"/>
              </a:ext>
            </a:extLst>
          </p:cNvPr>
          <p:cNvSpPr>
            <a:spLocks noGrp="1"/>
          </p:cNvSpPr>
          <p:nvPr>
            <p:ph type="subTitle" idx="1"/>
          </p:nvPr>
        </p:nvSpPr>
        <p:spPr>
          <a:xfrm>
            <a:off x="431799" y="5544000"/>
            <a:ext cx="7535863" cy="576000"/>
          </a:xfrm>
        </p:spPr>
        <p:txBody>
          <a:bodyPr lIns="36000" anchor="t">
            <a:noAutofit/>
          </a:bodyPr>
          <a:lstStyle>
            <a:lvl1pPr marL="0" indent="0" algn="l">
              <a:lnSpc>
                <a:spcPct val="120000"/>
              </a:lnSpc>
              <a:spcBef>
                <a:spcPts val="0"/>
              </a:spcBef>
              <a:buNone/>
              <a:defRPr sz="1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sp>
        <p:nvSpPr>
          <p:cNvPr id="3" name="Date Placeholder 3">
            <a:extLst>
              <a:ext uri="{FF2B5EF4-FFF2-40B4-BE49-F238E27FC236}">
                <a16:creationId xmlns:a16="http://schemas.microsoft.com/office/drawing/2014/main" id="{F543B46C-F34D-BA55-AF15-507FC5271A25}"/>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E59EFBB1-5AC5-4BC1-A03F-7B5389C7E9FA}" type="datetime1">
              <a:rPr lang="da-DK" smtClean="0"/>
              <a:t>16-03-2026</a:t>
            </a:fld>
            <a:endParaRPr lang="da-DK"/>
          </a:p>
        </p:txBody>
      </p:sp>
      <p:sp>
        <p:nvSpPr>
          <p:cNvPr id="5" name="Slide Number Placeholder 5">
            <a:extLst>
              <a:ext uri="{FF2B5EF4-FFF2-40B4-BE49-F238E27FC236}">
                <a16:creationId xmlns:a16="http://schemas.microsoft.com/office/drawing/2014/main" id="{44007A94-A96C-8AC4-6610-4A7F60FC8264}"/>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a:p>
        </p:txBody>
      </p:sp>
    </p:spTree>
    <p:extLst>
      <p:ext uri="{BB962C8B-B14F-4D97-AF65-F5344CB8AC3E}">
        <p14:creationId xmlns:p14="http://schemas.microsoft.com/office/powerpoint/2010/main" val="3018434875"/>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8" name="Pladsholder til tekst 27">
            <a:extLst>
              <a:ext uri="{FF2B5EF4-FFF2-40B4-BE49-F238E27FC236}">
                <a16:creationId xmlns:a16="http://schemas.microsoft.com/office/drawing/2014/main" id="{74399AB2-9F15-DAB9-D5AF-57ADA09960C0}"/>
              </a:ext>
            </a:extLst>
          </p:cNvPr>
          <p:cNvSpPr>
            <a:spLocks noGrp="1"/>
          </p:cNvSpPr>
          <p:nvPr>
            <p:ph type="body" sz="quarter" idx="13" hasCustomPrompt="1"/>
          </p:nvPr>
        </p:nvSpPr>
        <p:spPr>
          <a:xfrm>
            <a:off x="5948079" y="2894811"/>
            <a:ext cx="3922996"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9" name="Pladsholder til indhold 38">
            <a:extLst>
              <a:ext uri="{FF2B5EF4-FFF2-40B4-BE49-F238E27FC236}">
                <a16:creationId xmlns:a16="http://schemas.microsoft.com/office/drawing/2014/main" id="{D4FBA7D3-9EE0-3E27-EC3F-4047A1FED231}"/>
              </a:ext>
            </a:extLst>
          </p:cNvPr>
          <p:cNvSpPr>
            <a:spLocks noGrp="1"/>
          </p:cNvSpPr>
          <p:nvPr>
            <p:ph sz="quarter" idx="21" hasCustomPrompt="1"/>
          </p:nvPr>
        </p:nvSpPr>
        <p:spPr>
          <a:xfrm>
            <a:off x="5156077" y="2894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53" name="Tekstfelt 52">
            <a:extLst>
              <a:ext uri="{FF2B5EF4-FFF2-40B4-BE49-F238E27FC236}">
                <a16:creationId xmlns:a16="http://schemas.microsoft.com/office/drawing/2014/main" id="{FE9A4707-7B12-AF25-E12E-5AFDD851AF02}"/>
              </a:ext>
            </a:extLst>
          </p:cNvPr>
          <p:cNvSpPr txBox="1"/>
          <p:nvPr userDrawn="1"/>
        </p:nvSpPr>
        <p:spPr>
          <a:xfrm>
            <a:off x="549275" y="2843486"/>
            <a:ext cx="3657600" cy="738664"/>
          </a:xfrm>
          <a:prstGeom prst="rect">
            <a:avLst/>
          </a:prstGeom>
          <a:noFill/>
        </p:spPr>
        <p:txBody>
          <a:bodyPr wrap="square" lIns="0" tIns="0" rIns="0" bIns="0" rtlCol="0">
            <a:spAutoFit/>
          </a:bodyPr>
          <a:lstStyle/>
          <a:p>
            <a:pPr algn="r"/>
            <a:r>
              <a:rPr lang="da-DK" sz="4800" noProof="0">
                <a:latin typeface="Work Sans Light" pitchFamily="2" charset="0"/>
              </a:rPr>
              <a:t>Agenda</a:t>
            </a:r>
          </a:p>
        </p:txBody>
      </p:sp>
      <p:sp>
        <p:nvSpPr>
          <p:cNvPr id="4" name="Pladsholder til tekst 27">
            <a:extLst>
              <a:ext uri="{FF2B5EF4-FFF2-40B4-BE49-F238E27FC236}">
                <a16:creationId xmlns:a16="http://schemas.microsoft.com/office/drawing/2014/main" id="{9ED5405B-E6D8-0AA4-7093-43C41471FFFC}"/>
              </a:ext>
            </a:extLst>
          </p:cNvPr>
          <p:cNvSpPr>
            <a:spLocks noGrp="1"/>
          </p:cNvSpPr>
          <p:nvPr>
            <p:ph type="body" sz="quarter" idx="22" hasCustomPrompt="1"/>
          </p:nvPr>
        </p:nvSpPr>
        <p:spPr>
          <a:xfrm>
            <a:off x="5948079" y="2030811"/>
            <a:ext cx="3922996"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8" name="Pladsholder til indhold 38">
            <a:extLst>
              <a:ext uri="{FF2B5EF4-FFF2-40B4-BE49-F238E27FC236}">
                <a16:creationId xmlns:a16="http://schemas.microsoft.com/office/drawing/2014/main" id="{089FDB5C-95FC-6228-25A0-FFA44B117D1F}"/>
              </a:ext>
            </a:extLst>
          </p:cNvPr>
          <p:cNvSpPr>
            <a:spLocks noGrp="1"/>
          </p:cNvSpPr>
          <p:nvPr>
            <p:ph sz="quarter" idx="23" hasCustomPrompt="1"/>
          </p:nvPr>
        </p:nvSpPr>
        <p:spPr>
          <a:xfrm>
            <a:off x="5156077" y="2030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10" name="Pladsholder til tekst 27">
            <a:extLst>
              <a:ext uri="{FF2B5EF4-FFF2-40B4-BE49-F238E27FC236}">
                <a16:creationId xmlns:a16="http://schemas.microsoft.com/office/drawing/2014/main" id="{60FFD07F-A2FE-6C41-F11E-A76EC796912E}"/>
              </a:ext>
            </a:extLst>
          </p:cNvPr>
          <p:cNvSpPr>
            <a:spLocks noGrp="1"/>
          </p:cNvSpPr>
          <p:nvPr>
            <p:ph type="body" sz="quarter" idx="24" hasCustomPrompt="1"/>
          </p:nvPr>
        </p:nvSpPr>
        <p:spPr>
          <a:xfrm>
            <a:off x="5948079" y="1166811"/>
            <a:ext cx="3922996"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5156077" y="1166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12" name="Pladsholder til tekst 27">
            <a:extLst>
              <a:ext uri="{FF2B5EF4-FFF2-40B4-BE49-F238E27FC236}">
                <a16:creationId xmlns:a16="http://schemas.microsoft.com/office/drawing/2014/main" id="{E7449D5C-4889-7C85-B135-D9BCC5B3F010}"/>
              </a:ext>
            </a:extLst>
          </p:cNvPr>
          <p:cNvSpPr>
            <a:spLocks noGrp="1"/>
          </p:cNvSpPr>
          <p:nvPr>
            <p:ph type="body" sz="quarter" idx="26" hasCustomPrompt="1"/>
          </p:nvPr>
        </p:nvSpPr>
        <p:spPr>
          <a:xfrm>
            <a:off x="5948079" y="3758811"/>
            <a:ext cx="3922996"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3" name="Pladsholder til indhold 38">
            <a:extLst>
              <a:ext uri="{FF2B5EF4-FFF2-40B4-BE49-F238E27FC236}">
                <a16:creationId xmlns:a16="http://schemas.microsoft.com/office/drawing/2014/main" id="{BF611594-5934-4853-7B72-D1FAC3DC23DF}"/>
              </a:ext>
            </a:extLst>
          </p:cNvPr>
          <p:cNvSpPr>
            <a:spLocks noGrp="1"/>
          </p:cNvSpPr>
          <p:nvPr>
            <p:ph sz="quarter" idx="27" hasCustomPrompt="1"/>
          </p:nvPr>
        </p:nvSpPr>
        <p:spPr>
          <a:xfrm>
            <a:off x="5156077" y="3758811"/>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4</a:t>
            </a:r>
          </a:p>
        </p:txBody>
      </p:sp>
      <p:sp>
        <p:nvSpPr>
          <p:cNvPr id="15" name="Pladsholder til tekst 27">
            <a:extLst>
              <a:ext uri="{FF2B5EF4-FFF2-40B4-BE49-F238E27FC236}">
                <a16:creationId xmlns:a16="http://schemas.microsoft.com/office/drawing/2014/main" id="{3F6B035A-D85E-F504-732F-8690B44F6A86}"/>
              </a:ext>
            </a:extLst>
          </p:cNvPr>
          <p:cNvSpPr>
            <a:spLocks noGrp="1"/>
          </p:cNvSpPr>
          <p:nvPr>
            <p:ph type="body" sz="quarter" idx="28" hasCustomPrompt="1"/>
          </p:nvPr>
        </p:nvSpPr>
        <p:spPr>
          <a:xfrm>
            <a:off x="5948079" y="4631550"/>
            <a:ext cx="3922996"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16" name="Pladsholder til indhold 38">
            <a:extLst>
              <a:ext uri="{FF2B5EF4-FFF2-40B4-BE49-F238E27FC236}">
                <a16:creationId xmlns:a16="http://schemas.microsoft.com/office/drawing/2014/main" id="{6C2CF3A2-B959-2F57-1DB2-791F198185F0}"/>
              </a:ext>
            </a:extLst>
          </p:cNvPr>
          <p:cNvSpPr>
            <a:spLocks noGrp="1"/>
          </p:cNvSpPr>
          <p:nvPr>
            <p:ph sz="quarter" idx="29" hasCustomPrompt="1"/>
          </p:nvPr>
        </p:nvSpPr>
        <p:spPr>
          <a:xfrm>
            <a:off x="5156077" y="4631550"/>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5</a:t>
            </a:r>
          </a:p>
        </p:txBody>
      </p:sp>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endParaRPr lang="da-DK" noProof="0"/>
          </a:p>
        </p:txBody>
      </p:sp>
      <p:sp>
        <p:nvSpPr>
          <p:cNvPr id="5" name="Date Placeholder 3">
            <a:extLst>
              <a:ext uri="{FF2B5EF4-FFF2-40B4-BE49-F238E27FC236}">
                <a16:creationId xmlns:a16="http://schemas.microsoft.com/office/drawing/2014/main" id="{5FC43009-0BB6-9094-D097-E6DAE8BCF838}"/>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ABD44ABF-A974-40B1-BA72-E4FDFD39B8EE}" type="datetime1">
              <a:rPr lang="da-DK" smtClean="0"/>
              <a:t>16-03-2026</a:t>
            </a:fld>
            <a:endParaRPr lang="da-DK"/>
          </a:p>
        </p:txBody>
      </p:sp>
      <p:sp>
        <p:nvSpPr>
          <p:cNvPr id="6" name="Slide Number Placeholder 5">
            <a:extLst>
              <a:ext uri="{FF2B5EF4-FFF2-40B4-BE49-F238E27FC236}">
                <a16:creationId xmlns:a16="http://schemas.microsoft.com/office/drawing/2014/main" id="{7F9C9CE8-4F72-2E98-400F-B79982D605BF}"/>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a:p>
        </p:txBody>
      </p:sp>
    </p:spTree>
    <p:extLst>
      <p:ext uri="{BB962C8B-B14F-4D97-AF65-F5344CB8AC3E}">
        <p14:creationId xmlns:p14="http://schemas.microsoft.com/office/powerpoint/2010/main" val="3985088248"/>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endParaRPr lang="da-DK" noProof="0"/>
          </a:p>
        </p:txBody>
      </p:sp>
      <p:sp>
        <p:nvSpPr>
          <p:cNvPr id="23" name="Pladsholder til tekst 27">
            <a:extLst>
              <a:ext uri="{FF2B5EF4-FFF2-40B4-BE49-F238E27FC236}">
                <a16:creationId xmlns:a16="http://schemas.microsoft.com/office/drawing/2014/main" id="{E379CB5C-E2AC-9C53-BA56-A847A4C6F182}"/>
              </a:ext>
            </a:extLst>
          </p:cNvPr>
          <p:cNvSpPr>
            <a:spLocks noGrp="1"/>
          </p:cNvSpPr>
          <p:nvPr>
            <p:ph type="body" sz="quarter" idx="13" hasCustomPrompt="1"/>
          </p:nvPr>
        </p:nvSpPr>
        <p:spPr>
          <a:xfrm>
            <a:off x="3149255"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4" name="Pladsholder til indhold 38">
            <a:extLst>
              <a:ext uri="{FF2B5EF4-FFF2-40B4-BE49-F238E27FC236}">
                <a16:creationId xmlns:a16="http://schemas.microsoft.com/office/drawing/2014/main" id="{C34F1D52-4741-E939-8039-57EF891412EB}"/>
              </a:ext>
            </a:extLst>
          </p:cNvPr>
          <p:cNvSpPr>
            <a:spLocks noGrp="1"/>
          </p:cNvSpPr>
          <p:nvPr>
            <p:ph sz="quarter" idx="21" hasCustomPrompt="1"/>
          </p:nvPr>
        </p:nvSpPr>
        <p:spPr>
          <a:xfrm>
            <a:off x="2357253"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25" name="Pladsholder til tekst 27">
            <a:extLst>
              <a:ext uri="{FF2B5EF4-FFF2-40B4-BE49-F238E27FC236}">
                <a16:creationId xmlns:a16="http://schemas.microsoft.com/office/drawing/2014/main" id="{62943C01-8003-4E8C-CE1A-61097EACCD6B}"/>
              </a:ext>
            </a:extLst>
          </p:cNvPr>
          <p:cNvSpPr>
            <a:spLocks noGrp="1"/>
          </p:cNvSpPr>
          <p:nvPr>
            <p:ph type="body" sz="quarter" idx="22" hasCustomPrompt="1"/>
          </p:nvPr>
        </p:nvSpPr>
        <p:spPr>
          <a:xfrm>
            <a:off x="3149255"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6" name="Pladsholder til indhold 38">
            <a:extLst>
              <a:ext uri="{FF2B5EF4-FFF2-40B4-BE49-F238E27FC236}">
                <a16:creationId xmlns:a16="http://schemas.microsoft.com/office/drawing/2014/main" id="{11132FD0-77E2-028D-CA37-F7409765A477}"/>
              </a:ext>
            </a:extLst>
          </p:cNvPr>
          <p:cNvSpPr>
            <a:spLocks noGrp="1"/>
          </p:cNvSpPr>
          <p:nvPr>
            <p:ph sz="quarter" idx="23" hasCustomPrompt="1"/>
          </p:nvPr>
        </p:nvSpPr>
        <p:spPr>
          <a:xfrm>
            <a:off x="2357253"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27" name="Pladsholder til tekst 27">
            <a:extLst>
              <a:ext uri="{FF2B5EF4-FFF2-40B4-BE49-F238E27FC236}">
                <a16:creationId xmlns:a16="http://schemas.microsoft.com/office/drawing/2014/main" id="{500B8224-A01F-15E1-0985-2B24FBAF3D54}"/>
              </a:ext>
            </a:extLst>
          </p:cNvPr>
          <p:cNvSpPr>
            <a:spLocks noGrp="1"/>
          </p:cNvSpPr>
          <p:nvPr>
            <p:ph type="body" sz="quarter" idx="24" hasCustomPrompt="1"/>
          </p:nvPr>
        </p:nvSpPr>
        <p:spPr>
          <a:xfrm>
            <a:off x="3149255" y="1944599"/>
            <a:ext cx="3744912" cy="720000"/>
          </a:xfrm>
        </p:spPr>
        <p:txBody>
          <a:bodyPr anchor="t">
            <a:noAutofit/>
          </a:bodyPr>
          <a:lstStyle>
            <a:lvl1pPr marL="0" indent="0">
              <a:lnSpc>
                <a:spcPct val="100000"/>
              </a:lnSpc>
              <a:buNone/>
              <a:defRPr sz="1400">
                <a:solidFill>
                  <a:schemeClr val="tx1"/>
                </a:solidFill>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9" name="Pladsholder til indhold 38">
            <a:extLst>
              <a:ext uri="{FF2B5EF4-FFF2-40B4-BE49-F238E27FC236}">
                <a16:creationId xmlns:a16="http://schemas.microsoft.com/office/drawing/2014/main" id="{F3E6E751-5930-4B9F-F9AF-C1CBB7DEB57C}"/>
              </a:ext>
            </a:extLst>
          </p:cNvPr>
          <p:cNvSpPr>
            <a:spLocks noGrp="1"/>
          </p:cNvSpPr>
          <p:nvPr>
            <p:ph sz="quarter" idx="25" hasCustomPrompt="1"/>
          </p:nvPr>
        </p:nvSpPr>
        <p:spPr>
          <a:xfrm>
            <a:off x="2357253"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30" name="Pladsholder til tekst 27">
            <a:extLst>
              <a:ext uri="{FF2B5EF4-FFF2-40B4-BE49-F238E27FC236}">
                <a16:creationId xmlns:a16="http://schemas.microsoft.com/office/drawing/2014/main" id="{CE2B3114-29AD-9D6C-AD18-A016D8452E1D}"/>
              </a:ext>
            </a:extLst>
          </p:cNvPr>
          <p:cNvSpPr>
            <a:spLocks noGrp="1"/>
          </p:cNvSpPr>
          <p:nvPr>
            <p:ph type="body" sz="quarter" idx="26" hasCustomPrompt="1"/>
          </p:nvPr>
        </p:nvSpPr>
        <p:spPr>
          <a:xfrm>
            <a:off x="3149255"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1" name="Pladsholder til indhold 38">
            <a:extLst>
              <a:ext uri="{FF2B5EF4-FFF2-40B4-BE49-F238E27FC236}">
                <a16:creationId xmlns:a16="http://schemas.microsoft.com/office/drawing/2014/main" id="{A851D3DC-5E8A-29FC-0FC8-0CE7FCBABE2E}"/>
              </a:ext>
            </a:extLst>
          </p:cNvPr>
          <p:cNvSpPr>
            <a:spLocks noGrp="1"/>
          </p:cNvSpPr>
          <p:nvPr>
            <p:ph sz="quarter" idx="27" hasCustomPrompt="1"/>
          </p:nvPr>
        </p:nvSpPr>
        <p:spPr>
          <a:xfrm>
            <a:off x="2357253"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4</a:t>
            </a:r>
          </a:p>
        </p:txBody>
      </p:sp>
      <p:sp>
        <p:nvSpPr>
          <p:cNvPr id="32" name="Pladsholder til tekst 27">
            <a:extLst>
              <a:ext uri="{FF2B5EF4-FFF2-40B4-BE49-F238E27FC236}">
                <a16:creationId xmlns:a16="http://schemas.microsoft.com/office/drawing/2014/main" id="{DD844EAE-3700-6A21-F9D2-A93926D2E90F}"/>
              </a:ext>
            </a:extLst>
          </p:cNvPr>
          <p:cNvSpPr>
            <a:spLocks noGrp="1"/>
          </p:cNvSpPr>
          <p:nvPr>
            <p:ph type="body" sz="quarter" idx="28" hasCustomPrompt="1"/>
          </p:nvPr>
        </p:nvSpPr>
        <p:spPr>
          <a:xfrm>
            <a:off x="3149255"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3" name="Pladsholder til indhold 38">
            <a:extLst>
              <a:ext uri="{FF2B5EF4-FFF2-40B4-BE49-F238E27FC236}">
                <a16:creationId xmlns:a16="http://schemas.microsoft.com/office/drawing/2014/main" id="{4F5BB7CA-C703-71A2-14BB-D6978110908B}"/>
              </a:ext>
            </a:extLst>
          </p:cNvPr>
          <p:cNvSpPr>
            <a:spLocks noGrp="1"/>
          </p:cNvSpPr>
          <p:nvPr>
            <p:ph sz="quarter" idx="29" hasCustomPrompt="1"/>
          </p:nvPr>
        </p:nvSpPr>
        <p:spPr>
          <a:xfrm>
            <a:off x="2357253"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5</a:t>
            </a:r>
          </a:p>
        </p:txBody>
      </p:sp>
      <p:sp>
        <p:nvSpPr>
          <p:cNvPr id="34" name="Pladsholder til tekst 27">
            <a:extLst>
              <a:ext uri="{FF2B5EF4-FFF2-40B4-BE49-F238E27FC236}">
                <a16:creationId xmlns:a16="http://schemas.microsoft.com/office/drawing/2014/main" id="{B30DFB6D-079C-8B47-D8A2-672666BB4328}"/>
              </a:ext>
            </a:extLst>
          </p:cNvPr>
          <p:cNvSpPr>
            <a:spLocks noGrp="1"/>
          </p:cNvSpPr>
          <p:nvPr>
            <p:ph type="body" sz="quarter" idx="33" hasCustomPrompt="1"/>
          </p:nvPr>
        </p:nvSpPr>
        <p:spPr>
          <a:xfrm>
            <a:off x="7830977"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5" name="Pladsholder til indhold 38">
            <a:extLst>
              <a:ext uri="{FF2B5EF4-FFF2-40B4-BE49-F238E27FC236}">
                <a16:creationId xmlns:a16="http://schemas.microsoft.com/office/drawing/2014/main" id="{E4007F68-EB55-4361-1B64-2AD90CA4258D}"/>
              </a:ext>
            </a:extLst>
          </p:cNvPr>
          <p:cNvSpPr>
            <a:spLocks noGrp="1"/>
          </p:cNvSpPr>
          <p:nvPr>
            <p:ph sz="quarter" idx="34" hasCustomPrompt="1"/>
          </p:nvPr>
        </p:nvSpPr>
        <p:spPr>
          <a:xfrm>
            <a:off x="7038975"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8</a:t>
            </a:r>
          </a:p>
        </p:txBody>
      </p:sp>
      <p:sp>
        <p:nvSpPr>
          <p:cNvPr id="36" name="Pladsholder til tekst 27">
            <a:extLst>
              <a:ext uri="{FF2B5EF4-FFF2-40B4-BE49-F238E27FC236}">
                <a16:creationId xmlns:a16="http://schemas.microsoft.com/office/drawing/2014/main" id="{536C8716-06B3-785C-9A91-4ACE0A60D66F}"/>
              </a:ext>
            </a:extLst>
          </p:cNvPr>
          <p:cNvSpPr>
            <a:spLocks noGrp="1"/>
          </p:cNvSpPr>
          <p:nvPr>
            <p:ph type="body" sz="quarter" idx="35" hasCustomPrompt="1"/>
          </p:nvPr>
        </p:nvSpPr>
        <p:spPr>
          <a:xfrm>
            <a:off x="7830977"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7" name="Pladsholder til indhold 38">
            <a:extLst>
              <a:ext uri="{FF2B5EF4-FFF2-40B4-BE49-F238E27FC236}">
                <a16:creationId xmlns:a16="http://schemas.microsoft.com/office/drawing/2014/main" id="{92426736-5966-D2C5-5E13-648B728A0C6E}"/>
              </a:ext>
            </a:extLst>
          </p:cNvPr>
          <p:cNvSpPr>
            <a:spLocks noGrp="1"/>
          </p:cNvSpPr>
          <p:nvPr>
            <p:ph sz="quarter" idx="36" hasCustomPrompt="1"/>
          </p:nvPr>
        </p:nvSpPr>
        <p:spPr>
          <a:xfrm>
            <a:off x="7038975"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7</a:t>
            </a:r>
          </a:p>
        </p:txBody>
      </p:sp>
      <p:sp>
        <p:nvSpPr>
          <p:cNvPr id="38" name="Pladsholder til tekst 27">
            <a:extLst>
              <a:ext uri="{FF2B5EF4-FFF2-40B4-BE49-F238E27FC236}">
                <a16:creationId xmlns:a16="http://schemas.microsoft.com/office/drawing/2014/main" id="{CEC9C6C5-5E5F-69C1-512D-F1C09C9739BD}"/>
              </a:ext>
            </a:extLst>
          </p:cNvPr>
          <p:cNvSpPr>
            <a:spLocks noGrp="1"/>
          </p:cNvSpPr>
          <p:nvPr>
            <p:ph type="body" sz="quarter" idx="37" hasCustomPrompt="1"/>
          </p:nvPr>
        </p:nvSpPr>
        <p:spPr>
          <a:xfrm>
            <a:off x="7830977" y="1944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0" name="Pladsholder til indhold 38">
            <a:extLst>
              <a:ext uri="{FF2B5EF4-FFF2-40B4-BE49-F238E27FC236}">
                <a16:creationId xmlns:a16="http://schemas.microsoft.com/office/drawing/2014/main" id="{D40291E1-1A01-93BF-7F57-220EE961DBBA}"/>
              </a:ext>
            </a:extLst>
          </p:cNvPr>
          <p:cNvSpPr>
            <a:spLocks noGrp="1"/>
          </p:cNvSpPr>
          <p:nvPr>
            <p:ph sz="quarter" idx="38" hasCustomPrompt="1"/>
          </p:nvPr>
        </p:nvSpPr>
        <p:spPr>
          <a:xfrm>
            <a:off x="7038975"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6</a:t>
            </a:r>
          </a:p>
        </p:txBody>
      </p:sp>
      <p:sp>
        <p:nvSpPr>
          <p:cNvPr id="41" name="Pladsholder til tekst 27">
            <a:extLst>
              <a:ext uri="{FF2B5EF4-FFF2-40B4-BE49-F238E27FC236}">
                <a16:creationId xmlns:a16="http://schemas.microsoft.com/office/drawing/2014/main" id="{D1C277A7-919F-CA28-B00F-4D2C7CD58933}"/>
              </a:ext>
            </a:extLst>
          </p:cNvPr>
          <p:cNvSpPr>
            <a:spLocks noGrp="1"/>
          </p:cNvSpPr>
          <p:nvPr>
            <p:ph type="body" sz="quarter" idx="39" hasCustomPrompt="1"/>
          </p:nvPr>
        </p:nvSpPr>
        <p:spPr>
          <a:xfrm>
            <a:off x="7830977"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2" name="Pladsholder til indhold 38">
            <a:extLst>
              <a:ext uri="{FF2B5EF4-FFF2-40B4-BE49-F238E27FC236}">
                <a16:creationId xmlns:a16="http://schemas.microsoft.com/office/drawing/2014/main" id="{FFAF27CD-066B-D81F-5FBE-6A9FAE459893}"/>
              </a:ext>
            </a:extLst>
          </p:cNvPr>
          <p:cNvSpPr>
            <a:spLocks noGrp="1"/>
          </p:cNvSpPr>
          <p:nvPr>
            <p:ph sz="quarter" idx="40" hasCustomPrompt="1"/>
          </p:nvPr>
        </p:nvSpPr>
        <p:spPr>
          <a:xfrm>
            <a:off x="7038975"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9</a:t>
            </a:r>
          </a:p>
        </p:txBody>
      </p:sp>
      <p:sp>
        <p:nvSpPr>
          <p:cNvPr id="43" name="Pladsholder til tekst 27">
            <a:extLst>
              <a:ext uri="{FF2B5EF4-FFF2-40B4-BE49-F238E27FC236}">
                <a16:creationId xmlns:a16="http://schemas.microsoft.com/office/drawing/2014/main" id="{4BDC77FD-B70E-7972-99F3-0233B6DADF59}"/>
              </a:ext>
            </a:extLst>
          </p:cNvPr>
          <p:cNvSpPr>
            <a:spLocks noGrp="1"/>
          </p:cNvSpPr>
          <p:nvPr>
            <p:ph type="body" sz="quarter" idx="41" hasCustomPrompt="1"/>
          </p:nvPr>
        </p:nvSpPr>
        <p:spPr>
          <a:xfrm>
            <a:off x="7830977"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4" name="Pladsholder til indhold 38">
            <a:extLst>
              <a:ext uri="{FF2B5EF4-FFF2-40B4-BE49-F238E27FC236}">
                <a16:creationId xmlns:a16="http://schemas.microsoft.com/office/drawing/2014/main" id="{9190FB13-7976-8BE1-BB0C-5B608569B43D}"/>
              </a:ext>
            </a:extLst>
          </p:cNvPr>
          <p:cNvSpPr>
            <a:spLocks noGrp="1"/>
          </p:cNvSpPr>
          <p:nvPr>
            <p:ph sz="quarter" idx="42" hasCustomPrompt="1"/>
          </p:nvPr>
        </p:nvSpPr>
        <p:spPr>
          <a:xfrm>
            <a:off x="7038975"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0</a:t>
            </a:r>
          </a:p>
        </p:txBody>
      </p:sp>
      <p:sp>
        <p:nvSpPr>
          <p:cNvPr id="5" name="Pladsholder til tekst 5">
            <a:extLst>
              <a:ext uri="{FF2B5EF4-FFF2-40B4-BE49-F238E27FC236}">
                <a16:creationId xmlns:a16="http://schemas.microsoft.com/office/drawing/2014/main" id="{C621C992-121E-489B-5837-4762CC9BDC20}"/>
              </a:ext>
            </a:extLst>
          </p:cNvPr>
          <p:cNvSpPr>
            <a:spLocks noGrp="1"/>
          </p:cNvSpPr>
          <p:nvPr>
            <p:ph type="body" sz="quarter" idx="43" hasCustomPrompt="1"/>
          </p:nvPr>
        </p:nvSpPr>
        <p:spPr>
          <a:xfrm>
            <a:off x="1343025" y="916738"/>
            <a:ext cx="5551142" cy="738188"/>
          </a:xfrm>
        </p:spPr>
        <p:txBody>
          <a:bodyPr/>
          <a:lstStyle>
            <a:lvl1pPr marL="0" indent="0" algn="l">
              <a:buNone/>
              <a:defRPr sz="4800">
                <a:latin typeface="Work Sans Light" pitchFamily="2" charset="0"/>
              </a:defRPr>
            </a:lvl1pPr>
          </a:lstStyle>
          <a:p>
            <a:pPr lvl="0"/>
            <a:r>
              <a:rPr lang="en-US"/>
              <a:t>Agenda</a:t>
            </a:r>
            <a:endParaRPr lang="da-DK"/>
          </a:p>
        </p:txBody>
      </p:sp>
      <p:sp>
        <p:nvSpPr>
          <p:cNvPr id="4" name="Date Placeholder 3">
            <a:extLst>
              <a:ext uri="{FF2B5EF4-FFF2-40B4-BE49-F238E27FC236}">
                <a16:creationId xmlns:a16="http://schemas.microsoft.com/office/drawing/2014/main" id="{F84C1ED8-971F-D27C-5AEA-11AB11F710FA}"/>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0A4E713C-476E-4416-98D1-444EFEFD7C7C}" type="datetime1">
              <a:rPr lang="da-DK" smtClean="0"/>
              <a:t>16-03-2026</a:t>
            </a:fld>
            <a:endParaRPr lang="da-DK"/>
          </a:p>
        </p:txBody>
      </p:sp>
      <p:sp>
        <p:nvSpPr>
          <p:cNvPr id="6" name="Slide Number Placeholder 5">
            <a:extLst>
              <a:ext uri="{FF2B5EF4-FFF2-40B4-BE49-F238E27FC236}">
                <a16:creationId xmlns:a16="http://schemas.microsoft.com/office/drawing/2014/main" id="{6BCAC577-9627-D685-C4D8-7693F7FB6F90}"/>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a:p>
        </p:txBody>
      </p:sp>
    </p:spTree>
    <p:extLst>
      <p:ext uri="{BB962C8B-B14F-4D97-AF65-F5344CB8AC3E}">
        <p14:creationId xmlns:p14="http://schemas.microsoft.com/office/powerpoint/2010/main" val="2196420248"/>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re pointer/tekstelementer">
    <p:spTree>
      <p:nvGrpSpPr>
        <p:cNvPr id="1" name=""/>
        <p:cNvGrpSpPr/>
        <p:nvPr/>
      </p:nvGrpSpPr>
      <p:grpSpPr>
        <a:xfrm>
          <a:off x="0" y="0"/>
          <a:ext cx="0" cy="0"/>
          <a:chOff x="0" y="0"/>
          <a:chExt cx="0" cy="0"/>
        </a:xfrm>
      </p:grpSpPr>
      <p:sp>
        <p:nvSpPr>
          <p:cNvPr id="8" name="Pladsholder til billede 14">
            <a:extLst>
              <a:ext uri="{FF2B5EF4-FFF2-40B4-BE49-F238E27FC236}">
                <a16:creationId xmlns:a16="http://schemas.microsoft.com/office/drawing/2014/main" id="{553E5F1F-8BAB-6D02-6AE4-D74E4E360DEF}"/>
              </a:ext>
            </a:extLst>
          </p:cNvPr>
          <p:cNvSpPr>
            <a:spLocks noGrp="1"/>
          </p:cNvSpPr>
          <p:nvPr>
            <p:ph type="pic" sz="quarter" idx="15"/>
          </p:nvPr>
        </p:nvSpPr>
        <p:spPr>
          <a:xfrm>
            <a:off x="8319048" y="-5737"/>
            <a:ext cx="4120602" cy="6867670"/>
          </a:xfrm>
          <a:custGeom>
            <a:avLst/>
            <a:gdLst>
              <a:gd name="connsiteX0" fmla="*/ 504640 w 3872952"/>
              <a:gd name="connsiteY0" fmla="*/ 0 h 6858000"/>
              <a:gd name="connsiteX1" fmla="*/ 3872952 w 3872952"/>
              <a:gd name="connsiteY1" fmla="*/ 0 h 6858000"/>
              <a:gd name="connsiteX2" fmla="*/ 3872952 w 3872952"/>
              <a:gd name="connsiteY2" fmla="*/ 6858000 h 6858000"/>
              <a:gd name="connsiteX3" fmla="*/ 504639 w 3872952"/>
              <a:gd name="connsiteY3" fmla="*/ 6858000 h 6858000"/>
              <a:gd name="connsiteX4" fmla="*/ 374013 w 3872952"/>
              <a:gd name="connsiteY4" fmla="*/ 6397998 h 6858000"/>
              <a:gd name="connsiteX5" fmla="*/ 0 w 3872952"/>
              <a:gd name="connsiteY5" fmla="*/ 3429000 h 6858000"/>
              <a:gd name="connsiteX6" fmla="*/ 374013 w 3872952"/>
              <a:gd name="connsiteY6" fmla="*/ 4600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2952" h="6858000">
                <a:moveTo>
                  <a:pt x="504640" y="0"/>
                </a:moveTo>
                <a:lnTo>
                  <a:pt x="3872952" y="0"/>
                </a:lnTo>
                <a:lnTo>
                  <a:pt x="3872952" y="6858000"/>
                </a:lnTo>
                <a:lnTo>
                  <a:pt x="504639" y="6858000"/>
                </a:lnTo>
                <a:lnTo>
                  <a:pt x="374013" y="6397998"/>
                </a:lnTo>
                <a:cubicBezTo>
                  <a:pt x="129854" y="5449028"/>
                  <a:pt x="0" y="4454179"/>
                  <a:pt x="0" y="3429000"/>
                </a:cubicBezTo>
                <a:cubicBezTo>
                  <a:pt x="0" y="2403822"/>
                  <a:pt x="129854" y="1408972"/>
                  <a:pt x="374013" y="460003"/>
                </a:cubicBezTo>
                <a:close/>
              </a:path>
            </a:pathLst>
          </a:custGeom>
          <a:blipFill>
            <a:blip r:embed="rId2" cstate="screen">
              <a:extLst>
                <a:ext uri="{28A0092B-C50C-407E-A947-70E740481C1C}">
                  <a14:useLocalDpi xmlns:a14="http://schemas.microsoft.com/office/drawing/2010/main"/>
                </a:ext>
              </a:extLst>
            </a:blip>
            <a:srcRect/>
            <a:stretch>
              <a:fillRect/>
            </a:stretch>
          </a:blipFill>
        </p:spPr>
        <p:txBody>
          <a:bodyPr wrap="square" lIns="720000" tIns="720000" rIns="720000">
            <a:noAutofit/>
          </a:bodyPr>
          <a:lstStyle/>
          <a:p>
            <a:endParaRPr lang="da-DK" noProof="0"/>
          </a:p>
        </p:txBody>
      </p:sp>
      <p:sp>
        <p:nvSpPr>
          <p:cNvPr id="3" name="Pladsholder til tekst 2">
            <a:extLst>
              <a:ext uri="{FF2B5EF4-FFF2-40B4-BE49-F238E27FC236}">
                <a16:creationId xmlns:a16="http://schemas.microsoft.com/office/drawing/2014/main" id="{52A32D22-6497-111B-5ED8-EC302ED9F6D3}"/>
              </a:ext>
            </a:extLst>
          </p:cNvPr>
          <p:cNvSpPr>
            <a:spLocks noGrp="1"/>
          </p:cNvSpPr>
          <p:nvPr>
            <p:ph type="body" sz="quarter" idx="26" hasCustomPrompt="1"/>
          </p:nvPr>
        </p:nvSpPr>
        <p:spPr>
          <a:xfrm rot="5400000">
            <a:off x="1343025"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11" name="Pladsholder til indhold 38">
            <a:extLst>
              <a:ext uri="{FF2B5EF4-FFF2-40B4-BE49-F238E27FC236}">
                <a16:creationId xmlns:a16="http://schemas.microsoft.com/office/drawing/2014/main" id="{6158882B-1228-0AB6-B4D5-79988C71A603}"/>
              </a:ext>
            </a:extLst>
          </p:cNvPr>
          <p:cNvSpPr>
            <a:spLocks noGrp="1"/>
          </p:cNvSpPr>
          <p:nvPr>
            <p:ph sz="quarter" idx="25" hasCustomPrompt="1"/>
          </p:nvPr>
        </p:nvSpPr>
        <p:spPr>
          <a:xfrm>
            <a:off x="3141450"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24" name="Subtitle 2">
            <a:extLst>
              <a:ext uri="{FF2B5EF4-FFF2-40B4-BE49-F238E27FC236}">
                <a16:creationId xmlns:a16="http://schemas.microsoft.com/office/drawing/2014/main" id="{4DD335D4-2565-8E09-739E-B31DF249384D}"/>
              </a:ext>
            </a:extLst>
          </p:cNvPr>
          <p:cNvSpPr>
            <a:spLocks noGrp="1"/>
          </p:cNvSpPr>
          <p:nvPr>
            <p:ph type="subTitle" idx="1"/>
          </p:nvPr>
        </p:nvSpPr>
        <p:spPr>
          <a:xfrm>
            <a:off x="431798" y="1511800"/>
            <a:ext cx="5664201" cy="576000"/>
          </a:xfrm>
        </p:spPr>
        <p:txBody>
          <a:bodyPr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sp>
        <p:nvSpPr>
          <p:cNvPr id="27" name="Pladsholder til tekst 2">
            <a:extLst>
              <a:ext uri="{FF2B5EF4-FFF2-40B4-BE49-F238E27FC236}">
                <a16:creationId xmlns:a16="http://schemas.microsoft.com/office/drawing/2014/main" id="{18755EF9-BADD-ACFC-6605-C6CCBE3E6C61}"/>
              </a:ext>
            </a:extLst>
          </p:cNvPr>
          <p:cNvSpPr>
            <a:spLocks noGrp="1"/>
          </p:cNvSpPr>
          <p:nvPr>
            <p:ph type="body" sz="quarter" idx="27" hasCustomPrompt="1"/>
          </p:nvPr>
        </p:nvSpPr>
        <p:spPr>
          <a:xfrm rot="5400000">
            <a:off x="4160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29" name="Pladsholder til indhold 38">
            <a:extLst>
              <a:ext uri="{FF2B5EF4-FFF2-40B4-BE49-F238E27FC236}">
                <a16:creationId xmlns:a16="http://schemas.microsoft.com/office/drawing/2014/main" id="{5D7F7C72-5D18-4621-7488-B9721DD26E23}"/>
              </a:ext>
            </a:extLst>
          </p:cNvPr>
          <p:cNvSpPr>
            <a:spLocks noGrp="1"/>
          </p:cNvSpPr>
          <p:nvPr>
            <p:ph sz="quarter" idx="28" hasCustomPrompt="1"/>
          </p:nvPr>
        </p:nvSpPr>
        <p:spPr>
          <a:xfrm>
            <a:off x="5958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31" name="Pladsholder til tekst 2">
            <a:extLst>
              <a:ext uri="{FF2B5EF4-FFF2-40B4-BE49-F238E27FC236}">
                <a16:creationId xmlns:a16="http://schemas.microsoft.com/office/drawing/2014/main" id="{E4E173DA-3F2E-D803-1A5A-DC349D0D7DF9}"/>
              </a:ext>
            </a:extLst>
          </p:cNvPr>
          <p:cNvSpPr>
            <a:spLocks noGrp="1"/>
          </p:cNvSpPr>
          <p:nvPr>
            <p:ph type="body" sz="quarter" idx="29" hasCustomPrompt="1"/>
          </p:nvPr>
        </p:nvSpPr>
        <p:spPr>
          <a:xfrm rot="5400000">
            <a:off x="6968009" y="2435971"/>
            <a:ext cx="2520000" cy="2520000"/>
          </a:xfrm>
          <a:prstGeom prst="round1Rect">
            <a:avLst/>
          </a:prstGeom>
          <a:solidFill>
            <a:schemeClr val="bg2"/>
          </a:solidFill>
        </p:spPr>
        <p:txBody>
          <a:bodyPr vert="vert270" lIns="1512000" tIns="144000" rIns="144000" bIns="144000" anchor="t"/>
          <a:lstStyle>
            <a:lvl1pPr marL="0" indent="0">
              <a:lnSpc>
                <a:spcPct val="100000"/>
              </a:lnSpc>
              <a:spcBef>
                <a:spcPts val="0"/>
              </a:spcBef>
              <a:buNone/>
              <a:defRPr>
                <a:latin typeface="Work Sans SemiBold" pitchFamily="2" charset="0"/>
              </a:defRPr>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noProof="0"/>
              <a:t>Hovedpointe</a:t>
            </a:r>
          </a:p>
        </p:txBody>
      </p:sp>
      <p:sp>
        <p:nvSpPr>
          <p:cNvPr id="32" name="Pladsholder til indhold 38">
            <a:extLst>
              <a:ext uri="{FF2B5EF4-FFF2-40B4-BE49-F238E27FC236}">
                <a16:creationId xmlns:a16="http://schemas.microsoft.com/office/drawing/2014/main" id="{AB4154FD-CEC6-4968-4D09-E9C02146256C}"/>
              </a:ext>
            </a:extLst>
          </p:cNvPr>
          <p:cNvSpPr>
            <a:spLocks noGrp="1"/>
          </p:cNvSpPr>
          <p:nvPr>
            <p:ph sz="quarter" idx="30" hasCustomPrompt="1"/>
          </p:nvPr>
        </p:nvSpPr>
        <p:spPr>
          <a:xfrm>
            <a:off x="8766434" y="2579971"/>
            <a:ext cx="576000" cy="576000"/>
          </a:xfrm>
        </p:spPr>
        <p:txBody>
          <a:bodyPr anchor="t"/>
          <a:lstStyle>
            <a:lvl1pPr marL="0" indent="0" algn="r">
              <a:lnSpc>
                <a:spcPct val="80000"/>
              </a:lnSpc>
              <a:spcBef>
                <a:spcPts val="0"/>
              </a:spcBef>
              <a:buNone/>
              <a:defRPr sz="3600">
                <a:solidFill>
                  <a:schemeClr val="tx1"/>
                </a:solidFill>
                <a:latin typeface="Work Sans Light" pitchFamily="2" charset="0"/>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4" name="Footer Placeholder 3">
            <a:extLst>
              <a:ext uri="{FF2B5EF4-FFF2-40B4-BE49-F238E27FC236}">
                <a16:creationId xmlns:a16="http://schemas.microsoft.com/office/drawing/2014/main" id="{8F57F3AF-C3CB-F3F3-2FD8-EB912B833780}"/>
              </a:ext>
            </a:extLst>
          </p:cNvPr>
          <p:cNvSpPr>
            <a:spLocks noGrp="1"/>
          </p:cNvSpPr>
          <p:nvPr>
            <p:ph type="ftr" sz="quarter" idx="32"/>
          </p:nvPr>
        </p:nvSpPr>
        <p:spPr/>
        <p:txBody>
          <a:bodyPr/>
          <a:lstStyle/>
          <a:p>
            <a:endParaRPr lang="da-DK" noProof="0"/>
          </a:p>
        </p:txBody>
      </p:sp>
      <p:sp>
        <p:nvSpPr>
          <p:cNvPr id="5" name="Title 12">
            <a:extLst>
              <a:ext uri="{FF2B5EF4-FFF2-40B4-BE49-F238E27FC236}">
                <a16:creationId xmlns:a16="http://schemas.microsoft.com/office/drawing/2014/main" id="{B48E5EE1-BF17-35A9-500D-F97B5113AEBF}"/>
              </a:ext>
            </a:extLst>
          </p:cNvPr>
          <p:cNvSpPr>
            <a:spLocks noGrp="1"/>
          </p:cNvSpPr>
          <p:nvPr>
            <p:ph type="title" hasCustomPrompt="1"/>
          </p:nvPr>
        </p:nvSpPr>
        <p:spPr>
          <a:xfrm>
            <a:off x="431799" y="431800"/>
            <a:ext cx="7714674" cy="864000"/>
          </a:xfrm>
        </p:spPr>
        <p:txBody>
          <a:bodyPr anchor="ctr"/>
          <a:lstStyle>
            <a:lvl1pPr>
              <a:defRPr/>
            </a:lvl1pPr>
          </a:lstStyle>
          <a:p>
            <a:r>
              <a:rPr lang="da-DK" noProof="0"/>
              <a:t>Klik for at redigere titeltypografien i masteren </a:t>
            </a:r>
          </a:p>
        </p:txBody>
      </p:sp>
      <p:sp>
        <p:nvSpPr>
          <p:cNvPr id="6" name="Date Placeholder 3">
            <a:extLst>
              <a:ext uri="{FF2B5EF4-FFF2-40B4-BE49-F238E27FC236}">
                <a16:creationId xmlns:a16="http://schemas.microsoft.com/office/drawing/2014/main" id="{A3E80F01-9EFA-47FD-FE69-AE0DB0540FFB}"/>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259A1406-847F-4534-A5CF-74986E276136}" type="datetime1">
              <a:rPr lang="da-DK" smtClean="0"/>
              <a:t>16-03-2026</a:t>
            </a:fld>
            <a:endParaRPr lang="da-DK"/>
          </a:p>
        </p:txBody>
      </p:sp>
      <p:sp>
        <p:nvSpPr>
          <p:cNvPr id="7" name="Slide Number Placeholder 5">
            <a:extLst>
              <a:ext uri="{FF2B5EF4-FFF2-40B4-BE49-F238E27FC236}">
                <a16:creationId xmlns:a16="http://schemas.microsoft.com/office/drawing/2014/main" id="{5F71A41C-923A-4538-4400-76237DDE6AAF}"/>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a:p>
        </p:txBody>
      </p:sp>
    </p:spTree>
    <p:extLst>
      <p:ext uri="{BB962C8B-B14F-4D97-AF65-F5344CB8AC3E}">
        <p14:creationId xmlns:p14="http://schemas.microsoft.com/office/powerpoint/2010/main" val="396619337"/>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o indholdselementer">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6180201" y="1655999"/>
            <a:ext cx="5580000" cy="4473337"/>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endParaRPr lang="da-DK" noProof="0"/>
          </a:p>
        </p:txBody>
      </p:sp>
      <p:sp>
        <p:nvSpPr>
          <p:cNvPr id="6" name="Content Placeholder">
            <a:extLst>
              <a:ext uri="{FF2B5EF4-FFF2-40B4-BE49-F238E27FC236}">
                <a16:creationId xmlns:a16="http://schemas.microsoft.com/office/drawing/2014/main" id="{48F86D0C-D364-ABE6-D216-EDF6D94078E6}"/>
              </a:ext>
            </a:extLst>
          </p:cNvPr>
          <p:cNvSpPr>
            <a:spLocks noGrp="1"/>
          </p:cNvSpPr>
          <p:nvPr>
            <p:ph sz="quarter" idx="18" hasCustomPrompt="1"/>
          </p:nvPr>
        </p:nvSpPr>
        <p:spPr>
          <a:xfrm>
            <a:off x="431798" y="1656000"/>
            <a:ext cx="5580000" cy="4473336"/>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5" name="Title 12">
            <a:extLst>
              <a:ext uri="{FF2B5EF4-FFF2-40B4-BE49-F238E27FC236}">
                <a16:creationId xmlns:a16="http://schemas.microsoft.com/office/drawing/2014/main" id="{657E96EA-4C51-214A-8F66-5B848C762714}"/>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7" name="Date Placeholder 3">
            <a:extLst>
              <a:ext uri="{FF2B5EF4-FFF2-40B4-BE49-F238E27FC236}">
                <a16:creationId xmlns:a16="http://schemas.microsoft.com/office/drawing/2014/main" id="{EB265B59-131E-35D2-9ACB-04FB3E2C0E1F}"/>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577B1292-0FE6-4E1F-A04D-EA562481BF6C}" type="datetime1">
              <a:rPr lang="da-DK" smtClean="0"/>
              <a:t>16-03-2026</a:t>
            </a:fld>
            <a:endParaRPr lang="da-DK"/>
          </a:p>
        </p:txBody>
      </p:sp>
      <p:sp>
        <p:nvSpPr>
          <p:cNvPr id="11" name="Slide Number Placeholder 5">
            <a:extLst>
              <a:ext uri="{FF2B5EF4-FFF2-40B4-BE49-F238E27FC236}">
                <a16:creationId xmlns:a16="http://schemas.microsoft.com/office/drawing/2014/main" id="{86F2C642-0154-BD5B-9BC2-F0F7783FEADC}"/>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a:p>
        </p:txBody>
      </p:sp>
    </p:spTree>
    <p:extLst>
      <p:ext uri="{BB962C8B-B14F-4D97-AF65-F5344CB8AC3E}">
        <p14:creationId xmlns:p14="http://schemas.microsoft.com/office/powerpoint/2010/main" val="1006917307"/>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2">
    <p:bg>
      <p:bgPr>
        <a:solidFill>
          <a:schemeClr val="bg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6640BC3-7044-B81C-328D-F4BBF2415911}"/>
              </a:ext>
            </a:extLst>
          </p:cNvPr>
          <p:cNvSpPr>
            <a:spLocks noGrp="1"/>
          </p:cNvSpPr>
          <p:nvPr>
            <p:ph type="dt" sz="half" idx="30"/>
          </p:nvPr>
        </p:nvSpPr>
        <p:spPr>
          <a:xfrm>
            <a:off x="5152319" y="6430133"/>
            <a:ext cx="849959" cy="144000"/>
          </a:xfrm>
        </p:spPr>
        <p:txBody>
          <a:bodyPr/>
          <a:lstStyle/>
          <a:p>
            <a:fld id="{3D733C3C-461D-4DDF-941D-0A31ED49768F}" type="datetime1">
              <a:rPr lang="da-DK" noProof="0" smtClean="0"/>
              <a:t>16-03-2026</a:t>
            </a:fld>
            <a:endParaRPr lang="da-DK" noProof="0"/>
          </a:p>
        </p:txBody>
      </p:sp>
      <p:sp>
        <p:nvSpPr>
          <p:cNvPr id="3" name="Footer Placeholder 2">
            <a:extLst>
              <a:ext uri="{FF2B5EF4-FFF2-40B4-BE49-F238E27FC236}">
                <a16:creationId xmlns:a16="http://schemas.microsoft.com/office/drawing/2014/main" id="{403F699B-76AA-90F4-6460-4EB12DD4883E}"/>
              </a:ext>
            </a:extLst>
          </p:cNvPr>
          <p:cNvSpPr>
            <a:spLocks noGrp="1"/>
          </p:cNvSpPr>
          <p:nvPr>
            <p:ph type="ftr" sz="quarter" idx="31"/>
          </p:nvPr>
        </p:nvSpPr>
        <p:spPr/>
        <p:txBody>
          <a:bodyPr/>
          <a:lstStyle/>
          <a:p>
            <a:endParaRPr lang="da-DK" noProof="0"/>
          </a:p>
        </p:txBody>
      </p:sp>
      <p:sp>
        <p:nvSpPr>
          <p:cNvPr id="9" name="Slide Number Placeholder 8">
            <a:extLst>
              <a:ext uri="{FF2B5EF4-FFF2-40B4-BE49-F238E27FC236}">
                <a16:creationId xmlns:a16="http://schemas.microsoft.com/office/drawing/2014/main" id="{E40FD786-FCA0-3285-71FC-DCA2042D4260}"/>
              </a:ext>
            </a:extLst>
          </p:cNvPr>
          <p:cNvSpPr>
            <a:spLocks noGrp="1"/>
          </p:cNvSpPr>
          <p:nvPr>
            <p:ph type="sldNum" sz="quarter" idx="32"/>
          </p:nvPr>
        </p:nvSpPr>
        <p:spPr/>
        <p:txBody>
          <a:bodyPr/>
          <a:lstStyle/>
          <a:p>
            <a:fld id="{FA9C6259-F55B-47A6-AB0B-9E9F0835A2F0}" type="slidenum">
              <a:rPr lang="da-DK" noProof="0" smtClean="0"/>
              <a:pPr/>
              <a:t>‹nr.›</a:t>
            </a:fld>
            <a:endParaRPr lang="da-DK" noProof="0"/>
          </a:p>
        </p:txBody>
      </p:sp>
      <p:sp>
        <p:nvSpPr>
          <p:cNvPr id="23" name="Pladsholder til tekst 27">
            <a:extLst>
              <a:ext uri="{FF2B5EF4-FFF2-40B4-BE49-F238E27FC236}">
                <a16:creationId xmlns:a16="http://schemas.microsoft.com/office/drawing/2014/main" id="{E379CB5C-E2AC-9C53-BA56-A847A4C6F182}"/>
              </a:ext>
            </a:extLst>
          </p:cNvPr>
          <p:cNvSpPr>
            <a:spLocks noGrp="1"/>
          </p:cNvSpPr>
          <p:nvPr>
            <p:ph type="body" sz="quarter" idx="13" hasCustomPrompt="1"/>
          </p:nvPr>
        </p:nvSpPr>
        <p:spPr>
          <a:xfrm>
            <a:off x="3149255"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4" name="Pladsholder til indhold 38">
            <a:extLst>
              <a:ext uri="{FF2B5EF4-FFF2-40B4-BE49-F238E27FC236}">
                <a16:creationId xmlns:a16="http://schemas.microsoft.com/office/drawing/2014/main" id="{C34F1D52-4741-E939-8039-57EF891412EB}"/>
              </a:ext>
            </a:extLst>
          </p:cNvPr>
          <p:cNvSpPr>
            <a:spLocks noGrp="1"/>
          </p:cNvSpPr>
          <p:nvPr>
            <p:ph sz="quarter" idx="21" hasCustomPrompt="1"/>
          </p:nvPr>
        </p:nvSpPr>
        <p:spPr>
          <a:xfrm>
            <a:off x="2357253"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3</a:t>
            </a:r>
          </a:p>
        </p:txBody>
      </p:sp>
      <p:sp>
        <p:nvSpPr>
          <p:cNvPr id="25" name="Pladsholder til tekst 27">
            <a:extLst>
              <a:ext uri="{FF2B5EF4-FFF2-40B4-BE49-F238E27FC236}">
                <a16:creationId xmlns:a16="http://schemas.microsoft.com/office/drawing/2014/main" id="{62943C01-8003-4E8C-CE1A-61097EACCD6B}"/>
              </a:ext>
            </a:extLst>
          </p:cNvPr>
          <p:cNvSpPr>
            <a:spLocks noGrp="1"/>
          </p:cNvSpPr>
          <p:nvPr>
            <p:ph type="body" sz="quarter" idx="22" hasCustomPrompt="1"/>
          </p:nvPr>
        </p:nvSpPr>
        <p:spPr>
          <a:xfrm>
            <a:off x="3149255"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6" name="Pladsholder til indhold 38">
            <a:extLst>
              <a:ext uri="{FF2B5EF4-FFF2-40B4-BE49-F238E27FC236}">
                <a16:creationId xmlns:a16="http://schemas.microsoft.com/office/drawing/2014/main" id="{11132FD0-77E2-028D-CA37-F7409765A477}"/>
              </a:ext>
            </a:extLst>
          </p:cNvPr>
          <p:cNvSpPr>
            <a:spLocks noGrp="1"/>
          </p:cNvSpPr>
          <p:nvPr>
            <p:ph sz="quarter" idx="23" hasCustomPrompt="1"/>
          </p:nvPr>
        </p:nvSpPr>
        <p:spPr>
          <a:xfrm>
            <a:off x="2357253"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2</a:t>
            </a:r>
          </a:p>
        </p:txBody>
      </p:sp>
      <p:sp>
        <p:nvSpPr>
          <p:cNvPr id="27" name="Pladsholder til tekst 27">
            <a:extLst>
              <a:ext uri="{FF2B5EF4-FFF2-40B4-BE49-F238E27FC236}">
                <a16:creationId xmlns:a16="http://schemas.microsoft.com/office/drawing/2014/main" id="{500B8224-A01F-15E1-0985-2B24FBAF3D54}"/>
              </a:ext>
            </a:extLst>
          </p:cNvPr>
          <p:cNvSpPr>
            <a:spLocks noGrp="1"/>
          </p:cNvSpPr>
          <p:nvPr>
            <p:ph type="body" sz="quarter" idx="24" hasCustomPrompt="1"/>
          </p:nvPr>
        </p:nvSpPr>
        <p:spPr>
          <a:xfrm>
            <a:off x="3149255" y="1944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29" name="Pladsholder til indhold 38">
            <a:extLst>
              <a:ext uri="{FF2B5EF4-FFF2-40B4-BE49-F238E27FC236}">
                <a16:creationId xmlns:a16="http://schemas.microsoft.com/office/drawing/2014/main" id="{F3E6E751-5930-4B9F-F9AF-C1CBB7DEB57C}"/>
              </a:ext>
            </a:extLst>
          </p:cNvPr>
          <p:cNvSpPr>
            <a:spLocks noGrp="1"/>
          </p:cNvSpPr>
          <p:nvPr>
            <p:ph sz="quarter" idx="25" hasCustomPrompt="1"/>
          </p:nvPr>
        </p:nvSpPr>
        <p:spPr>
          <a:xfrm>
            <a:off x="2357253"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a:t>
            </a:r>
          </a:p>
        </p:txBody>
      </p:sp>
      <p:sp>
        <p:nvSpPr>
          <p:cNvPr id="30" name="Pladsholder til tekst 27">
            <a:extLst>
              <a:ext uri="{FF2B5EF4-FFF2-40B4-BE49-F238E27FC236}">
                <a16:creationId xmlns:a16="http://schemas.microsoft.com/office/drawing/2014/main" id="{CE2B3114-29AD-9D6C-AD18-A016D8452E1D}"/>
              </a:ext>
            </a:extLst>
          </p:cNvPr>
          <p:cNvSpPr>
            <a:spLocks noGrp="1"/>
          </p:cNvSpPr>
          <p:nvPr>
            <p:ph type="body" sz="quarter" idx="26" hasCustomPrompt="1"/>
          </p:nvPr>
        </p:nvSpPr>
        <p:spPr>
          <a:xfrm>
            <a:off x="3149255"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1" name="Pladsholder til indhold 38">
            <a:extLst>
              <a:ext uri="{FF2B5EF4-FFF2-40B4-BE49-F238E27FC236}">
                <a16:creationId xmlns:a16="http://schemas.microsoft.com/office/drawing/2014/main" id="{A851D3DC-5E8A-29FC-0FC8-0CE7FCBABE2E}"/>
              </a:ext>
            </a:extLst>
          </p:cNvPr>
          <p:cNvSpPr>
            <a:spLocks noGrp="1"/>
          </p:cNvSpPr>
          <p:nvPr>
            <p:ph sz="quarter" idx="27" hasCustomPrompt="1"/>
          </p:nvPr>
        </p:nvSpPr>
        <p:spPr>
          <a:xfrm>
            <a:off x="2357253"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4</a:t>
            </a:r>
          </a:p>
        </p:txBody>
      </p:sp>
      <p:sp>
        <p:nvSpPr>
          <p:cNvPr id="32" name="Pladsholder til tekst 27">
            <a:extLst>
              <a:ext uri="{FF2B5EF4-FFF2-40B4-BE49-F238E27FC236}">
                <a16:creationId xmlns:a16="http://schemas.microsoft.com/office/drawing/2014/main" id="{DD844EAE-3700-6A21-F9D2-A93926D2E90F}"/>
              </a:ext>
            </a:extLst>
          </p:cNvPr>
          <p:cNvSpPr>
            <a:spLocks noGrp="1"/>
          </p:cNvSpPr>
          <p:nvPr>
            <p:ph type="body" sz="quarter" idx="28" hasCustomPrompt="1"/>
          </p:nvPr>
        </p:nvSpPr>
        <p:spPr>
          <a:xfrm>
            <a:off x="3149255"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3" name="Pladsholder til indhold 38">
            <a:extLst>
              <a:ext uri="{FF2B5EF4-FFF2-40B4-BE49-F238E27FC236}">
                <a16:creationId xmlns:a16="http://schemas.microsoft.com/office/drawing/2014/main" id="{4F5BB7CA-C703-71A2-14BB-D6978110908B}"/>
              </a:ext>
            </a:extLst>
          </p:cNvPr>
          <p:cNvSpPr>
            <a:spLocks noGrp="1"/>
          </p:cNvSpPr>
          <p:nvPr>
            <p:ph sz="quarter" idx="29" hasCustomPrompt="1"/>
          </p:nvPr>
        </p:nvSpPr>
        <p:spPr>
          <a:xfrm>
            <a:off x="2357253"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5</a:t>
            </a:r>
          </a:p>
        </p:txBody>
      </p:sp>
      <p:sp>
        <p:nvSpPr>
          <p:cNvPr id="34" name="Pladsholder til tekst 27">
            <a:extLst>
              <a:ext uri="{FF2B5EF4-FFF2-40B4-BE49-F238E27FC236}">
                <a16:creationId xmlns:a16="http://schemas.microsoft.com/office/drawing/2014/main" id="{B30DFB6D-079C-8B47-D8A2-672666BB4328}"/>
              </a:ext>
            </a:extLst>
          </p:cNvPr>
          <p:cNvSpPr>
            <a:spLocks noGrp="1"/>
          </p:cNvSpPr>
          <p:nvPr>
            <p:ph type="body" sz="quarter" idx="33" hasCustomPrompt="1"/>
          </p:nvPr>
        </p:nvSpPr>
        <p:spPr>
          <a:xfrm>
            <a:off x="7830977" y="3672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5" name="Pladsholder til indhold 38">
            <a:extLst>
              <a:ext uri="{FF2B5EF4-FFF2-40B4-BE49-F238E27FC236}">
                <a16:creationId xmlns:a16="http://schemas.microsoft.com/office/drawing/2014/main" id="{E4007F68-EB55-4361-1B64-2AD90CA4258D}"/>
              </a:ext>
            </a:extLst>
          </p:cNvPr>
          <p:cNvSpPr>
            <a:spLocks noGrp="1"/>
          </p:cNvSpPr>
          <p:nvPr>
            <p:ph sz="quarter" idx="34" hasCustomPrompt="1"/>
          </p:nvPr>
        </p:nvSpPr>
        <p:spPr>
          <a:xfrm>
            <a:off x="7038975" y="3672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8</a:t>
            </a:r>
          </a:p>
        </p:txBody>
      </p:sp>
      <p:sp>
        <p:nvSpPr>
          <p:cNvPr id="36" name="Pladsholder til tekst 27">
            <a:extLst>
              <a:ext uri="{FF2B5EF4-FFF2-40B4-BE49-F238E27FC236}">
                <a16:creationId xmlns:a16="http://schemas.microsoft.com/office/drawing/2014/main" id="{536C8716-06B3-785C-9A91-4ACE0A60D66F}"/>
              </a:ext>
            </a:extLst>
          </p:cNvPr>
          <p:cNvSpPr>
            <a:spLocks noGrp="1"/>
          </p:cNvSpPr>
          <p:nvPr>
            <p:ph type="body" sz="quarter" idx="35" hasCustomPrompt="1"/>
          </p:nvPr>
        </p:nvSpPr>
        <p:spPr>
          <a:xfrm>
            <a:off x="7830977" y="2808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37" name="Pladsholder til indhold 38">
            <a:extLst>
              <a:ext uri="{FF2B5EF4-FFF2-40B4-BE49-F238E27FC236}">
                <a16:creationId xmlns:a16="http://schemas.microsoft.com/office/drawing/2014/main" id="{92426736-5966-D2C5-5E13-648B728A0C6E}"/>
              </a:ext>
            </a:extLst>
          </p:cNvPr>
          <p:cNvSpPr>
            <a:spLocks noGrp="1"/>
          </p:cNvSpPr>
          <p:nvPr>
            <p:ph sz="quarter" idx="36" hasCustomPrompt="1"/>
          </p:nvPr>
        </p:nvSpPr>
        <p:spPr>
          <a:xfrm>
            <a:off x="7038975" y="2808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7</a:t>
            </a:r>
          </a:p>
        </p:txBody>
      </p:sp>
      <p:sp>
        <p:nvSpPr>
          <p:cNvPr id="38" name="Pladsholder til tekst 27">
            <a:extLst>
              <a:ext uri="{FF2B5EF4-FFF2-40B4-BE49-F238E27FC236}">
                <a16:creationId xmlns:a16="http://schemas.microsoft.com/office/drawing/2014/main" id="{CEC9C6C5-5E5F-69C1-512D-F1C09C9739BD}"/>
              </a:ext>
            </a:extLst>
          </p:cNvPr>
          <p:cNvSpPr>
            <a:spLocks noGrp="1"/>
          </p:cNvSpPr>
          <p:nvPr>
            <p:ph type="body" sz="quarter" idx="37" hasCustomPrompt="1"/>
          </p:nvPr>
        </p:nvSpPr>
        <p:spPr>
          <a:xfrm>
            <a:off x="7830977" y="1944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0" name="Pladsholder til indhold 38">
            <a:extLst>
              <a:ext uri="{FF2B5EF4-FFF2-40B4-BE49-F238E27FC236}">
                <a16:creationId xmlns:a16="http://schemas.microsoft.com/office/drawing/2014/main" id="{D40291E1-1A01-93BF-7F57-220EE961DBBA}"/>
              </a:ext>
            </a:extLst>
          </p:cNvPr>
          <p:cNvSpPr>
            <a:spLocks noGrp="1"/>
          </p:cNvSpPr>
          <p:nvPr>
            <p:ph sz="quarter" idx="38" hasCustomPrompt="1"/>
          </p:nvPr>
        </p:nvSpPr>
        <p:spPr>
          <a:xfrm>
            <a:off x="7038975" y="1944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6</a:t>
            </a:r>
          </a:p>
        </p:txBody>
      </p:sp>
      <p:sp>
        <p:nvSpPr>
          <p:cNvPr id="41" name="Pladsholder til tekst 27">
            <a:extLst>
              <a:ext uri="{FF2B5EF4-FFF2-40B4-BE49-F238E27FC236}">
                <a16:creationId xmlns:a16="http://schemas.microsoft.com/office/drawing/2014/main" id="{D1C277A7-919F-CA28-B00F-4D2C7CD58933}"/>
              </a:ext>
            </a:extLst>
          </p:cNvPr>
          <p:cNvSpPr>
            <a:spLocks noGrp="1"/>
          </p:cNvSpPr>
          <p:nvPr>
            <p:ph type="body" sz="quarter" idx="39" hasCustomPrompt="1"/>
          </p:nvPr>
        </p:nvSpPr>
        <p:spPr>
          <a:xfrm>
            <a:off x="7830977" y="4536599"/>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2" name="Pladsholder til indhold 38">
            <a:extLst>
              <a:ext uri="{FF2B5EF4-FFF2-40B4-BE49-F238E27FC236}">
                <a16:creationId xmlns:a16="http://schemas.microsoft.com/office/drawing/2014/main" id="{FFAF27CD-066B-D81F-5FBE-6A9FAE459893}"/>
              </a:ext>
            </a:extLst>
          </p:cNvPr>
          <p:cNvSpPr>
            <a:spLocks noGrp="1"/>
          </p:cNvSpPr>
          <p:nvPr>
            <p:ph sz="quarter" idx="40" hasCustomPrompt="1"/>
          </p:nvPr>
        </p:nvSpPr>
        <p:spPr>
          <a:xfrm>
            <a:off x="7038975" y="4536599"/>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9</a:t>
            </a:r>
          </a:p>
        </p:txBody>
      </p:sp>
      <p:sp>
        <p:nvSpPr>
          <p:cNvPr id="43" name="Pladsholder til tekst 27">
            <a:extLst>
              <a:ext uri="{FF2B5EF4-FFF2-40B4-BE49-F238E27FC236}">
                <a16:creationId xmlns:a16="http://schemas.microsoft.com/office/drawing/2014/main" id="{4BDC77FD-B70E-7972-99F3-0233B6DADF59}"/>
              </a:ext>
            </a:extLst>
          </p:cNvPr>
          <p:cNvSpPr>
            <a:spLocks noGrp="1"/>
          </p:cNvSpPr>
          <p:nvPr>
            <p:ph type="body" sz="quarter" idx="41" hasCustomPrompt="1"/>
          </p:nvPr>
        </p:nvSpPr>
        <p:spPr>
          <a:xfrm>
            <a:off x="7830977" y="5409338"/>
            <a:ext cx="3744912" cy="720000"/>
          </a:xfrm>
        </p:spPr>
        <p:txBody>
          <a:bodyPr anchor="t">
            <a:noAutofit/>
          </a:bodyPr>
          <a:lstStyle>
            <a:lvl1pPr marL="0" indent="0">
              <a:lnSpc>
                <a:spcPct val="100000"/>
              </a:lnSpc>
              <a:buNone/>
              <a:defRPr sz="1400"/>
            </a:lvl1pPr>
            <a:lvl2pPr marL="222250" indent="0">
              <a:buNone/>
              <a:defRPr/>
            </a:lvl2pPr>
            <a:lvl3pPr marL="542925" indent="0">
              <a:buNone/>
              <a:defRPr/>
            </a:lvl3pPr>
            <a:lvl4pPr marL="895350" indent="0">
              <a:buNone/>
              <a:defRPr/>
            </a:lvl4pPr>
            <a:lvl5pPr marL="1166813" indent="0">
              <a:buNone/>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600" b="0" i="0" u="none" strike="noStrike" kern="1200" cap="none" spc="0" normalizeH="0" baseline="0" noProof="0">
                <a:ln>
                  <a:noFill/>
                </a:ln>
                <a:solidFill>
                  <a:srgbClr val="002B5C"/>
                </a:solidFill>
                <a:effectLst/>
                <a:uLnTx/>
                <a:uFillTx/>
                <a:latin typeface="Century Gothic"/>
                <a:ea typeface="+mn-ea"/>
                <a:cs typeface="+mn-cs"/>
              </a:rPr>
              <a:t>Agenda punkt. Tallet til venstre kan erstattes af ikoner. Eller du kan lave den nummeret ved a skrive et tal.</a:t>
            </a:r>
          </a:p>
        </p:txBody>
      </p:sp>
      <p:sp>
        <p:nvSpPr>
          <p:cNvPr id="44" name="Pladsholder til indhold 38">
            <a:extLst>
              <a:ext uri="{FF2B5EF4-FFF2-40B4-BE49-F238E27FC236}">
                <a16:creationId xmlns:a16="http://schemas.microsoft.com/office/drawing/2014/main" id="{9190FB13-7976-8BE1-BB0C-5B608569B43D}"/>
              </a:ext>
            </a:extLst>
          </p:cNvPr>
          <p:cNvSpPr>
            <a:spLocks noGrp="1"/>
          </p:cNvSpPr>
          <p:nvPr>
            <p:ph sz="quarter" idx="42" hasCustomPrompt="1"/>
          </p:nvPr>
        </p:nvSpPr>
        <p:spPr>
          <a:xfrm>
            <a:off x="7038975" y="5409338"/>
            <a:ext cx="576000" cy="576000"/>
          </a:xfrm>
        </p:spPr>
        <p:txBody>
          <a:bodyPr anchor="t"/>
          <a:lstStyle>
            <a:lvl1pPr marL="0" indent="0" algn="r">
              <a:lnSpc>
                <a:spcPct val="86000"/>
              </a:lnSpc>
              <a:spcBef>
                <a:spcPts val="0"/>
              </a:spcBef>
              <a:buNone/>
              <a:defRPr sz="3600" b="0" i="0">
                <a:solidFill>
                  <a:schemeClr val="tx1"/>
                </a:solidFill>
                <a:latin typeface="Work Sans Light" pitchFamily="2" charset="77"/>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10</a:t>
            </a:r>
          </a:p>
        </p:txBody>
      </p:sp>
      <p:sp>
        <p:nvSpPr>
          <p:cNvPr id="5" name="Pladsholder til tekst 5">
            <a:extLst>
              <a:ext uri="{FF2B5EF4-FFF2-40B4-BE49-F238E27FC236}">
                <a16:creationId xmlns:a16="http://schemas.microsoft.com/office/drawing/2014/main" id="{282853E6-D304-1ED1-5958-FF346BD3CF5C}"/>
              </a:ext>
            </a:extLst>
          </p:cNvPr>
          <p:cNvSpPr>
            <a:spLocks noGrp="1"/>
          </p:cNvSpPr>
          <p:nvPr>
            <p:ph type="body" sz="quarter" idx="43" hasCustomPrompt="1"/>
          </p:nvPr>
        </p:nvSpPr>
        <p:spPr>
          <a:xfrm>
            <a:off x="1343025" y="916738"/>
            <a:ext cx="5551142" cy="738188"/>
          </a:xfrm>
        </p:spPr>
        <p:txBody>
          <a:bodyPr/>
          <a:lstStyle>
            <a:lvl1pPr marL="0" indent="0" algn="l">
              <a:buNone/>
              <a:defRPr sz="4800">
                <a:latin typeface="Work Sans Light" pitchFamily="2" charset="0"/>
              </a:defRPr>
            </a:lvl1pPr>
          </a:lstStyle>
          <a:p>
            <a:pPr lvl="0"/>
            <a:r>
              <a:rPr lang="en-US"/>
              <a:t>Agenda</a:t>
            </a:r>
            <a:endParaRPr lang="da-DK"/>
          </a:p>
        </p:txBody>
      </p:sp>
    </p:spTree>
    <p:extLst>
      <p:ext uri="{BB962C8B-B14F-4D97-AF65-F5344CB8AC3E}">
        <p14:creationId xmlns:p14="http://schemas.microsoft.com/office/powerpoint/2010/main" val="84280707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o indholdselementer 2">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431800" y="431799"/>
            <a:ext cx="5580000" cy="5697538"/>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9" name="Footer Placeholder 8">
            <a:extLst>
              <a:ext uri="{FF2B5EF4-FFF2-40B4-BE49-F238E27FC236}">
                <a16:creationId xmlns:a16="http://schemas.microsoft.com/office/drawing/2014/main" id="{F6A0DD27-CD39-1B28-CA67-F78816A6D177}"/>
              </a:ext>
            </a:extLst>
          </p:cNvPr>
          <p:cNvSpPr>
            <a:spLocks noGrp="1"/>
          </p:cNvSpPr>
          <p:nvPr>
            <p:ph type="ftr" sz="quarter" idx="16"/>
          </p:nvPr>
        </p:nvSpPr>
        <p:spPr/>
        <p:txBody>
          <a:bodyPr/>
          <a:lstStyle/>
          <a:p>
            <a:endParaRPr lang="da-DK" noProof="0"/>
          </a:p>
        </p:txBody>
      </p:sp>
      <p:sp>
        <p:nvSpPr>
          <p:cNvPr id="7" name="Content Placeholder">
            <a:extLst>
              <a:ext uri="{FF2B5EF4-FFF2-40B4-BE49-F238E27FC236}">
                <a16:creationId xmlns:a16="http://schemas.microsoft.com/office/drawing/2014/main" id="{A3840D9F-0CD6-CC7F-3ED8-73A585F6D70B}"/>
              </a:ext>
            </a:extLst>
          </p:cNvPr>
          <p:cNvSpPr>
            <a:spLocks noGrp="1"/>
          </p:cNvSpPr>
          <p:nvPr>
            <p:ph sz="quarter" idx="18" hasCustomPrompt="1"/>
          </p:nvPr>
        </p:nvSpPr>
        <p:spPr>
          <a:xfrm>
            <a:off x="6180200" y="1655999"/>
            <a:ext cx="5580000" cy="4473337"/>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3" name="Title 12">
            <a:extLst>
              <a:ext uri="{FF2B5EF4-FFF2-40B4-BE49-F238E27FC236}">
                <a16:creationId xmlns:a16="http://schemas.microsoft.com/office/drawing/2014/main" id="{3225124F-8CDD-3FBF-CFB1-840AF3004C83}"/>
              </a:ext>
            </a:extLst>
          </p:cNvPr>
          <p:cNvSpPr>
            <a:spLocks noGrp="1"/>
          </p:cNvSpPr>
          <p:nvPr>
            <p:ph type="title" hasCustomPrompt="1"/>
          </p:nvPr>
        </p:nvSpPr>
        <p:spPr>
          <a:xfrm>
            <a:off x="6178613" y="431800"/>
            <a:ext cx="5580000" cy="864000"/>
          </a:xfrm>
        </p:spPr>
        <p:txBody>
          <a:bodyPr anchor="ctr"/>
          <a:lstStyle>
            <a:lvl1pPr>
              <a:defRPr/>
            </a:lvl1pPr>
          </a:lstStyle>
          <a:p>
            <a:r>
              <a:rPr lang="da-DK" noProof="0"/>
              <a:t>Klik for at redigere titeltypografien i masteren </a:t>
            </a:r>
          </a:p>
        </p:txBody>
      </p:sp>
      <p:sp>
        <p:nvSpPr>
          <p:cNvPr id="6" name="Date Placeholder 3">
            <a:extLst>
              <a:ext uri="{FF2B5EF4-FFF2-40B4-BE49-F238E27FC236}">
                <a16:creationId xmlns:a16="http://schemas.microsoft.com/office/drawing/2014/main" id="{8E6D5222-E22F-30AF-4B74-AE77244736D2}"/>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6321C134-6980-4A94-8754-6F35EDDCE48B}" type="datetime1">
              <a:rPr lang="da-DK" smtClean="0"/>
              <a:t>16-03-2026</a:t>
            </a:fld>
            <a:endParaRPr lang="da-DK"/>
          </a:p>
        </p:txBody>
      </p:sp>
      <p:sp>
        <p:nvSpPr>
          <p:cNvPr id="11" name="Slide Number Placeholder 5">
            <a:extLst>
              <a:ext uri="{FF2B5EF4-FFF2-40B4-BE49-F238E27FC236}">
                <a16:creationId xmlns:a16="http://schemas.microsoft.com/office/drawing/2014/main" id="{C5842651-16DB-F354-78EC-21C2FC4EA6D7}"/>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a:p>
        </p:txBody>
      </p:sp>
    </p:spTree>
    <p:extLst>
      <p:ext uri="{BB962C8B-B14F-4D97-AF65-F5344CB8AC3E}">
        <p14:creationId xmlns:p14="http://schemas.microsoft.com/office/powerpoint/2010/main" val="3765431809"/>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o indholdselementer 3">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4308201" y="431799"/>
            <a:ext cx="7452000" cy="5697538"/>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6" name="Content Placeholder">
            <a:extLst>
              <a:ext uri="{FF2B5EF4-FFF2-40B4-BE49-F238E27FC236}">
                <a16:creationId xmlns:a16="http://schemas.microsoft.com/office/drawing/2014/main" id="{8CEEFDC5-963A-80D0-1462-210EF1C5B71E}"/>
              </a:ext>
            </a:extLst>
          </p:cNvPr>
          <p:cNvSpPr>
            <a:spLocks noGrp="1"/>
          </p:cNvSpPr>
          <p:nvPr>
            <p:ph sz="quarter" idx="18" hasCustomPrompt="1"/>
          </p:nvPr>
        </p:nvSpPr>
        <p:spPr>
          <a:xfrm>
            <a:off x="427861" y="1655999"/>
            <a:ext cx="3671998" cy="4473337"/>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4" name="Title 12">
            <a:extLst>
              <a:ext uri="{FF2B5EF4-FFF2-40B4-BE49-F238E27FC236}">
                <a16:creationId xmlns:a16="http://schemas.microsoft.com/office/drawing/2014/main" id="{D1CA8CC0-FB42-10E7-326A-DE5EB17A7CE9}"/>
              </a:ext>
            </a:extLst>
          </p:cNvPr>
          <p:cNvSpPr>
            <a:spLocks noGrp="1"/>
          </p:cNvSpPr>
          <p:nvPr>
            <p:ph type="title" hasCustomPrompt="1"/>
          </p:nvPr>
        </p:nvSpPr>
        <p:spPr>
          <a:xfrm>
            <a:off x="431799" y="431800"/>
            <a:ext cx="3668060" cy="864000"/>
          </a:xfrm>
        </p:spPr>
        <p:txBody>
          <a:bodyPr anchor="ctr"/>
          <a:lstStyle>
            <a:lvl1pPr>
              <a:defRPr/>
            </a:lvl1pPr>
          </a:lstStyle>
          <a:p>
            <a:r>
              <a:rPr lang="da-DK" noProof="0"/>
              <a:t>Klik for at redigere titeltypografien i masteren </a:t>
            </a:r>
          </a:p>
        </p:txBody>
      </p:sp>
      <p:sp>
        <p:nvSpPr>
          <p:cNvPr id="7" name="Date Placeholder 3">
            <a:extLst>
              <a:ext uri="{FF2B5EF4-FFF2-40B4-BE49-F238E27FC236}">
                <a16:creationId xmlns:a16="http://schemas.microsoft.com/office/drawing/2014/main" id="{45F00054-D0B8-16B8-BFF7-A8D41DDDDFCD}"/>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9F12D3EC-E26F-4447-BB35-66363933F5E8}" type="datetime1">
              <a:rPr lang="da-DK" smtClean="0"/>
              <a:t>16-03-2026</a:t>
            </a:fld>
            <a:endParaRPr lang="da-DK"/>
          </a:p>
        </p:txBody>
      </p:sp>
      <p:sp>
        <p:nvSpPr>
          <p:cNvPr id="10" name="Slide Number Placeholder 5">
            <a:extLst>
              <a:ext uri="{FF2B5EF4-FFF2-40B4-BE49-F238E27FC236}">
                <a16:creationId xmlns:a16="http://schemas.microsoft.com/office/drawing/2014/main" id="{E2EAAEA4-276A-E181-5525-0A5B12CDA196}"/>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a:p>
        </p:txBody>
      </p:sp>
    </p:spTree>
    <p:extLst>
      <p:ext uri="{BB962C8B-B14F-4D97-AF65-F5344CB8AC3E}">
        <p14:creationId xmlns:p14="http://schemas.microsoft.com/office/powerpoint/2010/main" val="2829600997"/>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Et indholdselemen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8CA3349C-79E1-F3C2-FD21-CFC7D3D9FCA6}"/>
              </a:ext>
            </a:extLst>
          </p:cNvPr>
          <p:cNvSpPr>
            <a:spLocks noGrp="1"/>
          </p:cNvSpPr>
          <p:nvPr>
            <p:ph type="ftr" sz="quarter" idx="11"/>
          </p:nvPr>
        </p:nvSpPr>
        <p:spPr/>
        <p:txBody>
          <a:bodyPr/>
          <a:lstStyle/>
          <a:p>
            <a:endParaRPr lang="da-DK" noProof="0"/>
          </a:p>
        </p:txBody>
      </p:sp>
      <p:sp>
        <p:nvSpPr>
          <p:cNvPr id="5" name="Content Placeholder">
            <a:extLst>
              <a:ext uri="{FF2B5EF4-FFF2-40B4-BE49-F238E27FC236}">
                <a16:creationId xmlns:a16="http://schemas.microsoft.com/office/drawing/2014/main" id="{AF3FA671-EF99-5D14-95F3-F863608C2AEC}"/>
              </a:ext>
            </a:extLst>
          </p:cNvPr>
          <p:cNvSpPr>
            <a:spLocks noGrp="1"/>
          </p:cNvSpPr>
          <p:nvPr>
            <p:ph sz="quarter" idx="13"/>
          </p:nvPr>
        </p:nvSpPr>
        <p:spPr>
          <a:xfrm>
            <a:off x="431797" y="1656000"/>
            <a:ext cx="11326813" cy="4473338"/>
          </a:xfrm>
        </p:spPr>
        <p:txBody>
          <a:bodyPr/>
          <a:lstStyle>
            <a:lvl1pPr marL="0" indent="0">
              <a:buNone/>
              <a:defRPr/>
            </a:lvl1pPr>
          </a:lstStyle>
          <a:p>
            <a:pPr lvl="0"/>
            <a:endParaRPr lang="da-DK" noProof="0"/>
          </a:p>
        </p:txBody>
      </p:sp>
      <p:sp>
        <p:nvSpPr>
          <p:cNvPr id="3" name="Title 12">
            <a:extLst>
              <a:ext uri="{FF2B5EF4-FFF2-40B4-BE49-F238E27FC236}">
                <a16:creationId xmlns:a16="http://schemas.microsoft.com/office/drawing/2014/main" id="{80A0F20E-3AB8-8D21-2927-FD4E7A264AEF}"/>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6" name="Date Placeholder 3">
            <a:extLst>
              <a:ext uri="{FF2B5EF4-FFF2-40B4-BE49-F238E27FC236}">
                <a16:creationId xmlns:a16="http://schemas.microsoft.com/office/drawing/2014/main" id="{1AC9A1CF-9BB8-ACFF-BEEB-195229D5B766}"/>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15C19ADD-F9D3-4C2E-8295-D8C058F3819E}" type="datetime1">
              <a:rPr lang="da-DK" smtClean="0"/>
              <a:t>16-03-2026</a:t>
            </a:fld>
            <a:endParaRPr lang="da-DK"/>
          </a:p>
        </p:txBody>
      </p:sp>
      <p:sp>
        <p:nvSpPr>
          <p:cNvPr id="7" name="Slide Number Placeholder 5">
            <a:extLst>
              <a:ext uri="{FF2B5EF4-FFF2-40B4-BE49-F238E27FC236}">
                <a16:creationId xmlns:a16="http://schemas.microsoft.com/office/drawing/2014/main" id="{4E9BDC6B-35B6-5B29-144C-CC09C559EE18}"/>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a:p>
        </p:txBody>
      </p:sp>
    </p:spTree>
    <p:extLst>
      <p:ext uri="{BB962C8B-B14F-4D97-AF65-F5344CB8AC3E}">
        <p14:creationId xmlns:p14="http://schemas.microsoft.com/office/powerpoint/2010/main" val="3941215800"/>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re indholdselementer">
    <p:spTree>
      <p:nvGrpSpPr>
        <p:cNvPr id="1" name=""/>
        <p:cNvGrpSpPr/>
        <p:nvPr/>
      </p:nvGrpSpPr>
      <p:grpSpPr>
        <a:xfrm>
          <a:off x="0" y="0"/>
          <a:ext cx="0" cy="0"/>
          <a:chOff x="0" y="0"/>
          <a:chExt cx="0" cy="0"/>
        </a:xfrm>
      </p:grpSpPr>
      <p:sp>
        <p:nvSpPr>
          <p:cNvPr id="8" name="Content Placeholder">
            <a:extLst>
              <a:ext uri="{FF2B5EF4-FFF2-40B4-BE49-F238E27FC236}">
                <a16:creationId xmlns:a16="http://schemas.microsoft.com/office/drawing/2014/main" id="{4E91CDE7-A150-9C6F-48B3-D2425425F88B}"/>
              </a:ext>
            </a:extLst>
          </p:cNvPr>
          <p:cNvSpPr>
            <a:spLocks noGrp="1"/>
          </p:cNvSpPr>
          <p:nvPr>
            <p:ph sz="quarter" idx="13" hasCustomPrompt="1"/>
          </p:nvPr>
        </p:nvSpPr>
        <p:spPr>
          <a:xfrm>
            <a:off x="585997"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585210"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16" name="Content Placeholder">
            <a:extLst>
              <a:ext uri="{FF2B5EF4-FFF2-40B4-BE49-F238E27FC236}">
                <a16:creationId xmlns:a16="http://schemas.microsoft.com/office/drawing/2014/main" id="{071BC6CF-C0A0-026F-8923-83DEC5C53812}"/>
              </a:ext>
            </a:extLst>
          </p:cNvPr>
          <p:cNvSpPr>
            <a:spLocks noGrp="1"/>
          </p:cNvSpPr>
          <p:nvPr>
            <p:ph sz="quarter" idx="19" hasCustomPrompt="1"/>
          </p:nvPr>
        </p:nvSpPr>
        <p:spPr>
          <a:xfrm>
            <a:off x="4368000"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8" name="Text Placeholder 14">
            <a:extLst>
              <a:ext uri="{FF2B5EF4-FFF2-40B4-BE49-F238E27FC236}">
                <a16:creationId xmlns:a16="http://schemas.microsoft.com/office/drawing/2014/main" id="{CBF7BF71-5BF4-B4EB-6418-C90F6D38E0C3}"/>
              </a:ext>
            </a:extLst>
          </p:cNvPr>
          <p:cNvSpPr>
            <a:spLocks noGrp="1"/>
          </p:cNvSpPr>
          <p:nvPr>
            <p:ph type="body" sz="quarter" idx="20" hasCustomPrompt="1"/>
          </p:nvPr>
        </p:nvSpPr>
        <p:spPr>
          <a:xfrm>
            <a:off x="4367213"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19" name="Content Placeholder">
            <a:extLst>
              <a:ext uri="{FF2B5EF4-FFF2-40B4-BE49-F238E27FC236}">
                <a16:creationId xmlns:a16="http://schemas.microsoft.com/office/drawing/2014/main" id="{FB703B9F-4489-0A5E-3BB0-56D56672CABD}"/>
              </a:ext>
            </a:extLst>
          </p:cNvPr>
          <p:cNvSpPr>
            <a:spLocks noGrp="1"/>
          </p:cNvSpPr>
          <p:nvPr>
            <p:ph sz="quarter" idx="21" hasCustomPrompt="1"/>
          </p:nvPr>
        </p:nvSpPr>
        <p:spPr>
          <a:xfrm>
            <a:off x="8143468" y="2326189"/>
            <a:ext cx="3456000" cy="3456000"/>
          </a:xfrm>
        </p:spPr>
        <p:txBody>
          <a:bodyPr/>
          <a:lstStyle>
            <a:lvl1pPr marL="0" indent="0">
              <a:buNone/>
              <a:defRPr/>
            </a:lvl1pPr>
            <a:lvl2pPr marL="222250" indent="0">
              <a:buNone/>
              <a:defRPr/>
            </a:lvl2pPr>
            <a:lvl3pPr marL="542925" indent="0">
              <a:buNone/>
              <a:defRPr/>
            </a:lvl3pPr>
            <a:lvl4pPr marL="895350" indent="0">
              <a:buNone/>
              <a:defRPr/>
            </a:lvl4pPr>
            <a:lvl5pPr marL="1166813" indent="0">
              <a:buNone/>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1" name="Text Placeholder 14">
            <a:extLst>
              <a:ext uri="{FF2B5EF4-FFF2-40B4-BE49-F238E27FC236}">
                <a16:creationId xmlns:a16="http://schemas.microsoft.com/office/drawing/2014/main" id="{8D5872B1-C6FC-9F83-9DDF-D8BCE82E24FD}"/>
              </a:ext>
            </a:extLst>
          </p:cNvPr>
          <p:cNvSpPr>
            <a:spLocks noGrp="1"/>
          </p:cNvSpPr>
          <p:nvPr>
            <p:ph type="body" sz="quarter" idx="22" hasCustomPrompt="1"/>
          </p:nvPr>
        </p:nvSpPr>
        <p:spPr>
          <a:xfrm>
            <a:off x="8142681" y="1606189"/>
            <a:ext cx="3457575" cy="720000"/>
          </a:xfrm>
        </p:spPr>
        <p:txBody>
          <a:bodyPr anchor="b"/>
          <a:lstStyle>
            <a:lvl1pPr marL="0" indent="0">
              <a:lnSpc>
                <a:spcPct val="90000"/>
              </a:lnSpc>
              <a:spcBef>
                <a:spcPts val="0"/>
              </a:spcBef>
              <a:buNone/>
              <a:defRPr sz="1800" b="1" i="0">
                <a:latin typeface="Work Sans SemiBold" pitchFamily="2" charset="77"/>
              </a:defRPr>
            </a:lvl1pPr>
          </a:lstStyle>
          <a:p>
            <a:pPr lvl="0"/>
            <a:r>
              <a:rPr lang="da-DK" noProof="0" err="1"/>
              <a:t>Subtitle</a:t>
            </a:r>
            <a:endParaRPr lang="da-DK" noProof="0"/>
          </a:p>
        </p:txBody>
      </p:sp>
      <p:sp>
        <p:nvSpPr>
          <p:cNvPr id="5" name="Title 12">
            <a:extLst>
              <a:ext uri="{FF2B5EF4-FFF2-40B4-BE49-F238E27FC236}">
                <a16:creationId xmlns:a16="http://schemas.microsoft.com/office/drawing/2014/main" id="{23923A93-39D3-E04F-3D90-37DBD99E8682}"/>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6" name="Date Placeholder 3">
            <a:extLst>
              <a:ext uri="{FF2B5EF4-FFF2-40B4-BE49-F238E27FC236}">
                <a16:creationId xmlns:a16="http://schemas.microsoft.com/office/drawing/2014/main" id="{5753E220-B367-95DC-7820-90D89B150DAE}"/>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0257F2FD-8BF2-4A14-AF1E-E7B7CF077B8D}" type="datetime1">
              <a:rPr lang="da-DK" smtClean="0"/>
              <a:t>16-03-2026</a:t>
            </a:fld>
            <a:endParaRPr lang="da-DK"/>
          </a:p>
        </p:txBody>
      </p:sp>
      <p:sp>
        <p:nvSpPr>
          <p:cNvPr id="7" name="Slide Number Placeholder 5">
            <a:extLst>
              <a:ext uri="{FF2B5EF4-FFF2-40B4-BE49-F238E27FC236}">
                <a16:creationId xmlns:a16="http://schemas.microsoft.com/office/drawing/2014/main" id="{461656C6-86FC-E2A1-7F20-B7D148705C66}"/>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a:p>
        </p:txBody>
      </p:sp>
    </p:spTree>
    <p:extLst>
      <p:ext uri="{BB962C8B-B14F-4D97-AF65-F5344CB8AC3E}">
        <p14:creationId xmlns:p14="http://schemas.microsoft.com/office/powerpoint/2010/main" val="3528745634"/>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re cards m indhold">
    <p:spTree>
      <p:nvGrpSpPr>
        <p:cNvPr id="1" name=""/>
        <p:cNvGrpSpPr/>
        <p:nvPr/>
      </p:nvGrpSpPr>
      <p:grpSpPr>
        <a:xfrm>
          <a:off x="0" y="0"/>
          <a:ext cx="0" cy="0"/>
          <a:chOff x="0" y="0"/>
          <a:chExt cx="0" cy="0"/>
        </a:xfrm>
      </p:grpSpPr>
      <p:sp>
        <p:nvSpPr>
          <p:cNvPr id="5" name="Rektangel: enkelt hjørne afrundet 3">
            <a:extLst>
              <a:ext uri="{FF2B5EF4-FFF2-40B4-BE49-F238E27FC236}">
                <a16:creationId xmlns:a16="http://schemas.microsoft.com/office/drawing/2014/main" id="{00EEAB10-B5C8-6022-FBBC-810419EA6289}"/>
              </a:ext>
            </a:extLst>
          </p:cNvPr>
          <p:cNvSpPr/>
          <p:nvPr userDrawn="1"/>
        </p:nvSpPr>
        <p:spPr>
          <a:xfrm rot="5400000">
            <a:off x="297776"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8" name="Content Placeholder">
            <a:extLst>
              <a:ext uri="{FF2B5EF4-FFF2-40B4-BE49-F238E27FC236}">
                <a16:creationId xmlns:a16="http://schemas.microsoft.com/office/drawing/2014/main" id="{4E91CDE7-A150-9C6F-48B3-D2425425F88B}"/>
              </a:ext>
            </a:extLst>
          </p:cNvPr>
          <p:cNvSpPr>
            <a:spLocks noGrp="1" noChangeAspect="1"/>
          </p:cNvSpPr>
          <p:nvPr>
            <p:ph sz="quarter" idx="13" hasCustomPrompt="1"/>
          </p:nvPr>
        </p:nvSpPr>
        <p:spPr>
          <a:xfrm>
            <a:off x="83777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3" name="Footer Placeholder 2">
            <a:extLst>
              <a:ext uri="{FF2B5EF4-FFF2-40B4-BE49-F238E27FC236}">
                <a16:creationId xmlns:a16="http://schemas.microsoft.com/office/drawing/2014/main" id="{A05DA0CB-8888-AE1B-517E-6F2F5E0F61CC}"/>
              </a:ext>
            </a:extLst>
          </p:cNvPr>
          <p:cNvSpPr>
            <a:spLocks noGrp="1"/>
          </p:cNvSpPr>
          <p:nvPr>
            <p:ph type="ftr" sz="quarter" idx="16"/>
          </p:nvPr>
        </p:nvSpPr>
        <p:spPr/>
        <p:txBody>
          <a:bodyPr/>
          <a:lstStyle/>
          <a:p>
            <a:endParaRPr lang="da-DK" noProof="0"/>
          </a:p>
        </p:txBody>
      </p:sp>
      <p:sp>
        <p:nvSpPr>
          <p:cNvPr id="15" name="Text Placeholder 14">
            <a:extLst>
              <a:ext uri="{FF2B5EF4-FFF2-40B4-BE49-F238E27FC236}">
                <a16:creationId xmlns:a16="http://schemas.microsoft.com/office/drawing/2014/main" id="{BAA3A656-2AAD-8FA6-8B8A-0F622ABB7242}"/>
              </a:ext>
            </a:extLst>
          </p:cNvPr>
          <p:cNvSpPr>
            <a:spLocks noGrp="1"/>
          </p:cNvSpPr>
          <p:nvPr>
            <p:ph type="body" sz="quarter" idx="18" hasCustomPrompt="1"/>
          </p:nvPr>
        </p:nvSpPr>
        <p:spPr>
          <a:xfrm>
            <a:off x="83777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
        <p:nvSpPr>
          <p:cNvPr id="6" name="Rektangel: enkelt hjørne afrundet 3">
            <a:extLst>
              <a:ext uri="{FF2B5EF4-FFF2-40B4-BE49-F238E27FC236}">
                <a16:creationId xmlns:a16="http://schemas.microsoft.com/office/drawing/2014/main" id="{3F44D920-C562-CB3A-A90E-203C61152FDC}"/>
              </a:ext>
            </a:extLst>
          </p:cNvPr>
          <p:cNvSpPr/>
          <p:nvPr userDrawn="1"/>
        </p:nvSpPr>
        <p:spPr>
          <a:xfrm rot="5400000">
            <a:off x="4080000"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7" name="Content Placeholder">
            <a:extLst>
              <a:ext uri="{FF2B5EF4-FFF2-40B4-BE49-F238E27FC236}">
                <a16:creationId xmlns:a16="http://schemas.microsoft.com/office/drawing/2014/main" id="{CB865392-8DC1-3E12-AFFD-90B24E43F8AC}"/>
              </a:ext>
            </a:extLst>
          </p:cNvPr>
          <p:cNvSpPr>
            <a:spLocks noGrp="1" noChangeAspect="1"/>
          </p:cNvSpPr>
          <p:nvPr>
            <p:ph sz="quarter" idx="19" hasCustomPrompt="1"/>
          </p:nvPr>
        </p:nvSpPr>
        <p:spPr>
          <a:xfrm>
            <a:off x="4620000"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9" name="Text Placeholder 14">
            <a:extLst>
              <a:ext uri="{FF2B5EF4-FFF2-40B4-BE49-F238E27FC236}">
                <a16:creationId xmlns:a16="http://schemas.microsoft.com/office/drawing/2014/main" id="{DA071D47-D938-4517-894E-F44F79B81D53}"/>
              </a:ext>
            </a:extLst>
          </p:cNvPr>
          <p:cNvSpPr>
            <a:spLocks noGrp="1"/>
          </p:cNvSpPr>
          <p:nvPr>
            <p:ph type="body" sz="quarter" idx="20" hasCustomPrompt="1"/>
          </p:nvPr>
        </p:nvSpPr>
        <p:spPr>
          <a:xfrm>
            <a:off x="4620000"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
        <p:nvSpPr>
          <p:cNvPr id="10" name="Rektangel: enkelt hjørne afrundet 3">
            <a:extLst>
              <a:ext uri="{FF2B5EF4-FFF2-40B4-BE49-F238E27FC236}">
                <a16:creationId xmlns:a16="http://schemas.microsoft.com/office/drawing/2014/main" id="{5A8845E3-CF08-DCD4-A85C-CA8C47B27A0C}"/>
              </a:ext>
            </a:extLst>
          </p:cNvPr>
          <p:cNvSpPr/>
          <p:nvPr userDrawn="1"/>
        </p:nvSpPr>
        <p:spPr>
          <a:xfrm rot="5400000">
            <a:off x="7862226" y="1991737"/>
            <a:ext cx="4032000" cy="3456000"/>
          </a:xfrm>
          <a:prstGeom prst="round1Rect">
            <a:avLst>
              <a:gd name="adj" fmla="val 1927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wrap="square" lIns="144000" tIns="432000" rIns="0" bIns="144000" rtlCol="0" anchor="t" anchorCtr="0">
            <a:noAutofit/>
          </a:bodyPr>
          <a:lstStyle/>
          <a:p>
            <a:pPr>
              <a:lnSpc>
                <a:spcPct val="90000"/>
              </a:lnSpc>
            </a:pPr>
            <a:endParaRPr kumimoji="0" lang="da-DK" sz="1400" b="0" i="0" u="none" strike="noStrike" kern="1200" cap="none" spc="0" normalizeH="0" baseline="0" noProof="0">
              <a:ln>
                <a:noFill/>
              </a:ln>
              <a:solidFill>
                <a:srgbClr val="91A0B2"/>
              </a:solidFill>
              <a:effectLst/>
              <a:uLnTx/>
              <a:uFillTx/>
              <a:latin typeface="Work Sans" pitchFamily="2" charset="0"/>
            </a:endParaRPr>
          </a:p>
        </p:txBody>
      </p:sp>
      <p:sp>
        <p:nvSpPr>
          <p:cNvPr id="12" name="Content Placeholder">
            <a:extLst>
              <a:ext uri="{FF2B5EF4-FFF2-40B4-BE49-F238E27FC236}">
                <a16:creationId xmlns:a16="http://schemas.microsoft.com/office/drawing/2014/main" id="{09975C7B-92A1-77A3-6DF3-98B1EC362A64}"/>
              </a:ext>
            </a:extLst>
          </p:cNvPr>
          <p:cNvSpPr>
            <a:spLocks noGrp="1" noChangeAspect="1"/>
          </p:cNvSpPr>
          <p:nvPr>
            <p:ph sz="quarter" idx="21" hasCustomPrompt="1"/>
          </p:nvPr>
        </p:nvSpPr>
        <p:spPr>
          <a:xfrm>
            <a:off x="8402226" y="2469110"/>
            <a:ext cx="2952000" cy="2952000"/>
          </a:xfrm>
        </p:spPr>
        <p:txBody>
          <a:bodyPr/>
          <a:lstStyle>
            <a:lvl1pPr marL="0" indent="0">
              <a:buNone/>
              <a:defRPr sz="800"/>
            </a:lvl1pPr>
            <a:lvl2pPr marL="222250" indent="0">
              <a:buNone/>
              <a:defRPr sz="800"/>
            </a:lvl2pPr>
            <a:lvl3pPr marL="542925" indent="0">
              <a:buNone/>
              <a:defRPr sz="800"/>
            </a:lvl3pPr>
            <a:lvl4pPr marL="895350" indent="0">
              <a:buNone/>
              <a:defRPr sz="800"/>
            </a:lvl4pPr>
            <a:lvl5pPr marL="1166813" indent="0">
              <a:buNone/>
              <a:defRPr sz="800"/>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4" name="Text Placeholder 14">
            <a:extLst>
              <a:ext uri="{FF2B5EF4-FFF2-40B4-BE49-F238E27FC236}">
                <a16:creationId xmlns:a16="http://schemas.microsoft.com/office/drawing/2014/main" id="{8306526A-8341-2F8B-ECCF-7F99D0F10D26}"/>
              </a:ext>
            </a:extLst>
          </p:cNvPr>
          <p:cNvSpPr>
            <a:spLocks noGrp="1"/>
          </p:cNvSpPr>
          <p:nvPr>
            <p:ph type="body" sz="quarter" idx="22" hasCustomPrompt="1"/>
          </p:nvPr>
        </p:nvSpPr>
        <p:spPr>
          <a:xfrm>
            <a:off x="8402226" y="1950098"/>
            <a:ext cx="2952000" cy="504000"/>
          </a:xfrm>
        </p:spPr>
        <p:txBody>
          <a:bodyPr anchor="t"/>
          <a:lstStyle>
            <a:lvl1pPr marL="0" indent="0">
              <a:lnSpc>
                <a:spcPct val="90000"/>
              </a:lnSpc>
              <a:spcBef>
                <a:spcPts val="0"/>
              </a:spcBef>
              <a:buNone/>
              <a:defRPr sz="1400" b="1" i="0">
                <a:latin typeface="Work Sans SemiBold" pitchFamily="2" charset="77"/>
              </a:defRPr>
            </a:lvl1pPr>
          </a:lstStyle>
          <a:p>
            <a:pPr lvl="0"/>
            <a:r>
              <a:rPr lang="da-DK" noProof="0" err="1"/>
              <a:t>Subtitle</a:t>
            </a:r>
            <a:endParaRPr lang="da-DK" noProof="0"/>
          </a:p>
        </p:txBody>
      </p:sp>
      <p:sp>
        <p:nvSpPr>
          <p:cNvPr id="16" name="Title 12">
            <a:extLst>
              <a:ext uri="{FF2B5EF4-FFF2-40B4-BE49-F238E27FC236}">
                <a16:creationId xmlns:a16="http://schemas.microsoft.com/office/drawing/2014/main" id="{C115E72D-8BD9-EA6C-7574-E9430926D4C1}"/>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17" name="Date Placeholder 3">
            <a:extLst>
              <a:ext uri="{FF2B5EF4-FFF2-40B4-BE49-F238E27FC236}">
                <a16:creationId xmlns:a16="http://schemas.microsoft.com/office/drawing/2014/main" id="{8F5C748C-57AE-3869-304D-D7785959E585}"/>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A13C22B8-EEA6-4BDA-91B7-31F2E95C72E6}" type="datetime1">
              <a:rPr lang="da-DK" smtClean="0"/>
              <a:t>16-03-2026</a:t>
            </a:fld>
            <a:endParaRPr lang="da-DK"/>
          </a:p>
        </p:txBody>
      </p:sp>
      <p:sp>
        <p:nvSpPr>
          <p:cNvPr id="18" name="Slide Number Placeholder 5">
            <a:extLst>
              <a:ext uri="{FF2B5EF4-FFF2-40B4-BE49-F238E27FC236}">
                <a16:creationId xmlns:a16="http://schemas.microsoft.com/office/drawing/2014/main" id="{D576747A-CB69-70FA-AD24-301858529701}"/>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a:p>
        </p:txBody>
      </p:sp>
    </p:spTree>
    <p:extLst>
      <p:ext uri="{BB962C8B-B14F-4D97-AF65-F5344CB8AC3E}">
        <p14:creationId xmlns:p14="http://schemas.microsoft.com/office/powerpoint/2010/main" val="3483364157"/>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tor hvid flade">
    <p:spTree>
      <p:nvGrpSpPr>
        <p:cNvPr id="1" name=""/>
        <p:cNvGrpSpPr/>
        <p:nvPr/>
      </p:nvGrpSpPr>
      <p:grpSpPr>
        <a:xfrm>
          <a:off x="0" y="0"/>
          <a:ext cx="0" cy="0"/>
          <a:chOff x="0" y="0"/>
          <a:chExt cx="0" cy="0"/>
        </a:xfrm>
      </p:grpSpPr>
      <p:sp>
        <p:nvSpPr>
          <p:cNvPr id="7" name="Rektangel: enkelt hjørne afrundet 6">
            <a:extLst>
              <a:ext uri="{FF2B5EF4-FFF2-40B4-BE49-F238E27FC236}">
                <a16:creationId xmlns:a16="http://schemas.microsoft.com/office/drawing/2014/main" id="{6BA1B22A-703B-774D-47B8-CE396D8921F1}"/>
              </a:ext>
            </a:extLst>
          </p:cNvPr>
          <p:cNvSpPr/>
          <p:nvPr userDrawn="1"/>
        </p:nvSpPr>
        <p:spPr>
          <a:xfrm flipH="1">
            <a:off x="332507" y="2097975"/>
            <a:ext cx="11859491" cy="4760026"/>
          </a:xfrm>
          <a:prstGeom prst="round1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432000" rIns="432000" bIns="720000" rtlCol="0" anchor="b" anchorCtr="0">
            <a:noAutofit/>
          </a:bodyPr>
          <a:lstStyle/>
          <a:p>
            <a:pPr>
              <a:lnSpc>
                <a:spcPct val="90000"/>
              </a:lnSpc>
            </a:pPr>
            <a:endParaRPr lang="da-DK" sz="1400" noProof="0">
              <a:solidFill>
                <a:schemeClr val="bg1"/>
              </a:solidFill>
              <a:latin typeface="Work Sans" pitchFamily="2" charset="0"/>
            </a:endParaRPr>
          </a:p>
        </p:txBody>
      </p:sp>
      <p:graphicFrame>
        <p:nvGraphicFramePr>
          <p:cNvPr id="8" name="think-cell data - do not delete" hidden="1">
            <a:extLst>
              <a:ext uri="{FF2B5EF4-FFF2-40B4-BE49-F238E27FC236}">
                <a16:creationId xmlns:a16="http://schemas.microsoft.com/office/drawing/2014/main" id="{E37C893D-BF64-4E35-B99E-04730F6AFF62}"/>
              </a:ext>
            </a:extLst>
          </p:cNvPr>
          <p:cNvGraphicFramePr>
            <a:graphicFrameLocks noChangeAspect="1"/>
          </p:cNvGraphicFramePr>
          <p:nvPr userDrawn="1">
            <p:custDataLst>
              <p:tags r:id="rId1"/>
            </p:custDataLst>
            <p:extLst>
              <p:ext uri="{D42A27DB-BD31-4B8C-83A1-F6EECF244321}">
                <p14:modId xmlns:p14="http://schemas.microsoft.com/office/powerpoint/2010/main" val="3038160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8" name="think-cell data - do not delete" hidden="1">
                        <a:extLst>
                          <a:ext uri="{FF2B5EF4-FFF2-40B4-BE49-F238E27FC236}">
                            <a16:creationId xmlns:a16="http://schemas.microsoft.com/office/drawing/2014/main" id="{E37C893D-BF64-4E35-B99E-04730F6AFF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ladsholder til sidefod 4">
            <a:extLst>
              <a:ext uri="{FF2B5EF4-FFF2-40B4-BE49-F238E27FC236}">
                <a16:creationId xmlns:a16="http://schemas.microsoft.com/office/drawing/2014/main" id="{32C5E6DF-0E78-668E-BF0F-2AB0F099B760}"/>
              </a:ext>
            </a:extLst>
          </p:cNvPr>
          <p:cNvSpPr>
            <a:spLocks noGrp="1"/>
          </p:cNvSpPr>
          <p:nvPr>
            <p:ph type="ftr" sz="quarter" idx="12"/>
          </p:nvPr>
        </p:nvSpPr>
        <p:spPr/>
        <p:txBody>
          <a:bodyPr/>
          <a:lstStyle/>
          <a:p>
            <a:endParaRPr lang="da-DK" noProof="0"/>
          </a:p>
        </p:txBody>
      </p:sp>
      <p:sp>
        <p:nvSpPr>
          <p:cNvPr id="3" name="Title 12">
            <a:extLst>
              <a:ext uri="{FF2B5EF4-FFF2-40B4-BE49-F238E27FC236}">
                <a16:creationId xmlns:a16="http://schemas.microsoft.com/office/drawing/2014/main" id="{74269D21-6FF1-A2E2-928F-E0E74D6980C7}"/>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6" name="Date Placeholder 3">
            <a:extLst>
              <a:ext uri="{FF2B5EF4-FFF2-40B4-BE49-F238E27FC236}">
                <a16:creationId xmlns:a16="http://schemas.microsoft.com/office/drawing/2014/main" id="{2F968CD3-3B25-00F3-A695-688F23E48E09}"/>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E59A6D23-4265-4B9C-B405-35788CC7CF77}" type="datetime1">
              <a:rPr lang="da-DK" smtClean="0"/>
              <a:t>16-03-2026</a:t>
            </a:fld>
            <a:endParaRPr lang="da-DK"/>
          </a:p>
        </p:txBody>
      </p:sp>
      <p:sp>
        <p:nvSpPr>
          <p:cNvPr id="9" name="Slide Number Placeholder 5">
            <a:extLst>
              <a:ext uri="{FF2B5EF4-FFF2-40B4-BE49-F238E27FC236}">
                <a16:creationId xmlns:a16="http://schemas.microsoft.com/office/drawing/2014/main" id="{1131796B-7C40-FA8B-1681-9F0AF308C092}"/>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a:p>
        </p:txBody>
      </p:sp>
    </p:spTree>
    <p:extLst>
      <p:ext uri="{BB962C8B-B14F-4D97-AF65-F5344CB8AC3E}">
        <p14:creationId xmlns:p14="http://schemas.microsoft.com/office/powerpoint/2010/main" val="98990208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Lille hvid fla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BF3A2C6-9A17-09C0-0C96-0BD06A0F0152}"/>
              </a:ext>
            </a:extLst>
          </p:cNvPr>
          <p:cNvGraphicFramePr>
            <a:graphicFrameLocks noChangeAspect="1"/>
          </p:cNvGraphicFramePr>
          <p:nvPr userDrawn="1">
            <p:custDataLst>
              <p:tags r:id="rId1"/>
            </p:custDataLst>
            <p:extLst>
              <p:ext uri="{D42A27DB-BD31-4B8C-83A1-F6EECF244321}">
                <p14:modId xmlns:p14="http://schemas.microsoft.com/office/powerpoint/2010/main" val="3176904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8" name="think-cell data - do not delete" hidden="1">
                        <a:extLst>
                          <a:ext uri="{FF2B5EF4-FFF2-40B4-BE49-F238E27FC236}">
                            <a16:creationId xmlns:a16="http://schemas.microsoft.com/office/drawing/2014/main" id="{DBF3A2C6-9A17-09C0-0C96-0BD06A0F01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ktangel: enkelt hjørne afrundet 5">
            <a:extLst>
              <a:ext uri="{FF2B5EF4-FFF2-40B4-BE49-F238E27FC236}">
                <a16:creationId xmlns:a16="http://schemas.microsoft.com/office/drawing/2014/main" id="{4CC78093-E1B2-36DC-8282-C2078167838F}"/>
              </a:ext>
            </a:extLst>
          </p:cNvPr>
          <p:cNvSpPr/>
          <p:nvPr userDrawn="1"/>
        </p:nvSpPr>
        <p:spPr>
          <a:xfrm flipH="1">
            <a:off x="6096000" y="2098800"/>
            <a:ext cx="6096000" cy="4759200"/>
          </a:xfrm>
          <a:prstGeom prst="round1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432000" rIns="432000" bIns="720000" rtlCol="0" anchor="b" anchorCtr="0">
            <a:noAutofit/>
          </a:bodyPr>
          <a:lstStyle/>
          <a:p>
            <a:pPr>
              <a:lnSpc>
                <a:spcPct val="90000"/>
              </a:lnSpc>
            </a:pPr>
            <a:endParaRPr lang="da-DK" sz="1400" noProof="0">
              <a:solidFill>
                <a:schemeClr val="bg1"/>
              </a:solidFill>
              <a:latin typeface="Work Sans" pitchFamily="2" charset="0"/>
            </a:endParaRPr>
          </a:p>
        </p:txBody>
      </p:sp>
      <p:sp>
        <p:nvSpPr>
          <p:cNvPr id="5" name="Pladsholder til sidefod 4">
            <a:extLst>
              <a:ext uri="{FF2B5EF4-FFF2-40B4-BE49-F238E27FC236}">
                <a16:creationId xmlns:a16="http://schemas.microsoft.com/office/drawing/2014/main" id="{4D223CD4-2F41-E2C1-5427-147F16EB7589}"/>
              </a:ext>
            </a:extLst>
          </p:cNvPr>
          <p:cNvSpPr>
            <a:spLocks noGrp="1"/>
          </p:cNvSpPr>
          <p:nvPr>
            <p:ph type="ftr" sz="quarter" idx="12"/>
          </p:nvPr>
        </p:nvSpPr>
        <p:spPr/>
        <p:txBody>
          <a:bodyPr/>
          <a:lstStyle/>
          <a:p>
            <a:endParaRPr lang="da-DK" noProof="0"/>
          </a:p>
        </p:txBody>
      </p:sp>
      <p:sp>
        <p:nvSpPr>
          <p:cNvPr id="7" name="Title 12">
            <a:extLst>
              <a:ext uri="{FF2B5EF4-FFF2-40B4-BE49-F238E27FC236}">
                <a16:creationId xmlns:a16="http://schemas.microsoft.com/office/drawing/2014/main" id="{7C0236E6-01F3-F924-D636-E5E7695A94DD}"/>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9" name="Date Placeholder 3">
            <a:extLst>
              <a:ext uri="{FF2B5EF4-FFF2-40B4-BE49-F238E27FC236}">
                <a16:creationId xmlns:a16="http://schemas.microsoft.com/office/drawing/2014/main" id="{C71929E2-7336-0C37-F374-54A363A37D35}"/>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0553B47C-DC47-4C34-B717-C89CD5271946}" type="datetime1">
              <a:rPr lang="da-DK" smtClean="0"/>
              <a:t>16-03-2026</a:t>
            </a:fld>
            <a:endParaRPr lang="da-DK"/>
          </a:p>
        </p:txBody>
      </p:sp>
      <p:sp>
        <p:nvSpPr>
          <p:cNvPr id="11" name="Slide Number Placeholder 5">
            <a:extLst>
              <a:ext uri="{FF2B5EF4-FFF2-40B4-BE49-F238E27FC236}">
                <a16:creationId xmlns:a16="http://schemas.microsoft.com/office/drawing/2014/main" id="{174B26ED-08E9-D184-D027-6A2B9BA2823E}"/>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a:p>
        </p:txBody>
      </p:sp>
    </p:spTree>
    <p:extLst>
      <p:ext uri="{BB962C8B-B14F-4D97-AF65-F5344CB8AC3E}">
        <p14:creationId xmlns:p14="http://schemas.microsoft.com/office/powerpoint/2010/main" val="295492844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iagram 1">
    <p:spTree>
      <p:nvGrpSpPr>
        <p:cNvPr id="1" name=""/>
        <p:cNvGrpSpPr/>
        <p:nvPr/>
      </p:nvGrpSpPr>
      <p:grpSpPr>
        <a:xfrm>
          <a:off x="0" y="0"/>
          <a:ext cx="0" cy="0"/>
          <a:chOff x="0" y="0"/>
          <a:chExt cx="0" cy="0"/>
        </a:xfrm>
      </p:grpSpPr>
      <p:sp>
        <p:nvSpPr>
          <p:cNvPr id="7"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5152318" y="431800"/>
            <a:ext cx="6614556" cy="2664000"/>
          </a:xfrm>
        </p:spPr>
        <p:txBody>
          <a:bodyPr/>
          <a:lstStyle/>
          <a:p>
            <a:endParaRPr lang="da-DK" noProof="0"/>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noProof="0"/>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426626"/>
            <a:ext cx="3775076" cy="576000"/>
          </a:xfrm>
        </p:spPr>
        <p:txBody>
          <a:bodyPr lIns="0"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sp>
        <p:nvSpPr>
          <p:cNvPr id="5" name="Pladsholder til diagram 6">
            <a:extLst>
              <a:ext uri="{FF2B5EF4-FFF2-40B4-BE49-F238E27FC236}">
                <a16:creationId xmlns:a16="http://schemas.microsoft.com/office/drawing/2014/main" id="{14D904DA-7A51-1AFE-8F7D-6D6101DB4105}"/>
              </a:ext>
            </a:extLst>
          </p:cNvPr>
          <p:cNvSpPr>
            <a:spLocks noGrp="1"/>
          </p:cNvSpPr>
          <p:nvPr>
            <p:ph type="chart" sz="quarter" idx="18"/>
          </p:nvPr>
        </p:nvSpPr>
        <p:spPr>
          <a:xfrm>
            <a:off x="5152319" y="3450754"/>
            <a:ext cx="6614556" cy="2664000"/>
          </a:xfrm>
        </p:spPr>
        <p:txBody>
          <a:bodyPr/>
          <a:lstStyle/>
          <a:p>
            <a:endParaRPr lang="da-DK" noProof="0"/>
          </a:p>
        </p:txBody>
      </p:sp>
      <p:sp>
        <p:nvSpPr>
          <p:cNvPr id="4" name="Title 12">
            <a:extLst>
              <a:ext uri="{FF2B5EF4-FFF2-40B4-BE49-F238E27FC236}">
                <a16:creationId xmlns:a16="http://schemas.microsoft.com/office/drawing/2014/main" id="{392E813A-7A29-0155-FCF8-F5D124BF01A4}"/>
              </a:ext>
            </a:extLst>
          </p:cNvPr>
          <p:cNvSpPr>
            <a:spLocks noGrp="1"/>
          </p:cNvSpPr>
          <p:nvPr>
            <p:ph type="title" hasCustomPrompt="1"/>
          </p:nvPr>
        </p:nvSpPr>
        <p:spPr>
          <a:xfrm>
            <a:off x="431799" y="431800"/>
            <a:ext cx="3775075" cy="864000"/>
          </a:xfrm>
        </p:spPr>
        <p:txBody>
          <a:bodyPr anchor="ctr"/>
          <a:lstStyle>
            <a:lvl1pPr>
              <a:defRPr/>
            </a:lvl1pPr>
          </a:lstStyle>
          <a:p>
            <a:r>
              <a:rPr lang="da-DK" noProof="0"/>
              <a:t>Klik for at redigere titeltypografien i masteren </a:t>
            </a:r>
          </a:p>
        </p:txBody>
      </p:sp>
      <p:sp>
        <p:nvSpPr>
          <p:cNvPr id="10" name="Date Placeholder 3">
            <a:extLst>
              <a:ext uri="{FF2B5EF4-FFF2-40B4-BE49-F238E27FC236}">
                <a16:creationId xmlns:a16="http://schemas.microsoft.com/office/drawing/2014/main" id="{F22B9DDD-3522-1C90-68DB-F09160CA13DA}"/>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6E5E9D09-E96D-4049-9A72-8963FD630E7F}" type="datetime1">
              <a:rPr lang="da-DK" smtClean="0"/>
              <a:t>16-03-2026</a:t>
            </a:fld>
            <a:endParaRPr lang="da-DK"/>
          </a:p>
        </p:txBody>
      </p:sp>
      <p:sp>
        <p:nvSpPr>
          <p:cNvPr id="11" name="Slide Number Placeholder 5">
            <a:extLst>
              <a:ext uri="{FF2B5EF4-FFF2-40B4-BE49-F238E27FC236}">
                <a16:creationId xmlns:a16="http://schemas.microsoft.com/office/drawing/2014/main" id="{90F97D7B-C790-388A-0851-216448AC7502}"/>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a:p>
        </p:txBody>
      </p:sp>
    </p:spTree>
    <p:extLst>
      <p:ext uri="{BB962C8B-B14F-4D97-AF65-F5344CB8AC3E}">
        <p14:creationId xmlns:p14="http://schemas.microsoft.com/office/powerpoint/2010/main" val="205334752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iagram 2">
    <p:spTree>
      <p:nvGrpSpPr>
        <p:cNvPr id="1" name=""/>
        <p:cNvGrpSpPr/>
        <p:nvPr/>
      </p:nvGrpSpPr>
      <p:grpSpPr>
        <a:xfrm>
          <a:off x="0" y="0"/>
          <a:ext cx="0" cy="0"/>
          <a:chOff x="0" y="0"/>
          <a:chExt cx="0" cy="0"/>
        </a:xfrm>
      </p:grpSpPr>
      <p:sp>
        <p:nvSpPr>
          <p:cNvPr id="7" name="Pladsholder til diagram 6">
            <a:extLst>
              <a:ext uri="{FF2B5EF4-FFF2-40B4-BE49-F238E27FC236}">
                <a16:creationId xmlns:a16="http://schemas.microsoft.com/office/drawing/2014/main" id="{4AF35703-BBCE-C7F1-7898-D8CC55E179AA}"/>
              </a:ext>
            </a:extLst>
          </p:cNvPr>
          <p:cNvSpPr>
            <a:spLocks noGrp="1"/>
          </p:cNvSpPr>
          <p:nvPr>
            <p:ph type="chart" sz="quarter" idx="13"/>
          </p:nvPr>
        </p:nvSpPr>
        <p:spPr>
          <a:xfrm>
            <a:off x="431798" y="2026507"/>
            <a:ext cx="11326813" cy="3744000"/>
          </a:xfrm>
        </p:spPr>
        <p:txBody>
          <a:bodyPr/>
          <a:lstStyle/>
          <a:p>
            <a:endParaRPr lang="da-DK" noProof="0"/>
          </a:p>
        </p:txBody>
      </p:sp>
      <p:sp>
        <p:nvSpPr>
          <p:cNvPr id="8" name="Footer Placeholder 7">
            <a:extLst>
              <a:ext uri="{FF2B5EF4-FFF2-40B4-BE49-F238E27FC236}">
                <a16:creationId xmlns:a16="http://schemas.microsoft.com/office/drawing/2014/main" id="{4DFEF37E-E194-D669-EAE6-0E8489ACCA52}"/>
              </a:ext>
            </a:extLst>
          </p:cNvPr>
          <p:cNvSpPr>
            <a:spLocks noGrp="1"/>
          </p:cNvSpPr>
          <p:nvPr>
            <p:ph type="ftr" sz="quarter" idx="16"/>
          </p:nvPr>
        </p:nvSpPr>
        <p:spPr/>
        <p:txBody>
          <a:bodyPr/>
          <a:lstStyle/>
          <a:p>
            <a:endParaRPr lang="da-DK" noProof="0"/>
          </a:p>
        </p:txBody>
      </p:sp>
      <p:sp>
        <p:nvSpPr>
          <p:cNvPr id="3" name="Subtitle 2">
            <a:extLst>
              <a:ext uri="{FF2B5EF4-FFF2-40B4-BE49-F238E27FC236}">
                <a16:creationId xmlns:a16="http://schemas.microsoft.com/office/drawing/2014/main" id="{23AD5581-8360-974F-FC5F-10A2E1FD39DE}"/>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sp>
        <p:nvSpPr>
          <p:cNvPr id="4" name="Title 12">
            <a:extLst>
              <a:ext uri="{FF2B5EF4-FFF2-40B4-BE49-F238E27FC236}">
                <a16:creationId xmlns:a16="http://schemas.microsoft.com/office/drawing/2014/main" id="{D6FDFFAA-0DD3-780D-F79E-A79FD9EBF5B7}"/>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5" name="Date Placeholder 3">
            <a:extLst>
              <a:ext uri="{FF2B5EF4-FFF2-40B4-BE49-F238E27FC236}">
                <a16:creationId xmlns:a16="http://schemas.microsoft.com/office/drawing/2014/main" id="{9CDB4E3B-011A-B82C-120E-D5BCECA64EC0}"/>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AD1F06D2-E3AB-4E5D-9FEB-F84C19F98D48}" type="datetime1">
              <a:rPr lang="da-DK" smtClean="0"/>
              <a:t>16-03-2026</a:t>
            </a:fld>
            <a:endParaRPr lang="da-DK"/>
          </a:p>
        </p:txBody>
      </p:sp>
      <p:sp>
        <p:nvSpPr>
          <p:cNvPr id="10" name="Slide Number Placeholder 5">
            <a:extLst>
              <a:ext uri="{FF2B5EF4-FFF2-40B4-BE49-F238E27FC236}">
                <a16:creationId xmlns:a16="http://schemas.microsoft.com/office/drawing/2014/main" id="{71269FD8-78D1-3CB2-1BB6-7074EA35F769}"/>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a:p>
        </p:txBody>
      </p:sp>
    </p:spTree>
    <p:extLst>
      <p:ext uri="{BB962C8B-B14F-4D97-AF65-F5344CB8AC3E}">
        <p14:creationId xmlns:p14="http://schemas.microsoft.com/office/powerpoint/2010/main" val="243621960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el + undertitel">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28FAA754-24BD-1A67-A780-7D8496CEC1D2}"/>
              </a:ext>
            </a:extLst>
          </p:cNvPr>
          <p:cNvSpPr>
            <a:spLocks noGrp="1"/>
          </p:cNvSpPr>
          <p:nvPr>
            <p:ph type="subTitle" idx="1"/>
          </p:nvPr>
        </p:nvSpPr>
        <p:spPr>
          <a:xfrm>
            <a:off x="431798" y="1296000"/>
            <a:ext cx="5664201" cy="576000"/>
          </a:xfrm>
        </p:spPr>
        <p:txBody>
          <a:bodyPr lIns="0" anchor="t">
            <a:noAutofit/>
          </a:bodyPr>
          <a:lstStyle>
            <a:lvl1pPr marL="0" indent="0" algn="l">
              <a:lnSpc>
                <a:spcPct val="120000"/>
              </a:lnSpc>
              <a:spcBef>
                <a:spcPts val="0"/>
              </a:spcBef>
              <a:buFont typeface="Arial" panose="020B0604020202020204" pitchFamily="34" charset="0"/>
              <a:buNone/>
              <a:defRPr sz="1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err="1"/>
              <a:t>Click</a:t>
            </a:r>
            <a:r>
              <a:rPr lang="da-DK" noProof="0"/>
              <a:t> to </a:t>
            </a:r>
            <a:r>
              <a:rPr lang="da-DK" noProof="0" err="1"/>
              <a:t>edit</a:t>
            </a:r>
            <a:r>
              <a:rPr lang="da-DK" noProof="0"/>
              <a:t> Master </a:t>
            </a:r>
            <a:r>
              <a:rPr lang="da-DK" noProof="0" err="1"/>
              <a:t>subtitle</a:t>
            </a:r>
            <a:r>
              <a:rPr lang="da-DK" noProof="0"/>
              <a:t> style</a:t>
            </a:r>
          </a:p>
        </p:txBody>
      </p:sp>
      <p:sp>
        <p:nvSpPr>
          <p:cNvPr id="3" name="Footer Placeholder 2">
            <a:extLst>
              <a:ext uri="{FF2B5EF4-FFF2-40B4-BE49-F238E27FC236}">
                <a16:creationId xmlns:a16="http://schemas.microsoft.com/office/drawing/2014/main" id="{FCB84603-88A4-AC1A-AB7C-D8A074DF88A4}"/>
              </a:ext>
            </a:extLst>
          </p:cNvPr>
          <p:cNvSpPr>
            <a:spLocks noGrp="1"/>
          </p:cNvSpPr>
          <p:nvPr>
            <p:ph type="ftr" sz="quarter" idx="11"/>
          </p:nvPr>
        </p:nvSpPr>
        <p:spPr/>
        <p:txBody>
          <a:bodyPr/>
          <a:lstStyle/>
          <a:p>
            <a:endParaRPr lang="da-DK" noProof="0"/>
          </a:p>
        </p:txBody>
      </p:sp>
      <p:sp>
        <p:nvSpPr>
          <p:cNvPr id="5" name="Title 12">
            <a:extLst>
              <a:ext uri="{FF2B5EF4-FFF2-40B4-BE49-F238E27FC236}">
                <a16:creationId xmlns:a16="http://schemas.microsoft.com/office/drawing/2014/main" id="{3286D46D-943E-DF96-3C0E-A5100043C498}"/>
              </a:ext>
            </a:extLst>
          </p:cNvPr>
          <p:cNvSpPr>
            <a:spLocks noGrp="1"/>
          </p:cNvSpPr>
          <p:nvPr>
            <p:ph type="title" hasCustomPrompt="1"/>
          </p:nvPr>
        </p:nvSpPr>
        <p:spPr>
          <a:xfrm>
            <a:off x="431799" y="431800"/>
            <a:ext cx="11326814" cy="864000"/>
          </a:xfrm>
        </p:spPr>
        <p:txBody>
          <a:bodyPr anchor="ctr"/>
          <a:lstStyle>
            <a:lvl1pPr>
              <a:defRPr/>
            </a:lvl1pPr>
          </a:lstStyle>
          <a:p>
            <a:r>
              <a:rPr lang="da-DK" noProof="0"/>
              <a:t>Klik for at redigere titeltypografien i masteren </a:t>
            </a:r>
          </a:p>
        </p:txBody>
      </p:sp>
      <p:sp>
        <p:nvSpPr>
          <p:cNvPr id="6" name="Date Placeholder 3">
            <a:extLst>
              <a:ext uri="{FF2B5EF4-FFF2-40B4-BE49-F238E27FC236}">
                <a16:creationId xmlns:a16="http://schemas.microsoft.com/office/drawing/2014/main" id="{FBDCFC81-8D68-8F59-18D5-0A7E788A2581}"/>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02DE2448-1808-45AD-9106-1D2DF29B34E1}" type="datetime1">
              <a:rPr lang="da-DK" smtClean="0"/>
              <a:t>16-03-2026</a:t>
            </a:fld>
            <a:endParaRPr lang="da-DK"/>
          </a:p>
        </p:txBody>
      </p:sp>
      <p:sp>
        <p:nvSpPr>
          <p:cNvPr id="7" name="Slide Number Placeholder 5">
            <a:extLst>
              <a:ext uri="{FF2B5EF4-FFF2-40B4-BE49-F238E27FC236}">
                <a16:creationId xmlns:a16="http://schemas.microsoft.com/office/drawing/2014/main" id="{662925D6-C5C4-021A-4FCA-030F5B4A935A}"/>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a:p>
        </p:txBody>
      </p:sp>
    </p:spTree>
    <p:extLst>
      <p:ext uri="{BB962C8B-B14F-4D97-AF65-F5344CB8AC3E}">
        <p14:creationId xmlns:p14="http://schemas.microsoft.com/office/powerpoint/2010/main" val="882604072"/>
      </p:ext>
    </p:extLst>
  </p:cSld>
  <p:clrMapOvr>
    <a:masterClrMapping/>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theme" Target="../theme/theme2.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image" Target="../media/image1.emf"/><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oleObject" Target="../embeddings/oleObject4.bin"/><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tags" Target="../tags/tag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 Type="http://schemas.openxmlformats.org/officeDocument/2006/relationships/slideLayout" Target="../slideLayouts/slideLayout54.xml"/><Relationship Id="rId21" Type="http://schemas.openxmlformats.org/officeDocument/2006/relationships/slideLayout" Target="../slideLayouts/slideLayout72.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29" Type="http://schemas.openxmlformats.org/officeDocument/2006/relationships/tags" Target="../tags/tag7.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theme" Target="../theme/theme3.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31" Type="http://schemas.openxmlformats.org/officeDocument/2006/relationships/image" Target="../media/image1.emf"/><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18" Type="http://schemas.openxmlformats.org/officeDocument/2006/relationships/slideLayout" Target="../slideLayouts/slideLayout96.xml"/><Relationship Id="rId26" Type="http://schemas.openxmlformats.org/officeDocument/2006/relationships/slideLayout" Target="../slideLayouts/slideLayout104.xml"/><Relationship Id="rId3" Type="http://schemas.openxmlformats.org/officeDocument/2006/relationships/slideLayout" Target="../slideLayouts/slideLayout81.xml"/><Relationship Id="rId21" Type="http://schemas.openxmlformats.org/officeDocument/2006/relationships/slideLayout" Target="../slideLayouts/slideLayout99.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5" Type="http://schemas.openxmlformats.org/officeDocument/2006/relationships/slideLayout" Target="../slideLayouts/slideLayout103.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20" Type="http://schemas.openxmlformats.org/officeDocument/2006/relationships/slideLayout" Target="../slideLayouts/slideLayout98.xml"/><Relationship Id="rId29" Type="http://schemas.openxmlformats.org/officeDocument/2006/relationships/oleObject" Target="../embeddings/oleObject4.bin"/><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24" Type="http://schemas.openxmlformats.org/officeDocument/2006/relationships/slideLayout" Target="../slideLayouts/slideLayout102.xml"/><Relationship Id="rId5" Type="http://schemas.openxmlformats.org/officeDocument/2006/relationships/slideLayout" Target="../slideLayouts/slideLayout83.xml"/><Relationship Id="rId15" Type="http://schemas.openxmlformats.org/officeDocument/2006/relationships/slideLayout" Target="../slideLayouts/slideLayout93.xml"/><Relationship Id="rId23" Type="http://schemas.openxmlformats.org/officeDocument/2006/relationships/slideLayout" Target="../slideLayouts/slideLayout101.xml"/><Relationship Id="rId28" Type="http://schemas.openxmlformats.org/officeDocument/2006/relationships/tags" Target="../tags/tag10.xml"/><Relationship Id="rId10" Type="http://schemas.openxmlformats.org/officeDocument/2006/relationships/slideLayout" Target="../slideLayouts/slideLayout88.xml"/><Relationship Id="rId19" Type="http://schemas.openxmlformats.org/officeDocument/2006/relationships/slideLayout" Target="../slideLayouts/slideLayout97.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 Id="rId22" Type="http://schemas.openxmlformats.org/officeDocument/2006/relationships/slideLayout" Target="../slideLayouts/slideLayout100.xml"/><Relationship Id="rId27" Type="http://schemas.openxmlformats.org/officeDocument/2006/relationships/theme" Target="../theme/theme4.xml"/><Relationship Id="rId30"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26" Type="http://schemas.openxmlformats.org/officeDocument/2006/relationships/slideLayout" Target="../slideLayouts/slideLayout130.xml"/><Relationship Id="rId3" Type="http://schemas.openxmlformats.org/officeDocument/2006/relationships/slideLayout" Target="../slideLayouts/slideLayout107.xml"/><Relationship Id="rId21" Type="http://schemas.openxmlformats.org/officeDocument/2006/relationships/slideLayout" Target="../slideLayouts/slideLayout125.xml"/><Relationship Id="rId34" Type="http://schemas.openxmlformats.org/officeDocument/2006/relationships/image" Target="../media/image1.emf"/><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5" Type="http://schemas.openxmlformats.org/officeDocument/2006/relationships/slideLayout" Target="../slideLayouts/slideLayout129.xml"/><Relationship Id="rId33" Type="http://schemas.openxmlformats.org/officeDocument/2006/relationships/oleObject" Target="../embeddings/oleObject1.bin"/><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0" Type="http://schemas.openxmlformats.org/officeDocument/2006/relationships/slideLayout" Target="../slideLayouts/slideLayout124.xml"/><Relationship Id="rId29" Type="http://schemas.openxmlformats.org/officeDocument/2006/relationships/slideLayout" Target="../slideLayouts/slideLayout133.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24" Type="http://schemas.openxmlformats.org/officeDocument/2006/relationships/slideLayout" Target="../slideLayouts/slideLayout128.xml"/><Relationship Id="rId32" Type="http://schemas.openxmlformats.org/officeDocument/2006/relationships/tags" Target="../tags/tag13.xml"/><Relationship Id="rId5" Type="http://schemas.openxmlformats.org/officeDocument/2006/relationships/slideLayout" Target="../slideLayouts/slideLayout109.xml"/><Relationship Id="rId15" Type="http://schemas.openxmlformats.org/officeDocument/2006/relationships/slideLayout" Target="../slideLayouts/slideLayout119.xml"/><Relationship Id="rId23" Type="http://schemas.openxmlformats.org/officeDocument/2006/relationships/slideLayout" Target="../slideLayouts/slideLayout127.xml"/><Relationship Id="rId28" Type="http://schemas.openxmlformats.org/officeDocument/2006/relationships/slideLayout" Target="../slideLayouts/slideLayout132.xml"/><Relationship Id="rId10" Type="http://schemas.openxmlformats.org/officeDocument/2006/relationships/slideLayout" Target="../slideLayouts/slideLayout114.xml"/><Relationship Id="rId19" Type="http://schemas.openxmlformats.org/officeDocument/2006/relationships/slideLayout" Target="../slideLayouts/slideLayout123.xml"/><Relationship Id="rId31" Type="http://schemas.openxmlformats.org/officeDocument/2006/relationships/theme" Target="../theme/theme5.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slideLayout" Target="../slideLayouts/slideLayout126.xml"/><Relationship Id="rId27" Type="http://schemas.openxmlformats.org/officeDocument/2006/relationships/slideLayout" Target="../slideLayouts/slideLayout131.xml"/><Relationship Id="rId30" Type="http://schemas.openxmlformats.org/officeDocument/2006/relationships/slideLayout" Target="../slideLayouts/slideLayout134.xml"/><Relationship Id="rId8" Type="http://schemas.openxmlformats.org/officeDocument/2006/relationships/slideLayout" Target="../slideLayouts/slideLayout1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0326A49-EFDB-1966-3EF8-DAA55049FA2E}"/>
              </a:ext>
            </a:extLst>
          </p:cNvPr>
          <p:cNvGraphicFramePr>
            <a:graphicFrameLocks/>
          </p:cNvGraphicFramePr>
          <p:nvPr userDrawn="1">
            <p:custDataLst>
              <p:tags r:id="rId28"/>
            </p:custDataLst>
            <p:extLst>
              <p:ext uri="{D42A27DB-BD31-4B8C-83A1-F6EECF244321}">
                <p14:modId xmlns:p14="http://schemas.microsoft.com/office/powerpoint/2010/main" val="1386567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04" imgH="405" progId="TCLayout.ActiveDocument.1">
                  <p:embed/>
                </p:oleObj>
              </mc:Choice>
              <mc:Fallback>
                <p:oleObj name="think-cell Slide" r:id="rId29" imgW="404" imgH="405" progId="TCLayout.ActiveDocument.1">
                  <p:embed/>
                  <p:pic>
                    <p:nvPicPr>
                      <p:cNvPr id="7" name="think-cell data - do not delete" hidden="1">
                        <a:extLst>
                          <a:ext uri="{FF2B5EF4-FFF2-40B4-BE49-F238E27FC236}">
                            <a16:creationId xmlns:a16="http://schemas.microsoft.com/office/drawing/2014/main" id="{A0326A49-EFDB-1966-3EF8-DAA55049FA2E}"/>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F095F1B-D449-B0EF-15AB-2722E408E6D1}"/>
              </a:ext>
            </a:extLst>
          </p:cNvPr>
          <p:cNvSpPr>
            <a:spLocks noGrp="1"/>
          </p:cNvSpPr>
          <p:nvPr>
            <p:ph type="title"/>
          </p:nvPr>
        </p:nvSpPr>
        <p:spPr>
          <a:xfrm>
            <a:off x="431799" y="431800"/>
            <a:ext cx="11326814" cy="1080000"/>
          </a:xfrm>
          <a:prstGeom prst="rect">
            <a:avLst/>
          </a:prstGeom>
        </p:spPr>
        <p:txBody>
          <a:bodyPr vert="horz" lIns="0" tIns="0" rIns="0" bIns="0" rtlCol="0" anchor="b" anchorCtr="0">
            <a:noAutofit/>
          </a:bodyPr>
          <a:lstStyle/>
          <a:p>
            <a:r>
              <a:rPr lang="da-DK" noProof="0"/>
              <a:t>Overskrift</a:t>
            </a:r>
            <a:br>
              <a:rPr lang="da-DK" noProof="0"/>
            </a:br>
            <a:r>
              <a:rPr lang="da-DK" noProof="0"/>
              <a:t>max 2 linjer</a:t>
            </a:r>
          </a:p>
        </p:txBody>
      </p:sp>
      <p:sp>
        <p:nvSpPr>
          <p:cNvPr id="3" name="Text Placeholder 2">
            <a:extLst>
              <a:ext uri="{FF2B5EF4-FFF2-40B4-BE49-F238E27FC236}">
                <a16:creationId xmlns:a16="http://schemas.microsoft.com/office/drawing/2014/main" id="{2FA8C3B6-DCD1-EC06-3CDC-1FA08665A616}"/>
              </a:ext>
            </a:extLst>
          </p:cNvPr>
          <p:cNvSpPr>
            <a:spLocks noGrp="1"/>
          </p:cNvSpPr>
          <p:nvPr>
            <p:ph type="body" idx="1"/>
          </p:nvPr>
        </p:nvSpPr>
        <p:spPr>
          <a:xfrm>
            <a:off x="431800" y="1511800"/>
            <a:ext cx="5664200" cy="3167999"/>
          </a:xfrm>
          <a:prstGeom prst="rect">
            <a:avLst/>
          </a:prstGeom>
        </p:spPr>
        <p:txBody>
          <a:bodyPr vert="horz" lIns="0" tIns="0" rIns="0" bIns="0" rtlCol="0">
            <a:noAutofit/>
          </a:bodyPr>
          <a:lstStyle/>
          <a:p>
            <a:pPr lvl="0"/>
            <a:r>
              <a:rPr lang="da-DK" noProof="0"/>
              <a:t>Niveau 1</a:t>
            </a:r>
          </a:p>
          <a:p>
            <a:pPr lvl="1"/>
            <a:r>
              <a:rPr lang="da-DK" noProof="0"/>
              <a:t>Niveau 2 </a:t>
            </a:r>
          </a:p>
          <a:p>
            <a:pPr lvl="2"/>
            <a:r>
              <a:rPr lang="da-DK" noProof="0"/>
              <a:t>Niveau 3</a:t>
            </a:r>
          </a:p>
          <a:p>
            <a:pPr lvl="3"/>
            <a:r>
              <a:rPr lang="da-DK" noProof="0"/>
              <a:t>Niveau 4</a:t>
            </a:r>
          </a:p>
          <a:p>
            <a:pPr lvl="4"/>
            <a:r>
              <a:rPr lang="da-DK" noProof="0"/>
              <a:t>Niveau 5</a:t>
            </a:r>
          </a:p>
          <a:p>
            <a:pPr lvl="1"/>
            <a:endParaRPr lang="da-DK" noProof="0"/>
          </a:p>
          <a:p>
            <a:pPr lvl="2"/>
            <a:endParaRPr lang="da-DK" noProof="0"/>
          </a:p>
        </p:txBody>
      </p:sp>
      <p:sp>
        <p:nvSpPr>
          <p:cNvPr id="4" name="Date Placeholder 3">
            <a:extLst>
              <a:ext uri="{FF2B5EF4-FFF2-40B4-BE49-F238E27FC236}">
                <a16:creationId xmlns:a16="http://schemas.microsoft.com/office/drawing/2014/main" id="{B8FA212E-893F-1AF6-8228-401D05581E44}"/>
              </a:ext>
            </a:extLst>
          </p:cNvPr>
          <p:cNvSpPr>
            <a:spLocks noGrp="1"/>
          </p:cNvSpPr>
          <p:nvPr>
            <p:ph type="dt" sz="half" idx="2"/>
          </p:nvPr>
        </p:nvSpPr>
        <p:spPr>
          <a:xfrm>
            <a:off x="7685692"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B399A900-7936-4F7C-B1C8-2D92F01E2B24}" type="datetime1">
              <a:rPr lang="da-DK" smtClean="0"/>
              <a:pPr/>
              <a:t>16-03-2026</a:t>
            </a:fld>
            <a:endParaRPr lang="da-DK"/>
          </a:p>
        </p:txBody>
      </p:sp>
      <p:sp>
        <p:nvSpPr>
          <p:cNvPr id="6" name="Slide Number Placeholder 5">
            <a:extLst>
              <a:ext uri="{FF2B5EF4-FFF2-40B4-BE49-F238E27FC236}">
                <a16:creationId xmlns:a16="http://schemas.microsoft.com/office/drawing/2014/main" id="{D5EDBF17-CC51-0134-61D9-DA8FE805C361}"/>
              </a:ext>
            </a:extLst>
          </p:cNvPr>
          <p:cNvSpPr>
            <a:spLocks noGrp="1"/>
          </p:cNvSpPr>
          <p:nvPr>
            <p:ph type="sldNum" sz="quarter" idx="4"/>
          </p:nvPr>
        </p:nvSpPr>
        <p:spPr>
          <a:xfrm>
            <a:off x="9686804" y="6430133"/>
            <a:ext cx="43434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a:p>
        </p:txBody>
      </p:sp>
      <p:sp>
        <p:nvSpPr>
          <p:cNvPr id="9" name="Pladsholder til sidefod 8">
            <a:extLst>
              <a:ext uri="{FF2B5EF4-FFF2-40B4-BE49-F238E27FC236}">
                <a16:creationId xmlns:a16="http://schemas.microsoft.com/office/drawing/2014/main" id="{C55473A8-E332-342C-EDCE-3EA978099EDE}"/>
              </a:ext>
            </a:extLst>
          </p:cNvPr>
          <p:cNvSpPr>
            <a:spLocks noGrp="1"/>
          </p:cNvSpPr>
          <p:nvPr>
            <p:ph type="ftr" sz="quarter" idx="3"/>
          </p:nvPr>
        </p:nvSpPr>
        <p:spPr>
          <a:xfrm>
            <a:off x="441541" y="6430133"/>
            <a:ext cx="3744912" cy="144000"/>
          </a:xfrm>
          <a:prstGeom prst="rect">
            <a:avLst/>
          </a:prstGeom>
        </p:spPr>
        <p:txBody>
          <a:bodyPr vert="horz" lIns="0" tIns="0" rIns="0" bIns="0" rtlCol="0" anchor="t"/>
          <a:lstStyle>
            <a:lvl1pPr algn="l">
              <a:defRPr sz="800">
                <a:solidFill>
                  <a:schemeClr val="accent2"/>
                </a:solidFill>
                <a:latin typeface="Work Sans Light" pitchFamily="2" charset="0"/>
              </a:defRPr>
            </a:lvl1pPr>
          </a:lstStyle>
          <a:p>
            <a:endParaRPr lang="da-DK"/>
          </a:p>
        </p:txBody>
      </p:sp>
    </p:spTree>
    <p:extLst>
      <p:ext uri="{BB962C8B-B14F-4D97-AF65-F5344CB8AC3E}">
        <p14:creationId xmlns:p14="http://schemas.microsoft.com/office/powerpoint/2010/main" val="411973481"/>
      </p:ext>
    </p:extLst>
  </p:cSld>
  <p:clrMap bg1="lt1" tx1="dk1" bg2="lt2" tx2="dk2" accent1="accent1" accent2="accent2" accent3="accent3" accent4="accent4" accent5="accent5" accent6="accent6" hlink="hlink" folHlink="folHlink"/>
  <p:sldLayoutIdLst>
    <p:sldLayoutId id="2147483675" r:id="rId1"/>
    <p:sldLayoutId id="2147483677" r:id="rId2"/>
    <p:sldLayoutId id="2147483674" r:id="rId3"/>
    <p:sldLayoutId id="2147483678" r:id="rId4"/>
    <p:sldLayoutId id="2147483661" r:id="rId5"/>
    <p:sldLayoutId id="2147483690" r:id="rId6"/>
    <p:sldLayoutId id="2147483676" r:id="rId7"/>
    <p:sldLayoutId id="2147483687" r:id="rId8"/>
    <p:sldLayoutId id="2147483698" r:id="rId9"/>
    <p:sldLayoutId id="2147483689" r:id="rId10"/>
    <p:sldLayoutId id="2147483680" r:id="rId11"/>
    <p:sldLayoutId id="2147483694" r:id="rId12"/>
    <p:sldLayoutId id="2147483683" r:id="rId13"/>
    <p:sldLayoutId id="2147483681" r:id="rId14"/>
    <p:sldLayoutId id="2147483699" r:id="rId15"/>
    <p:sldLayoutId id="2147483765" r:id="rId16"/>
    <p:sldLayoutId id="2147483790" r:id="rId17"/>
    <p:sldLayoutId id="2147483791" r:id="rId18"/>
    <p:sldLayoutId id="2147483679" r:id="rId19"/>
    <p:sldLayoutId id="2147483703" r:id="rId20"/>
    <p:sldLayoutId id="2147483691" r:id="rId21"/>
    <p:sldLayoutId id="2147483697" r:id="rId22"/>
    <p:sldLayoutId id="2147483700" r:id="rId23"/>
    <p:sldLayoutId id="2147483682" r:id="rId24"/>
    <p:sldLayoutId id="2147483796" r:id="rId25"/>
    <p:sldLayoutId id="2147483794" r:id="rId26"/>
  </p:sldLayoutIdLst>
  <p:hf hdr="0" dt="0"/>
  <p:txStyles>
    <p:titleStyle>
      <a:lvl1pPr algn="l" defTabSz="914400" rtl="0" eaLnBrk="1" latinLnBrk="0" hangingPunct="1">
        <a:lnSpc>
          <a:spcPct val="90000"/>
        </a:lnSpc>
        <a:spcBef>
          <a:spcPct val="0"/>
        </a:spcBef>
        <a:buNone/>
        <a:defRPr sz="2800" b="0" i="0" kern="1200">
          <a:solidFill>
            <a:schemeClr val="tx1"/>
          </a:solidFill>
          <a:latin typeface="Work Sans Light" pitchFamily="2" charset="77"/>
          <a:ea typeface="+mj-ea"/>
          <a:cs typeface="+mj-cs"/>
        </a:defRPr>
      </a:lvl1pPr>
    </p:titleStyle>
    <p:bodyStyle>
      <a:lvl1pPr marL="285750" indent="-285750" algn="l" defTabSz="914400" rtl="0" eaLnBrk="1" latinLnBrk="0" hangingPunct="1">
        <a:lnSpc>
          <a:spcPct val="120000"/>
        </a:lnSpc>
        <a:spcBef>
          <a:spcPts val="1000"/>
        </a:spcBef>
        <a:buFont typeface="Arial" panose="020B0604020202020204" pitchFamily="34" charset="0"/>
        <a:buChar char="•"/>
        <a:defRPr sz="1400" b="0" i="0" kern="1200">
          <a:solidFill>
            <a:schemeClr val="tx1"/>
          </a:solidFill>
          <a:latin typeface="Work Sans" pitchFamily="2" charset="0"/>
          <a:ea typeface="+mn-ea"/>
          <a:cs typeface="+mn-cs"/>
        </a:defRPr>
      </a:lvl1pPr>
      <a:lvl2pPr marL="508000" indent="-285750" algn="l" defTabSz="914400" rtl="0" eaLnBrk="1" latinLnBrk="0" hangingPunct="1">
        <a:lnSpc>
          <a:spcPct val="120000"/>
        </a:lnSpc>
        <a:spcBef>
          <a:spcPts val="500"/>
        </a:spcBef>
        <a:buFont typeface="Arial" panose="020B0604020202020204" pitchFamily="34" charset="0"/>
        <a:buChar char="•"/>
        <a:tabLst>
          <a:tab pos="627063" algn="l"/>
        </a:tabLst>
        <a:defRPr sz="1400" b="0" i="0" kern="1200">
          <a:solidFill>
            <a:schemeClr val="tx1"/>
          </a:solidFill>
          <a:latin typeface="Work Sans" pitchFamily="2" charset="0"/>
          <a:ea typeface="+mn-ea"/>
          <a:cs typeface="+mn-cs"/>
        </a:defRPr>
      </a:lvl2pPr>
      <a:lvl3pPr marL="828675" indent="-285750" algn="l" defTabSz="914400" rtl="0" eaLnBrk="1" latinLnBrk="0" hangingPunct="1">
        <a:lnSpc>
          <a:spcPct val="120000"/>
        </a:lnSpc>
        <a:spcBef>
          <a:spcPts val="0"/>
        </a:spcBef>
        <a:buFont typeface="Arial" panose="020B0604020202020204" pitchFamily="34" charset="0"/>
        <a:buChar char="•"/>
        <a:tabLst>
          <a:tab pos="712788" algn="l"/>
        </a:tabLst>
        <a:defRPr sz="1400" b="0" i="0" kern="1200">
          <a:solidFill>
            <a:schemeClr val="tx1"/>
          </a:solidFill>
          <a:latin typeface="Work Sans" pitchFamily="2" charset="0"/>
          <a:ea typeface="+mn-ea"/>
          <a:cs typeface="+mn-cs"/>
        </a:defRPr>
      </a:lvl3pPr>
      <a:lvl4pPr marL="1181100" indent="-285750" algn="l" defTabSz="914400"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4pPr>
      <a:lvl5pPr marL="1452563" indent="-285750" algn="l" defTabSz="1165225"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680">
          <p15:clr>
            <a:srgbClr val="F26B43"/>
          </p15:clr>
        </p15:guide>
        <p15:guide id="3" pos="272">
          <p15:clr>
            <a:srgbClr val="F26B43"/>
          </p15:clr>
        </p15:guide>
        <p15:guide id="4" pos="869" userDrawn="1">
          <p15:clr>
            <a:srgbClr val="F26B43"/>
          </p15:clr>
        </p15:guide>
        <p15:guide id="5" pos="1459" userDrawn="1">
          <p15:clr>
            <a:srgbClr val="F26B43"/>
          </p15:clr>
        </p15:guide>
        <p15:guide id="6" pos="2056">
          <p15:clr>
            <a:srgbClr val="F26B43"/>
          </p15:clr>
        </p15:guide>
        <p15:guide id="7" pos="2650">
          <p15:clr>
            <a:srgbClr val="F26B43"/>
          </p15:clr>
        </p15:guide>
        <p15:guide id="8" pos="3245">
          <p15:clr>
            <a:srgbClr val="F26B43"/>
          </p15:clr>
        </p15:guide>
        <p15:guide id="9" pos="3840">
          <p15:clr>
            <a:srgbClr val="F26B43"/>
          </p15:clr>
        </p15:guide>
        <p15:guide id="10" pos="4434">
          <p15:clr>
            <a:srgbClr val="F26B43"/>
          </p15:clr>
        </p15:guide>
        <p15:guide id="11" pos="5019" userDrawn="1">
          <p15:clr>
            <a:srgbClr val="F26B43"/>
          </p15:clr>
        </p15:guide>
        <p15:guide id="12" pos="5609" userDrawn="1">
          <p15:clr>
            <a:srgbClr val="F26B43"/>
          </p15:clr>
        </p15:guide>
        <p15:guide id="13" pos="6218">
          <p15:clr>
            <a:srgbClr val="F26B43"/>
          </p15:clr>
        </p15:guide>
        <p15:guide id="14" pos="6813">
          <p15:clr>
            <a:srgbClr val="F26B43"/>
          </p15:clr>
        </p15:guide>
        <p15:guide id="15" pos="7407">
          <p15:clr>
            <a:srgbClr val="F26B43"/>
          </p15:clr>
        </p15:guide>
        <p15:guide id="16" orient="horz">
          <p15:clr>
            <a:srgbClr val="F26B43"/>
          </p15:clr>
        </p15:guide>
        <p15:guide id="17" orient="horz" pos="4320">
          <p15:clr>
            <a:srgbClr val="F26B43"/>
          </p15:clr>
        </p15:guide>
        <p15:guide id="18" orient="horz" pos="272">
          <p15:clr>
            <a:srgbClr val="F26B43"/>
          </p15:clr>
        </p15:guide>
        <p15:guide id="19" orient="horz" pos="4047">
          <p15:clr>
            <a:srgbClr val="F26B43"/>
          </p15:clr>
        </p15:guide>
        <p15:guide id="20" orient="horz" pos="2160" userDrawn="1">
          <p15:clr>
            <a:srgbClr val="F26B43"/>
          </p15:clr>
        </p15:guide>
        <p15:guide id="21" orient="horz" pos="386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1D95E83-D173-5AB3-B07C-CB80649643C8}"/>
              </a:ext>
            </a:extLst>
          </p:cNvPr>
          <p:cNvGraphicFramePr>
            <a:graphicFrameLocks noChangeAspect="1"/>
          </p:cNvGraphicFramePr>
          <p:nvPr userDrawn="1">
            <p:custDataLst>
              <p:tags r:id="rId27"/>
            </p:custDataLst>
            <p:extLst>
              <p:ext uri="{D42A27DB-BD31-4B8C-83A1-F6EECF244321}">
                <p14:modId xmlns:p14="http://schemas.microsoft.com/office/powerpoint/2010/main" val="109333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04" imgH="405" progId="TCLayout.ActiveDocument.1">
                  <p:embed/>
                </p:oleObj>
              </mc:Choice>
              <mc:Fallback>
                <p:oleObj name="think-cell Slide" r:id="rId28" imgW="404" imgH="405" progId="TCLayout.ActiveDocument.1">
                  <p:embed/>
                  <p:pic>
                    <p:nvPicPr>
                      <p:cNvPr id="7" name="think-cell data - do not delete" hidden="1">
                        <a:extLst>
                          <a:ext uri="{FF2B5EF4-FFF2-40B4-BE49-F238E27FC236}">
                            <a16:creationId xmlns:a16="http://schemas.microsoft.com/office/drawing/2014/main" id="{C1D95E83-D173-5AB3-B07C-CB80649643C8}"/>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F095F1B-D449-B0EF-15AB-2722E408E6D1}"/>
              </a:ext>
            </a:extLst>
          </p:cNvPr>
          <p:cNvSpPr>
            <a:spLocks noGrp="1"/>
          </p:cNvSpPr>
          <p:nvPr>
            <p:ph type="title"/>
          </p:nvPr>
        </p:nvSpPr>
        <p:spPr>
          <a:xfrm>
            <a:off x="431799" y="431800"/>
            <a:ext cx="11326814" cy="1080000"/>
          </a:xfrm>
          <a:prstGeom prst="rect">
            <a:avLst/>
          </a:prstGeom>
        </p:spPr>
        <p:txBody>
          <a:bodyPr vert="horz" lIns="0" tIns="0" rIns="0" bIns="0" rtlCol="0" anchor="b" anchorCtr="0">
            <a:noAutofit/>
          </a:bodyPr>
          <a:lstStyle/>
          <a:p>
            <a:r>
              <a:rPr lang="da-DK" noProof="0"/>
              <a:t>Overskrift</a:t>
            </a:r>
            <a:br>
              <a:rPr lang="da-DK" noProof="0"/>
            </a:br>
            <a:r>
              <a:rPr lang="da-DK" noProof="0"/>
              <a:t>max 2 linjer</a:t>
            </a:r>
          </a:p>
        </p:txBody>
      </p:sp>
      <p:sp>
        <p:nvSpPr>
          <p:cNvPr id="3" name="Text Placeholder 2">
            <a:extLst>
              <a:ext uri="{FF2B5EF4-FFF2-40B4-BE49-F238E27FC236}">
                <a16:creationId xmlns:a16="http://schemas.microsoft.com/office/drawing/2014/main" id="{2FA8C3B6-DCD1-EC06-3CDC-1FA08665A616}"/>
              </a:ext>
            </a:extLst>
          </p:cNvPr>
          <p:cNvSpPr>
            <a:spLocks noGrp="1"/>
          </p:cNvSpPr>
          <p:nvPr>
            <p:ph type="body" idx="1"/>
          </p:nvPr>
        </p:nvSpPr>
        <p:spPr>
          <a:xfrm>
            <a:off x="431800" y="1511800"/>
            <a:ext cx="5664200" cy="3167999"/>
          </a:xfrm>
          <a:prstGeom prst="rect">
            <a:avLst/>
          </a:prstGeom>
        </p:spPr>
        <p:txBody>
          <a:bodyPr vert="horz" lIns="0" tIns="0" rIns="0" bIns="0" rtlCol="0">
            <a:noAutofit/>
          </a:bodyPr>
          <a:lstStyle/>
          <a:p>
            <a:pPr lvl="0"/>
            <a:r>
              <a:rPr lang="da-DK" noProof="0"/>
              <a:t>Niveau 1</a:t>
            </a:r>
          </a:p>
          <a:p>
            <a:pPr lvl="1"/>
            <a:r>
              <a:rPr lang="da-DK" noProof="0"/>
              <a:t>Niveau 2 </a:t>
            </a:r>
          </a:p>
          <a:p>
            <a:pPr lvl="2"/>
            <a:r>
              <a:rPr lang="da-DK" noProof="0"/>
              <a:t>Niveau 3</a:t>
            </a:r>
          </a:p>
          <a:p>
            <a:pPr lvl="3"/>
            <a:r>
              <a:rPr lang="da-DK" noProof="0"/>
              <a:t>Niveau 4</a:t>
            </a:r>
          </a:p>
          <a:p>
            <a:pPr lvl="4"/>
            <a:r>
              <a:rPr lang="da-DK" noProof="0"/>
              <a:t>Niveau 5</a:t>
            </a:r>
          </a:p>
          <a:p>
            <a:pPr lvl="1"/>
            <a:endParaRPr lang="da-DK" noProof="0"/>
          </a:p>
          <a:p>
            <a:pPr lvl="2"/>
            <a:endParaRPr lang="da-DK" noProof="0"/>
          </a:p>
        </p:txBody>
      </p:sp>
      <p:sp>
        <p:nvSpPr>
          <p:cNvPr id="4" name="Date Placeholder 3">
            <a:extLst>
              <a:ext uri="{FF2B5EF4-FFF2-40B4-BE49-F238E27FC236}">
                <a16:creationId xmlns:a16="http://schemas.microsoft.com/office/drawing/2014/main" id="{B8FA212E-893F-1AF6-8228-401D05581E44}"/>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8E47FDB5-0070-4CC6-B9C8-EFF4FDF8FFB5}" type="datetime1">
              <a:rPr lang="da-DK" smtClean="0"/>
              <a:pPr/>
              <a:t>16-03-2026</a:t>
            </a:fld>
            <a:endParaRPr lang="da-DK"/>
          </a:p>
        </p:txBody>
      </p:sp>
      <p:sp>
        <p:nvSpPr>
          <p:cNvPr id="6" name="Slide Number Placeholder 5">
            <a:extLst>
              <a:ext uri="{FF2B5EF4-FFF2-40B4-BE49-F238E27FC236}">
                <a16:creationId xmlns:a16="http://schemas.microsoft.com/office/drawing/2014/main" id="{D5EDBF17-CC51-0134-61D9-DA8FE805C361}"/>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a:p>
        </p:txBody>
      </p:sp>
      <p:sp>
        <p:nvSpPr>
          <p:cNvPr id="9" name="Pladsholder til sidefod 8">
            <a:extLst>
              <a:ext uri="{FF2B5EF4-FFF2-40B4-BE49-F238E27FC236}">
                <a16:creationId xmlns:a16="http://schemas.microsoft.com/office/drawing/2014/main" id="{C55473A8-E332-342C-EDCE-3EA978099EDE}"/>
              </a:ext>
            </a:extLst>
          </p:cNvPr>
          <p:cNvSpPr>
            <a:spLocks noGrp="1"/>
          </p:cNvSpPr>
          <p:nvPr>
            <p:ph type="ftr" sz="quarter" idx="3"/>
          </p:nvPr>
        </p:nvSpPr>
        <p:spPr>
          <a:xfrm>
            <a:off x="441541" y="6430133"/>
            <a:ext cx="3744912" cy="144000"/>
          </a:xfrm>
          <a:prstGeom prst="rect">
            <a:avLst/>
          </a:prstGeom>
        </p:spPr>
        <p:txBody>
          <a:bodyPr vert="horz" lIns="0" tIns="0" rIns="0" bIns="0" rtlCol="0" anchor="t"/>
          <a:lstStyle>
            <a:lvl1pPr algn="l">
              <a:defRPr sz="800">
                <a:solidFill>
                  <a:schemeClr val="accent2"/>
                </a:solidFill>
                <a:latin typeface="Work Sans Light" pitchFamily="2" charset="0"/>
              </a:defRPr>
            </a:lvl1pPr>
          </a:lstStyle>
          <a:p>
            <a:endParaRPr lang="da-DK"/>
          </a:p>
        </p:txBody>
      </p:sp>
    </p:spTree>
    <p:extLst>
      <p:ext uri="{BB962C8B-B14F-4D97-AF65-F5344CB8AC3E}">
        <p14:creationId xmlns:p14="http://schemas.microsoft.com/office/powerpoint/2010/main" val="141737224"/>
      </p:ext>
    </p:extLst>
  </p:cSld>
  <p:clrMap bg1="dk1" tx1="lt1" bg2="dk2" tx2="lt2" accent1="accent1" accent2="accent2" accent3="accent3" accent4="accent4" accent5="accent5" accent6="accent6" hlink="hlink" folHlink="folHlink"/>
  <p:sldLayoutIdLst>
    <p:sldLayoutId id="2147483770" r:id="rId1"/>
    <p:sldLayoutId id="2147483771" r:id="rId2"/>
    <p:sldLayoutId id="2147483767" r:id="rId3"/>
    <p:sldLayoutId id="2147483768" r:id="rId4"/>
    <p:sldLayoutId id="2147483773" r:id="rId5"/>
    <p:sldLayoutId id="2147483774" r:id="rId6"/>
    <p:sldLayoutId id="2147483772" r:id="rId7"/>
    <p:sldLayoutId id="2147483775" r:id="rId8"/>
    <p:sldLayoutId id="2147483776" r:id="rId9"/>
    <p:sldLayoutId id="2147483777" r:id="rId10"/>
    <p:sldLayoutId id="2147483778" r:id="rId11"/>
    <p:sldLayoutId id="2147483779" r:id="rId12"/>
    <p:sldLayoutId id="2147483780" r:id="rId13"/>
    <p:sldLayoutId id="2147483795" r:id="rId14"/>
    <p:sldLayoutId id="2147483781" r:id="rId15"/>
    <p:sldLayoutId id="2147483782" r:id="rId16"/>
    <p:sldLayoutId id="2147483792" r:id="rId17"/>
    <p:sldLayoutId id="2147483793" r:id="rId18"/>
    <p:sldLayoutId id="2147483783" r:id="rId19"/>
    <p:sldLayoutId id="2147483784" r:id="rId20"/>
    <p:sldLayoutId id="2147483785" r:id="rId21"/>
    <p:sldLayoutId id="2147483786" r:id="rId22"/>
    <p:sldLayoutId id="2147483787" r:id="rId23"/>
    <p:sldLayoutId id="2147483788" r:id="rId24"/>
    <p:sldLayoutId id="2147483789" r:id="rId25"/>
  </p:sldLayoutIdLst>
  <p:hf hdr="0" dt="0"/>
  <p:txStyles>
    <p:titleStyle>
      <a:lvl1pPr algn="l" defTabSz="914400" rtl="0" eaLnBrk="1" latinLnBrk="0" hangingPunct="1">
        <a:lnSpc>
          <a:spcPct val="90000"/>
        </a:lnSpc>
        <a:spcBef>
          <a:spcPct val="0"/>
        </a:spcBef>
        <a:buNone/>
        <a:defRPr sz="2800" b="0" i="0" kern="1200">
          <a:solidFill>
            <a:schemeClr val="tx1"/>
          </a:solidFill>
          <a:latin typeface="Work Sans Light" pitchFamily="2" charset="77"/>
          <a:ea typeface="+mj-ea"/>
          <a:cs typeface="+mj-cs"/>
        </a:defRPr>
      </a:lvl1pPr>
    </p:titleStyle>
    <p:bodyStyle>
      <a:lvl1pPr marL="285750" indent="-285750" algn="l" defTabSz="914400" rtl="0" eaLnBrk="1" latinLnBrk="0" hangingPunct="1">
        <a:lnSpc>
          <a:spcPct val="120000"/>
        </a:lnSpc>
        <a:spcBef>
          <a:spcPts val="1000"/>
        </a:spcBef>
        <a:buFont typeface="Arial" panose="020B0604020202020204" pitchFamily="34" charset="0"/>
        <a:buChar char="•"/>
        <a:defRPr sz="1400" b="0" i="0" kern="1200">
          <a:solidFill>
            <a:schemeClr val="tx1"/>
          </a:solidFill>
          <a:latin typeface="Work Sans" pitchFamily="2" charset="0"/>
          <a:ea typeface="+mn-ea"/>
          <a:cs typeface="+mn-cs"/>
        </a:defRPr>
      </a:lvl1pPr>
      <a:lvl2pPr marL="508000" indent="-285750" algn="l" defTabSz="914400" rtl="0" eaLnBrk="1" latinLnBrk="0" hangingPunct="1">
        <a:lnSpc>
          <a:spcPct val="120000"/>
        </a:lnSpc>
        <a:spcBef>
          <a:spcPts val="500"/>
        </a:spcBef>
        <a:buFont typeface="Arial" panose="020B0604020202020204" pitchFamily="34" charset="0"/>
        <a:buChar char="•"/>
        <a:tabLst>
          <a:tab pos="627063" algn="l"/>
        </a:tabLst>
        <a:defRPr sz="1400" b="0" i="0" kern="1200">
          <a:solidFill>
            <a:schemeClr val="tx1"/>
          </a:solidFill>
          <a:latin typeface="Work Sans" pitchFamily="2" charset="0"/>
          <a:ea typeface="+mn-ea"/>
          <a:cs typeface="+mn-cs"/>
        </a:defRPr>
      </a:lvl2pPr>
      <a:lvl3pPr marL="828675" indent="-285750" algn="l" defTabSz="914400" rtl="0" eaLnBrk="1" latinLnBrk="0" hangingPunct="1">
        <a:lnSpc>
          <a:spcPct val="120000"/>
        </a:lnSpc>
        <a:spcBef>
          <a:spcPts val="0"/>
        </a:spcBef>
        <a:buFont typeface="Arial" panose="020B0604020202020204" pitchFamily="34" charset="0"/>
        <a:buChar char="•"/>
        <a:tabLst>
          <a:tab pos="712788" algn="l"/>
        </a:tabLst>
        <a:defRPr sz="1400" b="0" i="0" kern="1200">
          <a:solidFill>
            <a:schemeClr val="tx1"/>
          </a:solidFill>
          <a:latin typeface="Work Sans" pitchFamily="2" charset="0"/>
          <a:ea typeface="+mn-ea"/>
          <a:cs typeface="+mn-cs"/>
        </a:defRPr>
      </a:lvl3pPr>
      <a:lvl4pPr marL="1181100" indent="-285750" algn="l" defTabSz="914400"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4pPr>
      <a:lvl5pPr marL="1452563" indent="-285750" algn="l" defTabSz="1165225"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680">
          <p15:clr>
            <a:srgbClr val="F26B43"/>
          </p15:clr>
        </p15:guide>
        <p15:guide id="3" pos="272">
          <p15:clr>
            <a:srgbClr val="F26B43"/>
          </p15:clr>
        </p15:guide>
        <p15:guide id="4" pos="869" userDrawn="1">
          <p15:clr>
            <a:srgbClr val="F26B43"/>
          </p15:clr>
        </p15:guide>
        <p15:guide id="5" pos="1459" userDrawn="1">
          <p15:clr>
            <a:srgbClr val="F26B43"/>
          </p15:clr>
        </p15:guide>
        <p15:guide id="6" pos="2056">
          <p15:clr>
            <a:srgbClr val="F26B43"/>
          </p15:clr>
        </p15:guide>
        <p15:guide id="7" pos="2650">
          <p15:clr>
            <a:srgbClr val="F26B43"/>
          </p15:clr>
        </p15:guide>
        <p15:guide id="8" pos="3245">
          <p15:clr>
            <a:srgbClr val="F26B43"/>
          </p15:clr>
        </p15:guide>
        <p15:guide id="9" pos="3840">
          <p15:clr>
            <a:srgbClr val="F26B43"/>
          </p15:clr>
        </p15:guide>
        <p15:guide id="10" pos="4434">
          <p15:clr>
            <a:srgbClr val="F26B43"/>
          </p15:clr>
        </p15:guide>
        <p15:guide id="11" pos="5019" userDrawn="1">
          <p15:clr>
            <a:srgbClr val="F26B43"/>
          </p15:clr>
        </p15:guide>
        <p15:guide id="12" pos="5609" userDrawn="1">
          <p15:clr>
            <a:srgbClr val="F26B43"/>
          </p15:clr>
        </p15:guide>
        <p15:guide id="13" pos="6218">
          <p15:clr>
            <a:srgbClr val="F26B43"/>
          </p15:clr>
        </p15:guide>
        <p15:guide id="14" pos="6813">
          <p15:clr>
            <a:srgbClr val="F26B43"/>
          </p15:clr>
        </p15:guide>
        <p15:guide id="15" pos="7407">
          <p15:clr>
            <a:srgbClr val="F26B43"/>
          </p15:clr>
        </p15:guide>
        <p15:guide id="16" orient="horz">
          <p15:clr>
            <a:srgbClr val="F26B43"/>
          </p15:clr>
        </p15:guide>
        <p15:guide id="17" orient="horz" pos="4320">
          <p15:clr>
            <a:srgbClr val="F26B43"/>
          </p15:clr>
        </p15:guide>
        <p15:guide id="18" orient="horz" pos="272">
          <p15:clr>
            <a:srgbClr val="F26B43"/>
          </p15:clr>
        </p15:guide>
        <p15:guide id="19" orient="horz" pos="4047">
          <p15:clr>
            <a:srgbClr val="F26B43"/>
          </p15:clr>
        </p15:guide>
        <p15:guide id="20" orient="horz" pos="2160" userDrawn="1">
          <p15:clr>
            <a:srgbClr val="F26B43"/>
          </p15:clr>
        </p15:guide>
        <p15:guide id="21" orient="horz" pos="386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0326A49-EFDB-1966-3EF8-DAA55049FA2E}"/>
              </a:ext>
            </a:extLst>
          </p:cNvPr>
          <p:cNvGraphicFramePr>
            <a:graphicFrameLocks noChangeAspect="1"/>
          </p:cNvGraphicFramePr>
          <p:nvPr userDrawn="1">
            <p:custDataLst>
              <p:tags r:id="rId29"/>
            </p:custDataLst>
            <p:extLst>
              <p:ext uri="{D42A27DB-BD31-4B8C-83A1-F6EECF244321}">
                <p14:modId xmlns:p14="http://schemas.microsoft.com/office/powerpoint/2010/main" val="1386567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04" imgH="405" progId="TCLayout.ActiveDocument.1">
                  <p:embed/>
                </p:oleObj>
              </mc:Choice>
              <mc:Fallback>
                <p:oleObj name="think-cell Slide" r:id="rId30" imgW="404" imgH="405" progId="TCLayout.ActiveDocument.1">
                  <p:embed/>
                  <p:pic>
                    <p:nvPicPr>
                      <p:cNvPr id="7" name="think-cell data - do not delete" hidden="1">
                        <a:extLst>
                          <a:ext uri="{FF2B5EF4-FFF2-40B4-BE49-F238E27FC236}">
                            <a16:creationId xmlns:a16="http://schemas.microsoft.com/office/drawing/2014/main" id="{A0326A49-EFDB-1966-3EF8-DAA55049FA2E}"/>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F095F1B-D449-B0EF-15AB-2722E408E6D1}"/>
              </a:ext>
            </a:extLst>
          </p:cNvPr>
          <p:cNvSpPr>
            <a:spLocks noGrp="1"/>
          </p:cNvSpPr>
          <p:nvPr>
            <p:ph type="title"/>
          </p:nvPr>
        </p:nvSpPr>
        <p:spPr>
          <a:xfrm>
            <a:off x="431799" y="431800"/>
            <a:ext cx="11326814" cy="1080000"/>
          </a:xfrm>
          <a:prstGeom prst="rect">
            <a:avLst/>
          </a:prstGeom>
        </p:spPr>
        <p:txBody>
          <a:bodyPr vert="horz" lIns="0" tIns="0" rIns="0" bIns="0" rtlCol="0" anchor="b" anchorCtr="0">
            <a:noAutofit/>
          </a:bodyPr>
          <a:lstStyle/>
          <a:p>
            <a:r>
              <a:rPr lang="da-DK" noProof="0"/>
              <a:t>Overskrift</a:t>
            </a:r>
            <a:br>
              <a:rPr lang="da-DK" noProof="0"/>
            </a:br>
            <a:r>
              <a:rPr lang="da-DK" noProof="0"/>
              <a:t>max 2 linjer</a:t>
            </a:r>
          </a:p>
        </p:txBody>
      </p:sp>
      <p:sp>
        <p:nvSpPr>
          <p:cNvPr id="3" name="Text Placeholder 2">
            <a:extLst>
              <a:ext uri="{FF2B5EF4-FFF2-40B4-BE49-F238E27FC236}">
                <a16:creationId xmlns:a16="http://schemas.microsoft.com/office/drawing/2014/main" id="{2FA8C3B6-DCD1-EC06-3CDC-1FA08665A616}"/>
              </a:ext>
            </a:extLst>
          </p:cNvPr>
          <p:cNvSpPr>
            <a:spLocks noGrp="1"/>
          </p:cNvSpPr>
          <p:nvPr>
            <p:ph type="body" idx="1"/>
          </p:nvPr>
        </p:nvSpPr>
        <p:spPr>
          <a:xfrm>
            <a:off x="431800" y="1511800"/>
            <a:ext cx="5664200" cy="3167999"/>
          </a:xfrm>
          <a:prstGeom prst="rect">
            <a:avLst/>
          </a:prstGeom>
        </p:spPr>
        <p:txBody>
          <a:bodyPr vert="horz" lIns="0" tIns="0" rIns="0" bIns="0" rtlCol="0">
            <a:noAutofit/>
          </a:bodyPr>
          <a:lstStyle/>
          <a:p>
            <a:pPr lvl="0"/>
            <a:r>
              <a:rPr lang="da-DK" noProof="0"/>
              <a:t>Niveau 1</a:t>
            </a:r>
          </a:p>
          <a:p>
            <a:pPr lvl="1"/>
            <a:r>
              <a:rPr lang="da-DK" noProof="0"/>
              <a:t>Niveau 2 </a:t>
            </a:r>
          </a:p>
          <a:p>
            <a:pPr lvl="2"/>
            <a:r>
              <a:rPr lang="da-DK" noProof="0"/>
              <a:t>Niveau 3</a:t>
            </a:r>
          </a:p>
          <a:p>
            <a:pPr lvl="3"/>
            <a:r>
              <a:rPr lang="da-DK" noProof="0"/>
              <a:t>Niveau 4</a:t>
            </a:r>
          </a:p>
          <a:p>
            <a:pPr lvl="4"/>
            <a:r>
              <a:rPr lang="da-DK" noProof="0"/>
              <a:t>Niveau 5</a:t>
            </a:r>
          </a:p>
          <a:p>
            <a:pPr lvl="1"/>
            <a:endParaRPr lang="da-DK" noProof="0"/>
          </a:p>
          <a:p>
            <a:pPr lvl="2"/>
            <a:endParaRPr lang="da-DK" noProof="0"/>
          </a:p>
        </p:txBody>
      </p:sp>
      <p:sp>
        <p:nvSpPr>
          <p:cNvPr id="4" name="Date Placeholder 3">
            <a:extLst>
              <a:ext uri="{FF2B5EF4-FFF2-40B4-BE49-F238E27FC236}">
                <a16:creationId xmlns:a16="http://schemas.microsoft.com/office/drawing/2014/main" id="{B8FA212E-893F-1AF6-8228-401D05581E44}"/>
              </a:ext>
            </a:extLst>
          </p:cNvPr>
          <p:cNvSpPr>
            <a:spLocks noGrp="1"/>
          </p:cNvSpPr>
          <p:nvPr>
            <p:ph type="dt" sz="half" idx="2"/>
          </p:nvPr>
        </p:nvSpPr>
        <p:spPr>
          <a:xfrm>
            <a:off x="7685692"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0BE494B4-2572-4B14-8FDD-4F1D1CAD4BEE}" type="datetime1">
              <a:rPr lang="da-DK" smtClean="0"/>
              <a:t>16-03-2026</a:t>
            </a:fld>
            <a:endParaRPr lang="da-DK"/>
          </a:p>
        </p:txBody>
      </p:sp>
      <p:sp>
        <p:nvSpPr>
          <p:cNvPr id="6" name="Slide Number Placeholder 5">
            <a:extLst>
              <a:ext uri="{FF2B5EF4-FFF2-40B4-BE49-F238E27FC236}">
                <a16:creationId xmlns:a16="http://schemas.microsoft.com/office/drawing/2014/main" id="{D5EDBF17-CC51-0134-61D9-DA8FE805C361}"/>
              </a:ext>
            </a:extLst>
          </p:cNvPr>
          <p:cNvSpPr>
            <a:spLocks noGrp="1"/>
          </p:cNvSpPr>
          <p:nvPr>
            <p:ph type="sldNum" sz="quarter" idx="4"/>
          </p:nvPr>
        </p:nvSpPr>
        <p:spPr>
          <a:xfrm>
            <a:off x="9686804" y="6430133"/>
            <a:ext cx="43434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a:p>
        </p:txBody>
      </p:sp>
      <p:sp>
        <p:nvSpPr>
          <p:cNvPr id="9" name="Pladsholder til sidefod 8">
            <a:extLst>
              <a:ext uri="{FF2B5EF4-FFF2-40B4-BE49-F238E27FC236}">
                <a16:creationId xmlns:a16="http://schemas.microsoft.com/office/drawing/2014/main" id="{C55473A8-E332-342C-EDCE-3EA978099EDE}"/>
              </a:ext>
            </a:extLst>
          </p:cNvPr>
          <p:cNvSpPr>
            <a:spLocks noGrp="1"/>
          </p:cNvSpPr>
          <p:nvPr>
            <p:ph type="ftr" sz="quarter" idx="3"/>
          </p:nvPr>
        </p:nvSpPr>
        <p:spPr>
          <a:xfrm>
            <a:off x="441541" y="6430133"/>
            <a:ext cx="3744912" cy="144000"/>
          </a:xfrm>
          <a:prstGeom prst="rect">
            <a:avLst/>
          </a:prstGeom>
        </p:spPr>
        <p:txBody>
          <a:bodyPr vert="horz" lIns="0" tIns="0" rIns="0" bIns="0" rtlCol="0" anchor="t"/>
          <a:lstStyle>
            <a:lvl1pPr algn="l">
              <a:defRPr sz="800">
                <a:solidFill>
                  <a:schemeClr val="accent2"/>
                </a:solidFill>
                <a:latin typeface="Work Sans Light" pitchFamily="2" charset="0"/>
              </a:defRPr>
            </a:lvl1pPr>
          </a:lstStyle>
          <a:p>
            <a:endParaRPr lang="da-DK"/>
          </a:p>
        </p:txBody>
      </p:sp>
    </p:spTree>
    <p:extLst>
      <p:ext uri="{BB962C8B-B14F-4D97-AF65-F5344CB8AC3E}">
        <p14:creationId xmlns:p14="http://schemas.microsoft.com/office/powerpoint/2010/main" val="1832752470"/>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 id="2147483809" r:id="rId12"/>
    <p:sldLayoutId id="2147483810" r:id="rId13"/>
    <p:sldLayoutId id="2147483811" r:id="rId14"/>
    <p:sldLayoutId id="2147483812" r:id="rId15"/>
    <p:sldLayoutId id="2147483813" r:id="rId16"/>
    <p:sldLayoutId id="2147483814" r:id="rId17"/>
    <p:sldLayoutId id="2147483815" r:id="rId18"/>
    <p:sldLayoutId id="2147483816" r:id="rId19"/>
    <p:sldLayoutId id="2147483817" r:id="rId20"/>
    <p:sldLayoutId id="2147483818" r:id="rId21"/>
    <p:sldLayoutId id="2147483819" r:id="rId22"/>
    <p:sldLayoutId id="2147483820" r:id="rId23"/>
    <p:sldLayoutId id="2147483821" r:id="rId24"/>
    <p:sldLayoutId id="2147483822" r:id="rId25"/>
    <p:sldLayoutId id="2147483823" r:id="rId26"/>
    <p:sldLayoutId id="2147483824" r:id="rId27"/>
  </p:sldLayoutIdLst>
  <p:hf hdr="0" ftr="0" dt="0"/>
  <p:txStyles>
    <p:titleStyle>
      <a:lvl1pPr algn="l" defTabSz="914400" rtl="0" eaLnBrk="1" latinLnBrk="0" hangingPunct="1">
        <a:lnSpc>
          <a:spcPct val="90000"/>
        </a:lnSpc>
        <a:spcBef>
          <a:spcPct val="0"/>
        </a:spcBef>
        <a:buNone/>
        <a:defRPr sz="2800" b="0" i="0" kern="1200">
          <a:solidFill>
            <a:schemeClr val="tx1"/>
          </a:solidFill>
          <a:latin typeface="Work Sans Light" pitchFamily="2" charset="77"/>
          <a:ea typeface="+mj-ea"/>
          <a:cs typeface="+mj-cs"/>
        </a:defRPr>
      </a:lvl1pPr>
    </p:titleStyle>
    <p:bodyStyle>
      <a:lvl1pPr marL="285750" indent="-285750" algn="l" defTabSz="914400" rtl="0" eaLnBrk="1" latinLnBrk="0" hangingPunct="1">
        <a:lnSpc>
          <a:spcPct val="120000"/>
        </a:lnSpc>
        <a:spcBef>
          <a:spcPts val="1000"/>
        </a:spcBef>
        <a:buFont typeface="Arial" panose="020B0604020202020204" pitchFamily="34" charset="0"/>
        <a:buChar char="•"/>
        <a:defRPr sz="1400" b="0" i="0" kern="1200">
          <a:solidFill>
            <a:schemeClr val="tx1"/>
          </a:solidFill>
          <a:latin typeface="Work Sans" pitchFamily="2" charset="0"/>
          <a:ea typeface="+mn-ea"/>
          <a:cs typeface="+mn-cs"/>
        </a:defRPr>
      </a:lvl1pPr>
      <a:lvl2pPr marL="508000" indent="-285750" algn="l" defTabSz="914400" rtl="0" eaLnBrk="1" latinLnBrk="0" hangingPunct="1">
        <a:lnSpc>
          <a:spcPct val="120000"/>
        </a:lnSpc>
        <a:spcBef>
          <a:spcPts val="500"/>
        </a:spcBef>
        <a:buFont typeface="Arial" panose="020B0604020202020204" pitchFamily="34" charset="0"/>
        <a:buChar char="•"/>
        <a:tabLst>
          <a:tab pos="627063" algn="l"/>
        </a:tabLst>
        <a:defRPr sz="1400" b="0" i="0" kern="1200">
          <a:solidFill>
            <a:schemeClr val="tx1"/>
          </a:solidFill>
          <a:latin typeface="Work Sans" pitchFamily="2" charset="0"/>
          <a:ea typeface="+mn-ea"/>
          <a:cs typeface="+mn-cs"/>
        </a:defRPr>
      </a:lvl2pPr>
      <a:lvl3pPr marL="828675" indent="-285750" algn="l" defTabSz="914400" rtl="0" eaLnBrk="1" latinLnBrk="0" hangingPunct="1">
        <a:lnSpc>
          <a:spcPct val="120000"/>
        </a:lnSpc>
        <a:spcBef>
          <a:spcPts val="0"/>
        </a:spcBef>
        <a:buFont typeface="Arial" panose="020B0604020202020204" pitchFamily="34" charset="0"/>
        <a:buChar char="•"/>
        <a:tabLst>
          <a:tab pos="712788" algn="l"/>
        </a:tabLst>
        <a:defRPr sz="1400" b="0" i="0" kern="1200">
          <a:solidFill>
            <a:schemeClr val="tx1"/>
          </a:solidFill>
          <a:latin typeface="Work Sans" pitchFamily="2" charset="0"/>
          <a:ea typeface="+mn-ea"/>
          <a:cs typeface="+mn-cs"/>
        </a:defRPr>
      </a:lvl3pPr>
      <a:lvl4pPr marL="1181100" indent="-285750" algn="l" defTabSz="914400"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4pPr>
      <a:lvl5pPr marL="1452563" indent="-285750" algn="l" defTabSz="1165225"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680">
          <p15:clr>
            <a:srgbClr val="F26B43"/>
          </p15:clr>
        </p15:guide>
        <p15:guide id="3" pos="272">
          <p15:clr>
            <a:srgbClr val="F26B43"/>
          </p15:clr>
        </p15:guide>
        <p15:guide id="4" pos="869">
          <p15:clr>
            <a:srgbClr val="F26B43"/>
          </p15:clr>
        </p15:guide>
        <p15:guide id="5" pos="1459">
          <p15:clr>
            <a:srgbClr val="F26B43"/>
          </p15:clr>
        </p15:guide>
        <p15:guide id="6" pos="2056">
          <p15:clr>
            <a:srgbClr val="F26B43"/>
          </p15:clr>
        </p15:guide>
        <p15:guide id="7" pos="2650">
          <p15:clr>
            <a:srgbClr val="F26B43"/>
          </p15:clr>
        </p15:guide>
        <p15:guide id="8" pos="3245">
          <p15:clr>
            <a:srgbClr val="F26B43"/>
          </p15:clr>
        </p15:guide>
        <p15:guide id="9" pos="3840">
          <p15:clr>
            <a:srgbClr val="F26B43"/>
          </p15:clr>
        </p15:guide>
        <p15:guide id="10" pos="4434">
          <p15:clr>
            <a:srgbClr val="F26B43"/>
          </p15:clr>
        </p15:guide>
        <p15:guide id="11" pos="5019">
          <p15:clr>
            <a:srgbClr val="F26B43"/>
          </p15:clr>
        </p15:guide>
        <p15:guide id="12" pos="5609">
          <p15:clr>
            <a:srgbClr val="F26B43"/>
          </p15:clr>
        </p15:guide>
        <p15:guide id="13" pos="6218">
          <p15:clr>
            <a:srgbClr val="F26B43"/>
          </p15:clr>
        </p15:guide>
        <p15:guide id="14" pos="6813">
          <p15:clr>
            <a:srgbClr val="F26B43"/>
          </p15:clr>
        </p15:guide>
        <p15:guide id="15" pos="7407">
          <p15:clr>
            <a:srgbClr val="F26B43"/>
          </p15:clr>
        </p15:guide>
        <p15:guide id="16" orient="horz">
          <p15:clr>
            <a:srgbClr val="F26B43"/>
          </p15:clr>
        </p15:guide>
        <p15:guide id="17" orient="horz" pos="4320">
          <p15:clr>
            <a:srgbClr val="F26B43"/>
          </p15:clr>
        </p15:guide>
        <p15:guide id="18" orient="horz" pos="272">
          <p15:clr>
            <a:srgbClr val="F26B43"/>
          </p15:clr>
        </p15:guide>
        <p15:guide id="19" orient="horz" pos="4047">
          <p15:clr>
            <a:srgbClr val="F26B43"/>
          </p15:clr>
        </p15:guide>
        <p15:guide id="20" orient="horz" pos="2160">
          <p15:clr>
            <a:srgbClr val="F26B43"/>
          </p15:clr>
        </p15:guide>
        <p15:guide id="21" orient="horz" pos="386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1D95E83-D173-5AB3-B07C-CB80649643C8}"/>
              </a:ext>
            </a:extLst>
          </p:cNvPr>
          <p:cNvGraphicFramePr>
            <a:graphicFrameLocks/>
          </p:cNvGraphicFramePr>
          <p:nvPr userDrawn="1">
            <p:custDataLst>
              <p:tags r:id="rId28"/>
            </p:custDataLst>
            <p:extLst>
              <p:ext uri="{D42A27DB-BD31-4B8C-83A1-F6EECF244321}">
                <p14:modId xmlns:p14="http://schemas.microsoft.com/office/powerpoint/2010/main" val="109333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04" imgH="405" progId="TCLayout.ActiveDocument.1">
                  <p:embed/>
                </p:oleObj>
              </mc:Choice>
              <mc:Fallback>
                <p:oleObj name="think-cell Slide" r:id="rId29" imgW="404" imgH="405" progId="TCLayout.ActiveDocument.1">
                  <p:embed/>
                  <p:pic>
                    <p:nvPicPr>
                      <p:cNvPr id="7" name="think-cell data - do not delete" hidden="1">
                        <a:extLst>
                          <a:ext uri="{FF2B5EF4-FFF2-40B4-BE49-F238E27FC236}">
                            <a16:creationId xmlns:a16="http://schemas.microsoft.com/office/drawing/2014/main" id="{C1D95E83-D173-5AB3-B07C-CB80649643C8}"/>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F095F1B-D449-B0EF-15AB-2722E408E6D1}"/>
              </a:ext>
            </a:extLst>
          </p:cNvPr>
          <p:cNvSpPr>
            <a:spLocks noGrp="1"/>
          </p:cNvSpPr>
          <p:nvPr>
            <p:ph type="title"/>
          </p:nvPr>
        </p:nvSpPr>
        <p:spPr>
          <a:xfrm>
            <a:off x="431799" y="431800"/>
            <a:ext cx="11326814" cy="1080000"/>
          </a:xfrm>
          <a:prstGeom prst="rect">
            <a:avLst/>
          </a:prstGeom>
        </p:spPr>
        <p:txBody>
          <a:bodyPr vert="horz" lIns="0" tIns="0" rIns="0" bIns="0" rtlCol="0" anchor="b" anchorCtr="0">
            <a:noAutofit/>
          </a:bodyPr>
          <a:lstStyle/>
          <a:p>
            <a:r>
              <a:rPr lang="da-DK" noProof="0"/>
              <a:t>Overskrift</a:t>
            </a:r>
            <a:br>
              <a:rPr lang="da-DK" noProof="0"/>
            </a:br>
            <a:r>
              <a:rPr lang="da-DK" noProof="0"/>
              <a:t>max 2 linjer</a:t>
            </a:r>
          </a:p>
        </p:txBody>
      </p:sp>
      <p:sp>
        <p:nvSpPr>
          <p:cNvPr id="3" name="Text Placeholder 2">
            <a:extLst>
              <a:ext uri="{FF2B5EF4-FFF2-40B4-BE49-F238E27FC236}">
                <a16:creationId xmlns:a16="http://schemas.microsoft.com/office/drawing/2014/main" id="{2FA8C3B6-DCD1-EC06-3CDC-1FA08665A616}"/>
              </a:ext>
            </a:extLst>
          </p:cNvPr>
          <p:cNvSpPr>
            <a:spLocks noGrp="1"/>
          </p:cNvSpPr>
          <p:nvPr>
            <p:ph type="body" idx="1"/>
          </p:nvPr>
        </p:nvSpPr>
        <p:spPr>
          <a:xfrm>
            <a:off x="431800" y="1511800"/>
            <a:ext cx="5664200" cy="3167999"/>
          </a:xfrm>
          <a:prstGeom prst="rect">
            <a:avLst/>
          </a:prstGeom>
        </p:spPr>
        <p:txBody>
          <a:bodyPr vert="horz" lIns="0" tIns="0" rIns="0" bIns="0" rtlCol="0">
            <a:noAutofit/>
          </a:bodyPr>
          <a:lstStyle/>
          <a:p>
            <a:pPr lvl="0"/>
            <a:r>
              <a:rPr lang="da-DK" noProof="0"/>
              <a:t>Niveau 1</a:t>
            </a:r>
          </a:p>
          <a:p>
            <a:pPr lvl="1"/>
            <a:r>
              <a:rPr lang="da-DK" noProof="0"/>
              <a:t>Niveau 2 </a:t>
            </a:r>
          </a:p>
          <a:p>
            <a:pPr lvl="2"/>
            <a:r>
              <a:rPr lang="da-DK" noProof="0"/>
              <a:t>Niveau 3</a:t>
            </a:r>
          </a:p>
          <a:p>
            <a:pPr lvl="3"/>
            <a:r>
              <a:rPr lang="da-DK" noProof="0"/>
              <a:t>Niveau 4</a:t>
            </a:r>
          </a:p>
          <a:p>
            <a:pPr lvl="4"/>
            <a:r>
              <a:rPr lang="da-DK" noProof="0"/>
              <a:t>Niveau 5</a:t>
            </a:r>
          </a:p>
          <a:p>
            <a:pPr lvl="1"/>
            <a:endParaRPr lang="da-DK" noProof="0"/>
          </a:p>
          <a:p>
            <a:pPr lvl="2"/>
            <a:endParaRPr lang="da-DK" noProof="0"/>
          </a:p>
        </p:txBody>
      </p:sp>
      <p:sp>
        <p:nvSpPr>
          <p:cNvPr id="4" name="Date Placeholder 3">
            <a:extLst>
              <a:ext uri="{FF2B5EF4-FFF2-40B4-BE49-F238E27FC236}">
                <a16:creationId xmlns:a16="http://schemas.microsoft.com/office/drawing/2014/main" id="{B8FA212E-893F-1AF6-8228-401D05581E44}"/>
              </a:ext>
            </a:extLst>
          </p:cNvPr>
          <p:cNvSpPr>
            <a:spLocks noGrp="1"/>
          </p:cNvSpPr>
          <p:nvPr>
            <p:ph type="dt" sz="half" idx="2"/>
          </p:nvPr>
        </p:nvSpPr>
        <p:spPr>
          <a:xfrm>
            <a:off x="7685695" y="6430133"/>
            <a:ext cx="954582"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0B19EDCF-8AA9-4335-AE48-9235FCDD9E89}" type="datetime1">
              <a:rPr lang="da-DK" smtClean="0"/>
              <a:t>16-03-2026</a:t>
            </a:fld>
            <a:endParaRPr lang="da-DK"/>
          </a:p>
        </p:txBody>
      </p:sp>
      <p:sp>
        <p:nvSpPr>
          <p:cNvPr id="6" name="Slide Number Placeholder 5">
            <a:extLst>
              <a:ext uri="{FF2B5EF4-FFF2-40B4-BE49-F238E27FC236}">
                <a16:creationId xmlns:a16="http://schemas.microsoft.com/office/drawing/2014/main" id="{D5EDBF17-CC51-0134-61D9-DA8FE805C361}"/>
              </a:ext>
            </a:extLst>
          </p:cNvPr>
          <p:cNvSpPr>
            <a:spLocks noGrp="1"/>
          </p:cNvSpPr>
          <p:nvPr>
            <p:ph type="sldNum" sz="quarter" idx="4"/>
          </p:nvPr>
        </p:nvSpPr>
        <p:spPr>
          <a:xfrm>
            <a:off x="9687396" y="6430133"/>
            <a:ext cx="410587" cy="144000"/>
          </a:xfrm>
          <a:prstGeom prst="rect">
            <a:avLst/>
          </a:prstGeom>
        </p:spPr>
        <p:txBody>
          <a:bodyPr vert="horz" lIns="0" tIns="0" rIns="0" bIns="0" rtlCol="0" anchor="t" anchorCtr="0"/>
          <a:lstStyle>
            <a:lvl1pPr algn="l">
              <a:defRPr sz="800" b="0" i="0">
                <a:solidFill>
                  <a:schemeClr val="accent2"/>
                </a:solidFill>
                <a:latin typeface="Work Sans Light" pitchFamily="2" charset="0"/>
              </a:defRPr>
            </a:lvl1pPr>
          </a:lstStyle>
          <a:p>
            <a:fld id="{FA9C6259-F55B-47A6-AB0B-9E9F0835A2F0}" type="slidenum">
              <a:rPr lang="da-DK" smtClean="0"/>
              <a:pPr/>
              <a:t>‹nr.›</a:t>
            </a:fld>
            <a:endParaRPr lang="da-DK"/>
          </a:p>
        </p:txBody>
      </p:sp>
      <p:sp>
        <p:nvSpPr>
          <p:cNvPr id="9" name="Pladsholder til sidefod 8">
            <a:extLst>
              <a:ext uri="{FF2B5EF4-FFF2-40B4-BE49-F238E27FC236}">
                <a16:creationId xmlns:a16="http://schemas.microsoft.com/office/drawing/2014/main" id="{C55473A8-E332-342C-EDCE-3EA978099EDE}"/>
              </a:ext>
            </a:extLst>
          </p:cNvPr>
          <p:cNvSpPr>
            <a:spLocks noGrp="1"/>
          </p:cNvSpPr>
          <p:nvPr>
            <p:ph type="ftr" sz="quarter" idx="3"/>
          </p:nvPr>
        </p:nvSpPr>
        <p:spPr>
          <a:xfrm>
            <a:off x="441541" y="6430133"/>
            <a:ext cx="3744912" cy="144000"/>
          </a:xfrm>
          <a:prstGeom prst="rect">
            <a:avLst/>
          </a:prstGeom>
        </p:spPr>
        <p:txBody>
          <a:bodyPr vert="horz" lIns="0" tIns="0" rIns="0" bIns="0" rtlCol="0" anchor="t"/>
          <a:lstStyle>
            <a:lvl1pPr algn="l">
              <a:defRPr sz="800">
                <a:solidFill>
                  <a:schemeClr val="accent2"/>
                </a:solidFill>
                <a:latin typeface="Work Sans Light" pitchFamily="2" charset="0"/>
              </a:defRPr>
            </a:lvl1pPr>
          </a:lstStyle>
          <a:p>
            <a:endParaRPr lang="da-DK"/>
          </a:p>
        </p:txBody>
      </p:sp>
    </p:spTree>
    <p:extLst>
      <p:ext uri="{BB962C8B-B14F-4D97-AF65-F5344CB8AC3E}">
        <p14:creationId xmlns:p14="http://schemas.microsoft.com/office/powerpoint/2010/main" val="3610426762"/>
      </p:ext>
    </p:extLst>
  </p:cSld>
  <p:clrMap bg1="dk1" tx1="lt1" bg2="dk2" tx2="lt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 id="2147483836" r:id="rId11"/>
    <p:sldLayoutId id="2147483837" r:id="rId12"/>
    <p:sldLayoutId id="2147483838" r:id="rId13"/>
    <p:sldLayoutId id="2147483839" r:id="rId14"/>
    <p:sldLayoutId id="2147483840" r:id="rId15"/>
    <p:sldLayoutId id="2147483841" r:id="rId16"/>
    <p:sldLayoutId id="2147483842" r:id="rId17"/>
    <p:sldLayoutId id="2147483843" r:id="rId18"/>
    <p:sldLayoutId id="2147483844" r:id="rId19"/>
    <p:sldLayoutId id="2147483845" r:id="rId20"/>
    <p:sldLayoutId id="2147483846" r:id="rId21"/>
    <p:sldLayoutId id="2147483847" r:id="rId22"/>
    <p:sldLayoutId id="2147483848" r:id="rId23"/>
    <p:sldLayoutId id="2147483849" r:id="rId24"/>
    <p:sldLayoutId id="2147483850" r:id="rId25"/>
    <p:sldLayoutId id="2147483851" r:id="rId26"/>
  </p:sldLayoutIdLst>
  <p:hf hdr="0" ftr="0" dt="0"/>
  <p:txStyles>
    <p:titleStyle>
      <a:lvl1pPr algn="l" defTabSz="914400" rtl="0" eaLnBrk="1" latinLnBrk="0" hangingPunct="1">
        <a:lnSpc>
          <a:spcPct val="90000"/>
        </a:lnSpc>
        <a:spcBef>
          <a:spcPct val="0"/>
        </a:spcBef>
        <a:buNone/>
        <a:defRPr sz="2800" b="0" i="0" kern="1200">
          <a:solidFill>
            <a:schemeClr val="tx1"/>
          </a:solidFill>
          <a:latin typeface="Work Sans Light" pitchFamily="2" charset="77"/>
          <a:ea typeface="+mj-ea"/>
          <a:cs typeface="+mj-cs"/>
        </a:defRPr>
      </a:lvl1pPr>
    </p:titleStyle>
    <p:bodyStyle>
      <a:lvl1pPr marL="285750" indent="-285750" algn="l" defTabSz="914400" rtl="0" eaLnBrk="1" latinLnBrk="0" hangingPunct="1">
        <a:lnSpc>
          <a:spcPct val="120000"/>
        </a:lnSpc>
        <a:spcBef>
          <a:spcPts val="1000"/>
        </a:spcBef>
        <a:buFont typeface="Arial" panose="020B0604020202020204" pitchFamily="34" charset="0"/>
        <a:buChar char="•"/>
        <a:defRPr sz="1400" b="0" i="0" kern="1200">
          <a:solidFill>
            <a:schemeClr val="tx1"/>
          </a:solidFill>
          <a:latin typeface="Work Sans" pitchFamily="2" charset="0"/>
          <a:ea typeface="+mn-ea"/>
          <a:cs typeface="+mn-cs"/>
        </a:defRPr>
      </a:lvl1pPr>
      <a:lvl2pPr marL="508000" indent="-285750" algn="l" defTabSz="914400" rtl="0" eaLnBrk="1" latinLnBrk="0" hangingPunct="1">
        <a:lnSpc>
          <a:spcPct val="120000"/>
        </a:lnSpc>
        <a:spcBef>
          <a:spcPts val="500"/>
        </a:spcBef>
        <a:buFont typeface="Arial" panose="020B0604020202020204" pitchFamily="34" charset="0"/>
        <a:buChar char="•"/>
        <a:tabLst>
          <a:tab pos="627063" algn="l"/>
        </a:tabLst>
        <a:defRPr sz="1400" b="0" i="0" kern="1200">
          <a:solidFill>
            <a:schemeClr val="tx1"/>
          </a:solidFill>
          <a:latin typeface="Work Sans" pitchFamily="2" charset="0"/>
          <a:ea typeface="+mn-ea"/>
          <a:cs typeface="+mn-cs"/>
        </a:defRPr>
      </a:lvl2pPr>
      <a:lvl3pPr marL="828675" indent="-285750" algn="l" defTabSz="914400" rtl="0" eaLnBrk="1" latinLnBrk="0" hangingPunct="1">
        <a:lnSpc>
          <a:spcPct val="120000"/>
        </a:lnSpc>
        <a:spcBef>
          <a:spcPts val="0"/>
        </a:spcBef>
        <a:buFont typeface="Arial" panose="020B0604020202020204" pitchFamily="34" charset="0"/>
        <a:buChar char="•"/>
        <a:tabLst>
          <a:tab pos="712788" algn="l"/>
        </a:tabLst>
        <a:defRPr sz="1400" b="0" i="0" kern="1200">
          <a:solidFill>
            <a:schemeClr val="tx1"/>
          </a:solidFill>
          <a:latin typeface="Work Sans" pitchFamily="2" charset="0"/>
          <a:ea typeface="+mn-ea"/>
          <a:cs typeface="+mn-cs"/>
        </a:defRPr>
      </a:lvl3pPr>
      <a:lvl4pPr marL="1181100" indent="-285750" algn="l" defTabSz="914400"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4pPr>
      <a:lvl5pPr marL="1452563" indent="-285750" algn="l" defTabSz="1165225"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680">
          <p15:clr>
            <a:srgbClr val="F26B43"/>
          </p15:clr>
        </p15:guide>
        <p15:guide id="3" pos="272">
          <p15:clr>
            <a:srgbClr val="F26B43"/>
          </p15:clr>
        </p15:guide>
        <p15:guide id="4" pos="869">
          <p15:clr>
            <a:srgbClr val="F26B43"/>
          </p15:clr>
        </p15:guide>
        <p15:guide id="5" pos="1459">
          <p15:clr>
            <a:srgbClr val="F26B43"/>
          </p15:clr>
        </p15:guide>
        <p15:guide id="6" pos="2056">
          <p15:clr>
            <a:srgbClr val="F26B43"/>
          </p15:clr>
        </p15:guide>
        <p15:guide id="7" pos="2650">
          <p15:clr>
            <a:srgbClr val="F26B43"/>
          </p15:clr>
        </p15:guide>
        <p15:guide id="8" pos="3245">
          <p15:clr>
            <a:srgbClr val="F26B43"/>
          </p15:clr>
        </p15:guide>
        <p15:guide id="9" pos="3840">
          <p15:clr>
            <a:srgbClr val="F26B43"/>
          </p15:clr>
        </p15:guide>
        <p15:guide id="10" pos="4434">
          <p15:clr>
            <a:srgbClr val="F26B43"/>
          </p15:clr>
        </p15:guide>
        <p15:guide id="11" pos="5019">
          <p15:clr>
            <a:srgbClr val="F26B43"/>
          </p15:clr>
        </p15:guide>
        <p15:guide id="12" pos="5609">
          <p15:clr>
            <a:srgbClr val="F26B43"/>
          </p15:clr>
        </p15:guide>
        <p15:guide id="13" pos="6218">
          <p15:clr>
            <a:srgbClr val="F26B43"/>
          </p15:clr>
        </p15:guide>
        <p15:guide id="14" pos="6813">
          <p15:clr>
            <a:srgbClr val="F26B43"/>
          </p15:clr>
        </p15:guide>
        <p15:guide id="15" pos="7407">
          <p15:clr>
            <a:srgbClr val="F26B43"/>
          </p15:clr>
        </p15:guide>
        <p15:guide id="16" orient="horz">
          <p15:clr>
            <a:srgbClr val="F26B43"/>
          </p15:clr>
        </p15:guide>
        <p15:guide id="17" orient="horz" pos="4320">
          <p15:clr>
            <a:srgbClr val="F26B43"/>
          </p15:clr>
        </p15:guide>
        <p15:guide id="18" orient="horz" pos="272">
          <p15:clr>
            <a:srgbClr val="F26B43"/>
          </p15:clr>
        </p15:guide>
        <p15:guide id="19" orient="horz" pos="4047">
          <p15:clr>
            <a:srgbClr val="F26B43"/>
          </p15:clr>
        </p15:guide>
        <p15:guide id="20" orient="horz" pos="2160">
          <p15:clr>
            <a:srgbClr val="F26B43"/>
          </p15:clr>
        </p15:guide>
        <p15:guide id="21" orient="horz" pos="386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0326A49-EFDB-1966-3EF8-DAA55049FA2E}"/>
              </a:ext>
            </a:extLst>
          </p:cNvPr>
          <p:cNvGraphicFramePr>
            <a:graphicFrameLocks noChangeAspect="1"/>
          </p:cNvGraphicFramePr>
          <p:nvPr userDrawn="1">
            <p:custDataLst>
              <p:tags r:id="rId32"/>
            </p:custDataLst>
            <p:extLst>
              <p:ext uri="{D42A27DB-BD31-4B8C-83A1-F6EECF244321}">
                <p14:modId xmlns:p14="http://schemas.microsoft.com/office/powerpoint/2010/main" val="1386567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404" imgH="405" progId="TCLayout.ActiveDocument.1">
                  <p:embed/>
                </p:oleObj>
              </mc:Choice>
              <mc:Fallback>
                <p:oleObj name="think-cell Slide" r:id="rId33" imgW="404" imgH="405" progId="TCLayout.ActiveDocument.1">
                  <p:embed/>
                  <p:pic>
                    <p:nvPicPr>
                      <p:cNvPr id="7" name="think-cell data - do not delete" hidden="1">
                        <a:extLst>
                          <a:ext uri="{FF2B5EF4-FFF2-40B4-BE49-F238E27FC236}">
                            <a16:creationId xmlns:a16="http://schemas.microsoft.com/office/drawing/2014/main" id="{A0326A49-EFDB-1966-3EF8-DAA55049FA2E}"/>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F095F1B-D449-B0EF-15AB-2722E408E6D1}"/>
              </a:ext>
            </a:extLst>
          </p:cNvPr>
          <p:cNvSpPr>
            <a:spLocks noGrp="1"/>
          </p:cNvSpPr>
          <p:nvPr>
            <p:ph type="title"/>
          </p:nvPr>
        </p:nvSpPr>
        <p:spPr>
          <a:xfrm>
            <a:off x="431799" y="431800"/>
            <a:ext cx="11326814" cy="1080000"/>
          </a:xfrm>
          <a:prstGeom prst="rect">
            <a:avLst/>
          </a:prstGeom>
        </p:spPr>
        <p:txBody>
          <a:bodyPr vert="horz" lIns="0" tIns="0" rIns="0" bIns="0" rtlCol="0" anchor="b" anchorCtr="0">
            <a:noAutofit/>
          </a:bodyPr>
          <a:lstStyle/>
          <a:p>
            <a:r>
              <a:rPr lang="da-DK" noProof="0"/>
              <a:t>Overskrift</a:t>
            </a:r>
            <a:br>
              <a:rPr lang="da-DK" noProof="0"/>
            </a:br>
            <a:r>
              <a:rPr lang="da-DK" noProof="0"/>
              <a:t>max 2 linjer</a:t>
            </a:r>
          </a:p>
        </p:txBody>
      </p:sp>
      <p:sp>
        <p:nvSpPr>
          <p:cNvPr id="3" name="Text Placeholder 2">
            <a:extLst>
              <a:ext uri="{FF2B5EF4-FFF2-40B4-BE49-F238E27FC236}">
                <a16:creationId xmlns:a16="http://schemas.microsoft.com/office/drawing/2014/main" id="{2FA8C3B6-DCD1-EC06-3CDC-1FA08665A616}"/>
              </a:ext>
            </a:extLst>
          </p:cNvPr>
          <p:cNvSpPr>
            <a:spLocks noGrp="1"/>
          </p:cNvSpPr>
          <p:nvPr>
            <p:ph type="body" idx="1"/>
          </p:nvPr>
        </p:nvSpPr>
        <p:spPr>
          <a:xfrm>
            <a:off x="431800" y="1511800"/>
            <a:ext cx="5664200" cy="3167999"/>
          </a:xfrm>
          <a:prstGeom prst="rect">
            <a:avLst/>
          </a:prstGeom>
        </p:spPr>
        <p:txBody>
          <a:bodyPr vert="horz" lIns="0" tIns="0" rIns="0" bIns="0" rtlCol="0">
            <a:noAutofit/>
          </a:bodyPr>
          <a:lstStyle/>
          <a:p>
            <a:pPr lvl="0"/>
            <a:r>
              <a:rPr lang="da-DK" noProof="0"/>
              <a:t>Niveau 1</a:t>
            </a:r>
          </a:p>
          <a:p>
            <a:pPr lvl="1"/>
            <a:r>
              <a:rPr lang="da-DK" noProof="0"/>
              <a:t>Niveau 2 </a:t>
            </a:r>
          </a:p>
          <a:p>
            <a:pPr lvl="2"/>
            <a:r>
              <a:rPr lang="da-DK" noProof="0"/>
              <a:t>Niveau 3</a:t>
            </a:r>
          </a:p>
          <a:p>
            <a:pPr lvl="3"/>
            <a:r>
              <a:rPr lang="da-DK" noProof="0"/>
              <a:t>Niveau 4</a:t>
            </a:r>
          </a:p>
          <a:p>
            <a:pPr lvl="4"/>
            <a:r>
              <a:rPr lang="da-DK" noProof="0"/>
              <a:t>Niveau 5</a:t>
            </a:r>
          </a:p>
          <a:p>
            <a:pPr lvl="1"/>
            <a:endParaRPr lang="da-DK" noProof="0"/>
          </a:p>
          <a:p>
            <a:pPr lvl="2"/>
            <a:endParaRPr lang="da-DK" noProof="0"/>
          </a:p>
        </p:txBody>
      </p:sp>
      <p:sp>
        <p:nvSpPr>
          <p:cNvPr id="4" name="Date Placeholder 3">
            <a:extLst>
              <a:ext uri="{FF2B5EF4-FFF2-40B4-BE49-F238E27FC236}">
                <a16:creationId xmlns:a16="http://schemas.microsoft.com/office/drawing/2014/main" id="{B8FA212E-893F-1AF6-8228-401D05581E44}"/>
              </a:ext>
            </a:extLst>
          </p:cNvPr>
          <p:cNvSpPr>
            <a:spLocks noGrp="1"/>
          </p:cNvSpPr>
          <p:nvPr>
            <p:ph type="dt" sz="half" idx="2"/>
          </p:nvPr>
        </p:nvSpPr>
        <p:spPr>
          <a:xfrm>
            <a:off x="5152319" y="6430133"/>
            <a:ext cx="954582" cy="144000"/>
          </a:xfrm>
          <a:prstGeom prst="rect">
            <a:avLst/>
          </a:prstGeom>
        </p:spPr>
        <p:txBody>
          <a:bodyPr vert="horz" lIns="0" tIns="0" rIns="0" bIns="0" rtlCol="0" anchor="t" anchorCtr="0"/>
          <a:lstStyle>
            <a:lvl1pPr algn="l">
              <a:defRPr sz="800" b="0" i="0">
                <a:solidFill>
                  <a:schemeClr val="accent1"/>
                </a:solidFill>
                <a:latin typeface="Work Sans Light" pitchFamily="2" charset="0"/>
              </a:defRPr>
            </a:lvl1pPr>
          </a:lstStyle>
          <a:p>
            <a:fld id="{F7E64F19-F0F7-406F-AC0F-3ECFC744BBDA}" type="datetimeFigureOut">
              <a:rPr lang="da-DK" noProof="0" smtClean="0"/>
              <a:pPr/>
              <a:t>16-03-2026</a:t>
            </a:fld>
            <a:endParaRPr lang="da-DK" noProof="0"/>
          </a:p>
        </p:txBody>
      </p:sp>
      <p:sp>
        <p:nvSpPr>
          <p:cNvPr id="6" name="Slide Number Placeholder 5">
            <a:extLst>
              <a:ext uri="{FF2B5EF4-FFF2-40B4-BE49-F238E27FC236}">
                <a16:creationId xmlns:a16="http://schemas.microsoft.com/office/drawing/2014/main" id="{D5EDBF17-CC51-0134-61D9-DA8FE805C361}"/>
              </a:ext>
            </a:extLst>
          </p:cNvPr>
          <p:cNvSpPr>
            <a:spLocks noGrp="1"/>
          </p:cNvSpPr>
          <p:nvPr>
            <p:ph type="sldNum" sz="quarter" idx="4"/>
          </p:nvPr>
        </p:nvSpPr>
        <p:spPr>
          <a:xfrm>
            <a:off x="7961526" y="6430133"/>
            <a:ext cx="954581" cy="143999"/>
          </a:xfrm>
          <a:prstGeom prst="rect">
            <a:avLst/>
          </a:prstGeom>
        </p:spPr>
        <p:txBody>
          <a:bodyPr vert="horz" lIns="0" tIns="0" rIns="0" bIns="0" rtlCol="0" anchor="t" anchorCtr="0"/>
          <a:lstStyle>
            <a:lvl1pPr algn="l">
              <a:defRPr sz="800" b="0" i="0">
                <a:solidFill>
                  <a:schemeClr val="accent1"/>
                </a:solidFill>
                <a:latin typeface="Work Sans Light" pitchFamily="2" charset="0"/>
              </a:defRPr>
            </a:lvl1pPr>
          </a:lstStyle>
          <a:p>
            <a:fld id="{FA9C6259-F55B-47A6-AB0B-9E9F0835A2F0}" type="slidenum">
              <a:rPr lang="da-DK" noProof="0" smtClean="0"/>
              <a:pPr/>
              <a:t>‹nr.›</a:t>
            </a:fld>
            <a:endParaRPr lang="da-DK" noProof="0"/>
          </a:p>
        </p:txBody>
      </p:sp>
      <p:sp>
        <p:nvSpPr>
          <p:cNvPr id="9" name="Pladsholder til sidefod 8">
            <a:extLst>
              <a:ext uri="{FF2B5EF4-FFF2-40B4-BE49-F238E27FC236}">
                <a16:creationId xmlns:a16="http://schemas.microsoft.com/office/drawing/2014/main" id="{C55473A8-E332-342C-EDCE-3EA978099EDE}"/>
              </a:ext>
            </a:extLst>
          </p:cNvPr>
          <p:cNvSpPr>
            <a:spLocks noGrp="1"/>
          </p:cNvSpPr>
          <p:nvPr>
            <p:ph type="ftr" sz="quarter" idx="3"/>
          </p:nvPr>
        </p:nvSpPr>
        <p:spPr>
          <a:xfrm>
            <a:off x="441541" y="6430133"/>
            <a:ext cx="3744912" cy="144000"/>
          </a:xfrm>
          <a:prstGeom prst="rect">
            <a:avLst/>
          </a:prstGeom>
        </p:spPr>
        <p:txBody>
          <a:bodyPr vert="horz" lIns="0" tIns="0" rIns="0" bIns="0" rtlCol="0" anchor="t"/>
          <a:lstStyle>
            <a:lvl1pPr algn="l">
              <a:defRPr sz="800">
                <a:solidFill>
                  <a:schemeClr val="accent1"/>
                </a:solidFill>
                <a:latin typeface="Work Sans Light" pitchFamily="2" charset="0"/>
              </a:defRPr>
            </a:lvl1pPr>
          </a:lstStyle>
          <a:p>
            <a:endParaRPr lang="da-DK" noProof="0"/>
          </a:p>
        </p:txBody>
      </p:sp>
    </p:spTree>
    <p:extLst>
      <p:ext uri="{BB962C8B-B14F-4D97-AF65-F5344CB8AC3E}">
        <p14:creationId xmlns:p14="http://schemas.microsoft.com/office/powerpoint/2010/main" val="1162092490"/>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 id="2147483860" r:id="rId8"/>
    <p:sldLayoutId id="2147483861" r:id="rId9"/>
    <p:sldLayoutId id="2147483862" r:id="rId10"/>
    <p:sldLayoutId id="2147483863" r:id="rId11"/>
    <p:sldLayoutId id="2147483864" r:id="rId12"/>
    <p:sldLayoutId id="2147483865" r:id="rId13"/>
    <p:sldLayoutId id="2147483866" r:id="rId14"/>
    <p:sldLayoutId id="2147483867" r:id="rId15"/>
    <p:sldLayoutId id="2147483868" r:id="rId16"/>
    <p:sldLayoutId id="2147483869" r:id="rId17"/>
    <p:sldLayoutId id="2147483870" r:id="rId18"/>
    <p:sldLayoutId id="2147483871" r:id="rId19"/>
    <p:sldLayoutId id="2147483872" r:id="rId20"/>
    <p:sldLayoutId id="2147483873" r:id="rId21"/>
    <p:sldLayoutId id="2147483874" r:id="rId22"/>
    <p:sldLayoutId id="2147483875" r:id="rId23"/>
    <p:sldLayoutId id="2147483876" r:id="rId24"/>
    <p:sldLayoutId id="2147483877" r:id="rId25"/>
    <p:sldLayoutId id="2147483878" r:id="rId26"/>
    <p:sldLayoutId id="2147483879" r:id="rId27"/>
    <p:sldLayoutId id="2147483880" r:id="rId28"/>
    <p:sldLayoutId id="2147483881" r:id="rId29"/>
    <p:sldLayoutId id="2147483882" r:id="rId30"/>
  </p:sldLayoutIdLst>
  <p:txStyles>
    <p:titleStyle>
      <a:lvl1pPr algn="l" defTabSz="914400" rtl="0" eaLnBrk="1" latinLnBrk="0" hangingPunct="1">
        <a:lnSpc>
          <a:spcPct val="90000"/>
        </a:lnSpc>
        <a:spcBef>
          <a:spcPct val="0"/>
        </a:spcBef>
        <a:buNone/>
        <a:defRPr sz="2800" b="0" i="0" kern="1200">
          <a:solidFill>
            <a:schemeClr val="tx1"/>
          </a:solidFill>
          <a:latin typeface="Work Sans Light" pitchFamily="2" charset="77"/>
          <a:ea typeface="+mj-ea"/>
          <a:cs typeface="+mj-cs"/>
        </a:defRPr>
      </a:lvl1pPr>
    </p:titleStyle>
    <p:bodyStyle>
      <a:lvl1pPr marL="285750" indent="-285750" algn="l" defTabSz="914400" rtl="0" eaLnBrk="1" latinLnBrk="0" hangingPunct="1">
        <a:lnSpc>
          <a:spcPct val="120000"/>
        </a:lnSpc>
        <a:spcBef>
          <a:spcPts val="1000"/>
        </a:spcBef>
        <a:buFont typeface="Arial" panose="020B0604020202020204" pitchFamily="34" charset="0"/>
        <a:buChar char="•"/>
        <a:defRPr sz="1400" b="0" i="0" kern="1200">
          <a:solidFill>
            <a:schemeClr val="tx1"/>
          </a:solidFill>
          <a:latin typeface="Work Sans" pitchFamily="2" charset="0"/>
          <a:ea typeface="+mn-ea"/>
          <a:cs typeface="+mn-cs"/>
        </a:defRPr>
      </a:lvl1pPr>
      <a:lvl2pPr marL="508000" indent="-285750" algn="l" defTabSz="914400" rtl="0" eaLnBrk="1" latinLnBrk="0" hangingPunct="1">
        <a:lnSpc>
          <a:spcPct val="120000"/>
        </a:lnSpc>
        <a:spcBef>
          <a:spcPts val="500"/>
        </a:spcBef>
        <a:buFont typeface="Arial" panose="020B0604020202020204" pitchFamily="34" charset="0"/>
        <a:buChar char="•"/>
        <a:tabLst>
          <a:tab pos="627063" algn="l"/>
        </a:tabLst>
        <a:defRPr sz="1400" b="0" i="0" kern="1200">
          <a:solidFill>
            <a:schemeClr val="tx1"/>
          </a:solidFill>
          <a:latin typeface="Work Sans" pitchFamily="2" charset="0"/>
          <a:ea typeface="+mn-ea"/>
          <a:cs typeface="+mn-cs"/>
        </a:defRPr>
      </a:lvl2pPr>
      <a:lvl3pPr marL="828675" indent="-285750" algn="l" defTabSz="914400" rtl="0" eaLnBrk="1" latinLnBrk="0" hangingPunct="1">
        <a:lnSpc>
          <a:spcPct val="120000"/>
        </a:lnSpc>
        <a:spcBef>
          <a:spcPts val="0"/>
        </a:spcBef>
        <a:buFont typeface="Arial" panose="020B0604020202020204" pitchFamily="34" charset="0"/>
        <a:buChar char="•"/>
        <a:tabLst>
          <a:tab pos="712788" algn="l"/>
        </a:tabLst>
        <a:defRPr sz="1400" b="0" i="0" kern="1200">
          <a:solidFill>
            <a:schemeClr val="tx1"/>
          </a:solidFill>
          <a:latin typeface="Work Sans" pitchFamily="2" charset="0"/>
          <a:ea typeface="+mn-ea"/>
          <a:cs typeface="+mn-cs"/>
        </a:defRPr>
      </a:lvl3pPr>
      <a:lvl4pPr marL="1181100" indent="-285750" algn="l" defTabSz="914400"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4pPr>
      <a:lvl5pPr marL="1452563" indent="-285750" algn="l" defTabSz="1165225" rtl="0" eaLnBrk="1" latinLnBrk="0" hangingPunct="1">
        <a:lnSpc>
          <a:spcPct val="120000"/>
        </a:lnSpc>
        <a:spcBef>
          <a:spcPts val="500"/>
        </a:spcBef>
        <a:buFont typeface="Arial" panose="020B0604020202020204" pitchFamily="34" charset="0"/>
        <a:buChar char="•"/>
        <a:tabLst/>
        <a:defRPr sz="1400" b="0" i="0" kern="1200">
          <a:solidFill>
            <a:schemeClr val="tx1"/>
          </a:solidFill>
          <a:latin typeface="Work Sans"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680">
          <p15:clr>
            <a:srgbClr val="F26B43"/>
          </p15:clr>
        </p15:guide>
        <p15:guide id="3" pos="272">
          <p15:clr>
            <a:srgbClr val="F26B43"/>
          </p15:clr>
        </p15:guide>
        <p15:guide id="4" pos="869">
          <p15:clr>
            <a:srgbClr val="F26B43"/>
          </p15:clr>
        </p15:guide>
        <p15:guide id="5" pos="1459">
          <p15:clr>
            <a:srgbClr val="F26B43"/>
          </p15:clr>
        </p15:guide>
        <p15:guide id="6" pos="2056">
          <p15:clr>
            <a:srgbClr val="F26B43"/>
          </p15:clr>
        </p15:guide>
        <p15:guide id="7" pos="2650">
          <p15:clr>
            <a:srgbClr val="F26B43"/>
          </p15:clr>
        </p15:guide>
        <p15:guide id="8" pos="3245">
          <p15:clr>
            <a:srgbClr val="F26B43"/>
          </p15:clr>
        </p15:guide>
        <p15:guide id="9" pos="3840">
          <p15:clr>
            <a:srgbClr val="F26B43"/>
          </p15:clr>
        </p15:guide>
        <p15:guide id="10" pos="4434">
          <p15:clr>
            <a:srgbClr val="F26B43"/>
          </p15:clr>
        </p15:guide>
        <p15:guide id="11" pos="5019">
          <p15:clr>
            <a:srgbClr val="F26B43"/>
          </p15:clr>
        </p15:guide>
        <p15:guide id="12" pos="5609">
          <p15:clr>
            <a:srgbClr val="F26B43"/>
          </p15:clr>
        </p15:guide>
        <p15:guide id="13" pos="6218">
          <p15:clr>
            <a:srgbClr val="F26B43"/>
          </p15:clr>
        </p15:guide>
        <p15:guide id="14" pos="6813">
          <p15:clr>
            <a:srgbClr val="F26B43"/>
          </p15:clr>
        </p15:guide>
        <p15:guide id="15" pos="7407">
          <p15:clr>
            <a:srgbClr val="F26B43"/>
          </p15:clr>
        </p15:guide>
        <p15:guide id="16" orient="horz">
          <p15:clr>
            <a:srgbClr val="F26B43"/>
          </p15:clr>
        </p15:guide>
        <p15:guide id="17" orient="horz" pos="4320">
          <p15:clr>
            <a:srgbClr val="F26B43"/>
          </p15:clr>
        </p15:guide>
        <p15:guide id="18" orient="horz" pos="272">
          <p15:clr>
            <a:srgbClr val="F26B43"/>
          </p15:clr>
        </p15:guide>
        <p15:guide id="19" orient="horz" pos="4047">
          <p15:clr>
            <a:srgbClr val="F26B43"/>
          </p15:clr>
        </p15:guide>
        <p15:guide id="20" orient="horz" pos="2160">
          <p15:clr>
            <a:srgbClr val="F26B43"/>
          </p15:clr>
        </p15:guide>
        <p15:guide id="21" orient="horz" pos="386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xml"/><Relationship Id="rId1" Type="http://schemas.openxmlformats.org/officeDocument/2006/relationships/tags" Target="../tags/tag16.xml"/><Relationship Id="rId5" Type="http://schemas.openxmlformats.org/officeDocument/2006/relationships/image" Target="../media/image14.jpeg"/><Relationship Id="rId4" Type="http://schemas.openxmlformats.org/officeDocument/2006/relationships/image" Target="../media/image11.emf"/></Relationships>
</file>

<file path=ppt/slides/_rels/slide1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0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2.xml"/><Relationship Id="rId1" Type="http://schemas.openxmlformats.org/officeDocument/2006/relationships/tags" Target="../tags/tag17.xml"/><Relationship Id="rId6" Type="http://schemas.openxmlformats.org/officeDocument/2006/relationships/image" Target="../media/image15.jpeg"/><Relationship Id="rId5" Type="http://schemas.openxmlformats.org/officeDocument/2006/relationships/image" Target="../media/image1.emf"/><Relationship Id="rId4" Type="http://schemas.openxmlformats.org/officeDocument/2006/relationships/oleObject" Target="../embeddings/oleObject8.bin"/></Relationships>
</file>

<file path=ppt/slides/_rels/slide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xml"/><Relationship Id="rId1" Type="http://schemas.openxmlformats.org/officeDocument/2006/relationships/slideLayout" Target="../slideLayouts/slideLayout56.xml"/></Relationships>
</file>

<file path=ppt/slides/_rels/slide4.xml.rels><?xml version="1.0" encoding="UTF-8" standalone="yes"?>
<Relationships xmlns="http://schemas.openxmlformats.org/package/2006/relationships"><Relationship Id="rId8" Type="http://schemas.openxmlformats.org/officeDocument/2006/relationships/image" Target="../media/image19.svg"/><Relationship Id="rId13" Type="http://schemas.openxmlformats.org/officeDocument/2006/relationships/image" Target="../media/image24.png"/><Relationship Id="rId3" Type="http://schemas.openxmlformats.org/officeDocument/2006/relationships/notesSlide" Target="../notesSlides/notesSlide3.xml"/><Relationship Id="rId7" Type="http://schemas.openxmlformats.org/officeDocument/2006/relationships/image" Target="../media/image18.png"/><Relationship Id="rId12" Type="http://schemas.openxmlformats.org/officeDocument/2006/relationships/image" Target="../media/image23.svg"/><Relationship Id="rId2" Type="http://schemas.openxmlformats.org/officeDocument/2006/relationships/slideLayout" Target="../slideLayouts/slideLayout88.xml"/><Relationship Id="rId1" Type="http://schemas.openxmlformats.org/officeDocument/2006/relationships/tags" Target="../tags/tag18.xml"/><Relationship Id="rId6" Type="http://schemas.openxmlformats.org/officeDocument/2006/relationships/image" Target="../media/image17.jpeg"/><Relationship Id="rId11" Type="http://schemas.openxmlformats.org/officeDocument/2006/relationships/image" Target="../media/image22.png"/><Relationship Id="rId5" Type="http://schemas.openxmlformats.org/officeDocument/2006/relationships/image" Target="../media/image11.emf"/><Relationship Id="rId10" Type="http://schemas.openxmlformats.org/officeDocument/2006/relationships/image" Target="../media/image21.svg"/><Relationship Id="rId4" Type="http://schemas.openxmlformats.org/officeDocument/2006/relationships/oleObject" Target="../embeddings/oleObject9.bin"/><Relationship Id="rId9" Type="http://schemas.openxmlformats.org/officeDocument/2006/relationships/image" Target="../media/image20.png"/><Relationship Id="rId14" Type="http://schemas.openxmlformats.org/officeDocument/2006/relationships/image" Target="../media/image25.svg"/></Relationships>
</file>

<file path=ppt/slides/_rels/slide5.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4.xml"/><Relationship Id="rId1" Type="http://schemas.openxmlformats.org/officeDocument/2006/relationships/slideLayout" Target="../slideLayouts/slideLayout57.xml"/><Relationship Id="rId4" Type="http://schemas.openxmlformats.org/officeDocument/2006/relationships/hyperlink" Target="https://bankinvest.dk/media/psibj11t/esg-faktaark-globale-aktier-select-akk-kl-31-12-2025-_node9645.pdf" TargetMode="Externa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82.xml"/><Relationship Id="rId1" Type="http://schemas.openxmlformats.org/officeDocument/2006/relationships/tags" Target="../tags/tag19.xml"/><Relationship Id="rId5" Type="http://schemas.openxmlformats.org/officeDocument/2006/relationships/image" Target="../media/image11.emf"/><Relationship Id="rId4" Type="http://schemas.openxmlformats.org/officeDocument/2006/relationships/oleObject" Target="../embeddings/oleObject10.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chart" Target="../charts/chart2.xml"/><Relationship Id="rId2" Type="http://schemas.openxmlformats.org/officeDocument/2006/relationships/slideLayout" Target="../slideLayouts/slideLayout134.xml"/><Relationship Id="rId1" Type="http://schemas.openxmlformats.org/officeDocument/2006/relationships/tags" Target="../tags/tag20.xml"/><Relationship Id="rId6" Type="http://schemas.openxmlformats.org/officeDocument/2006/relationships/chart" Target="../charts/chart1.x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8.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hyperlink" Target="https://bankinvest.dk/alle-produkter/aktier/globale-aktier-select-columbia-threadneedle-a/" TargetMode="External"/><Relationship Id="rId1" Type="http://schemas.openxmlformats.org/officeDocument/2006/relationships/slideLayout" Target="../slideLayouts/slideLayout56.xml"/><Relationship Id="rId5" Type="http://schemas.openxmlformats.org/officeDocument/2006/relationships/image" Target="../media/image29.svg"/><Relationship Id="rId4" Type="http://schemas.openxmlformats.org/officeDocument/2006/relationships/image" Target="../media/image28.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E7AB65-6651-162A-071E-8A5FF513914A}"/>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76F9854-9658-E5D4-E46F-9F7DE38F2F4D}"/>
              </a:ext>
            </a:extLst>
          </p:cNvPr>
          <p:cNvGraphicFramePr>
            <a:graphicFrameLocks/>
          </p:cNvGraphicFramePr>
          <p:nvPr>
            <p:custDataLst>
              <p:tags r:id="rId1"/>
            </p:custDataLst>
            <p:extLst>
              <p:ext uri="{D42A27DB-BD31-4B8C-83A1-F6EECF244321}">
                <p14:modId xmlns:p14="http://schemas.microsoft.com/office/powerpoint/2010/main" val="572261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2" name="think-cell data - do not delete" hidden="1">
                        <a:extLst>
                          <a:ext uri="{FF2B5EF4-FFF2-40B4-BE49-F238E27FC236}">
                            <a16:creationId xmlns:a16="http://schemas.microsoft.com/office/drawing/2014/main" id="{B76F9854-9658-E5D4-E46F-9F7DE38F2F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Placeholder 7" descr="Luftfoto af flod">
            <a:extLst>
              <a:ext uri="{FF2B5EF4-FFF2-40B4-BE49-F238E27FC236}">
                <a16:creationId xmlns:a16="http://schemas.microsoft.com/office/drawing/2014/main" id="{A568834C-5F1B-B6E0-3956-03BD509A91BB}"/>
              </a:ext>
            </a:extLst>
          </p:cNvPr>
          <p:cNvPicPr>
            <a:picLocks noGrp="1" noChangeAspect="1"/>
          </p:cNvPicPr>
          <p:nvPr>
            <p:ph type="pic" sz="quarter" idx="14"/>
          </p:nvPr>
        </p:nvPicPr>
        <p:blipFill>
          <a:blip r:embed="rId5">
            <a:extLst>
              <a:ext uri="{28A0092B-C50C-407E-A947-70E740481C1C}">
                <a14:useLocalDpi xmlns:a14="http://schemas.microsoft.com/office/drawing/2010/main" val="0"/>
              </a:ext>
            </a:extLst>
          </a:blip>
          <a:srcRect l="16667" r="16667"/>
          <a:stretch/>
        </p:blipFill>
        <p:spPr/>
      </p:pic>
      <p:sp>
        <p:nvSpPr>
          <p:cNvPr id="3" name="Title 2">
            <a:extLst>
              <a:ext uri="{FF2B5EF4-FFF2-40B4-BE49-F238E27FC236}">
                <a16:creationId xmlns:a16="http://schemas.microsoft.com/office/drawing/2014/main" id="{8AC52808-85CD-1359-FC10-CFE897C07888}"/>
              </a:ext>
            </a:extLst>
          </p:cNvPr>
          <p:cNvSpPr>
            <a:spLocks noGrp="1"/>
          </p:cNvSpPr>
          <p:nvPr>
            <p:ph type="ctrTitle"/>
          </p:nvPr>
        </p:nvSpPr>
        <p:spPr>
          <a:xfrm>
            <a:off x="431798" y="4222430"/>
            <a:ext cx="7030885" cy="1321570"/>
          </a:xfrm>
        </p:spPr>
        <p:txBody>
          <a:bodyPr vert="horz" rIns="0"/>
          <a:lstStyle/>
          <a:p>
            <a:r>
              <a:rPr lang="da-DK" noProof="0"/>
              <a:t>Globale Aktier Columbia </a:t>
            </a:r>
            <a:r>
              <a:rPr lang="da-DK" noProof="0" err="1"/>
              <a:t>Threadneedle</a:t>
            </a:r>
            <a:endParaRPr lang="da-DK" noProof="0"/>
          </a:p>
        </p:txBody>
      </p:sp>
      <p:sp>
        <p:nvSpPr>
          <p:cNvPr id="4" name="Subtitle 3">
            <a:extLst>
              <a:ext uri="{FF2B5EF4-FFF2-40B4-BE49-F238E27FC236}">
                <a16:creationId xmlns:a16="http://schemas.microsoft.com/office/drawing/2014/main" id="{5EFD911C-E298-F391-8DFA-4AEFFBFC5109}"/>
              </a:ext>
            </a:extLst>
          </p:cNvPr>
          <p:cNvSpPr>
            <a:spLocks noGrp="1"/>
          </p:cNvSpPr>
          <p:nvPr>
            <p:ph type="subTitle" idx="1"/>
          </p:nvPr>
        </p:nvSpPr>
        <p:spPr/>
        <p:txBody>
          <a:bodyPr/>
          <a:lstStyle/>
          <a:p>
            <a:r>
              <a:rPr lang="da-DK" noProof="0"/>
              <a:t> </a:t>
            </a:r>
          </a:p>
        </p:txBody>
      </p:sp>
      <p:sp>
        <p:nvSpPr>
          <p:cNvPr id="10" name="Pladsholder til sidefod 9">
            <a:extLst>
              <a:ext uri="{FF2B5EF4-FFF2-40B4-BE49-F238E27FC236}">
                <a16:creationId xmlns:a16="http://schemas.microsoft.com/office/drawing/2014/main" id="{C9056FB0-0123-D407-BF46-1AA467889567}"/>
              </a:ext>
            </a:extLst>
          </p:cNvPr>
          <p:cNvSpPr>
            <a:spLocks noGrp="1"/>
          </p:cNvSpPr>
          <p:nvPr>
            <p:ph type="ftr" sz="quarter" idx="16"/>
          </p:nvPr>
        </p:nvSpPr>
        <p:spPr/>
        <p:txBody>
          <a:bodyPr/>
          <a:lstStyle/>
          <a:p>
            <a:endParaRPr lang="da-DK" noProof="0"/>
          </a:p>
        </p:txBody>
      </p:sp>
      <p:sp>
        <p:nvSpPr>
          <p:cNvPr id="6" name="Pladsholder til slidenummer 5">
            <a:extLst>
              <a:ext uri="{FF2B5EF4-FFF2-40B4-BE49-F238E27FC236}">
                <a16:creationId xmlns:a16="http://schemas.microsoft.com/office/drawing/2014/main" id="{E8A8DDF7-8705-12DC-B136-0E336A3EC7DA}"/>
              </a:ext>
            </a:extLst>
          </p:cNvPr>
          <p:cNvSpPr>
            <a:spLocks noGrp="1"/>
          </p:cNvSpPr>
          <p:nvPr>
            <p:ph type="sldNum" sz="quarter" idx="17"/>
          </p:nvPr>
        </p:nvSpPr>
        <p:spPr/>
        <p:txBody>
          <a:bodyPr/>
          <a:lstStyle/>
          <a:p>
            <a:fld id="{FA9C6259-F55B-47A6-AB0B-9E9F0835A2F0}" type="slidenum">
              <a:rPr lang="da-DK" noProof="0" smtClean="0"/>
              <a:pPr/>
              <a:t>1</a:t>
            </a:fld>
            <a:endParaRPr lang="da-DK" noProof="0"/>
          </a:p>
        </p:txBody>
      </p:sp>
      <p:sp>
        <p:nvSpPr>
          <p:cNvPr id="14" name="TextBox 13">
            <a:extLst>
              <a:ext uri="{FF2B5EF4-FFF2-40B4-BE49-F238E27FC236}">
                <a16:creationId xmlns:a16="http://schemas.microsoft.com/office/drawing/2014/main" id="{47F5A3CF-A85B-AB70-0A53-3943C6675A90}"/>
              </a:ext>
            </a:extLst>
          </p:cNvPr>
          <p:cNvSpPr txBox="1"/>
          <p:nvPr/>
        </p:nvSpPr>
        <p:spPr>
          <a:xfrm>
            <a:off x="471487" y="4006986"/>
            <a:ext cx="6096000" cy="215444"/>
          </a:xfrm>
          <a:prstGeom prst="rect">
            <a:avLst/>
          </a:prstGeom>
          <a:noFill/>
        </p:spPr>
        <p:txBody>
          <a:bodyPr wrap="square" lIns="0" tIns="0" rIns="0" bIns="0">
            <a:spAutoFit/>
          </a:bodyPr>
          <a:lstStyle/>
          <a:p>
            <a:r>
              <a:rPr lang="en-US" sz="1400" noProof="0" err="1">
                <a:solidFill>
                  <a:schemeClr val="accent2"/>
                </a:solidFill>
              </a:rPr>
              <a:t>Produktpræsentation</a:t>
            </a:r>
            <a:endParaRPr lang="da-DK" sz="1400" noProof="0">
              <a:solidFill>
                <a:schemeClr val="accent2"/>
              </a:solidFill>
            </a:endParaRPr>
          </a:p>
        </p:txBody>
      </p:sp>
    </p:spTree>
    <p:extLst>
      <p:ext uri="{BB962C8B-B14F-4D97-AF65-F5344CB8AC3E}">
        <p14:creationId xmlns:p14="http://schemas.microsoft.com/office/powerpoint/2010/main" val="17238789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dertitel 1">
            <a:extLst>
              <a:ext uri="{FF2B5EF4-FFF2-40B4-BE49-F238E27FC236}">
                <a16:creationId xmlns:a16="http://schemas.microsoft.com/office/drawing/2014/main" id="{191BF9E7-FED5-DE6C-8AD2-7136A1E230FE}"/>
              </a:ext>
            </a:extLst>
          </p:cNvPr>
          <p:cNvSpPr>
            <a:spLocks noGrp="1"/>
          </p:cNvSpPr>
          <p:nvPr>
            <p:ph type="subTitle" idx="1"/>
          </p:nvPr>
        </p:nvSpPr>
        <p:spPr/>
        <p:txBody>
          <a:bodyPr/>
          <a:lstStyle/>
          <a:p>
            <a:pPr fontAlgn="base"/>
            <a:r>
              <a:rPr lang="da-DK"/>
              <a:t>Materialet er produceret af BankInvest-koncernen (BankInvest) og skal anses som markedsføringsmateriale.</a:t>
            </a:r>
          </a:p>
          <a:p>
            <a:pPr fontAlgn="base"/>
            <a:endParaRPr lang="da-DK"/>
          </a:p>
          <a:p>
            <a:pPr fontAlgn="base"/>
            <a:r>
              <a:rPr lang="da-DK"/>
              <a:t>Formålet med materialet er at give generel information om udviklingen i investeringsproduktet og skal ikke betragtes som en investeringsanbefaling. Eventuel omtale af selskaber og værdipapirer skal alene ses i forhold til investeringsproduktets portefølje- og risikoprofil. BankInvest tager forbehold for nøjagtigheden af de angivne informationer, hvad enten de er leveret af BankInvest selv eller hentet fra offentligt tilgængelige kilder, som BankInvest vurderer pålidelige. BankInvest er ikke ansvarlig for dispositioner eller undladelser foretaget på baggrund af informationerne. BankInvest anbefaler sagkyndig og professionel vejledning ved investeringsbeslutninger.  </a:t>
            </a:r>
          </a:p>
          <a:p>
            <a:pPr fontAlgn="base"/>
            <a:endParaRPr lang="da-DK"/>
          </a:p>
          <a:p>
            <a:pPr fontAlgn="base"/>
            <a:r>
              <a:rPr lang="da-DK"/>
              <a:t>Tallene i materialet er historiske og tidligere afkast og/eller kursudviklinger kan ikke anvendes som pålidelig indikator for fremtidige afkast og/eller kursudvikling. Investeringsbeslutninger bør ske på baggrund af prospekt, vedtægter og central information. Informationen findes på bankinvest.dk. </a:t>
            </a:r>
          </a:p>
          <a:p>
            <a:endParaRPr lang="da-DK"/>
          </a:p>
        </p:txBody>
      </p:sp>
      <p:sp>
        <p:nvSpPr>
          <p:cNvPr id="4" name="Titel 3">
            <a:extLst>
              <a:ext uri="{FF2B5EF4-FFF2-40B4-BE49-F238E27FC236}">
                <a16:creationId xmlns:a16="http://schemas.microsoft.com/office/drawing/2014/main" id="{D274839B-3957-9267-6741-F3C0FFAAFE91}"/>
              </a:ext>
            </a:extLst>
          </p:cNvPr>
          <p:cNvSpPr>
            <a:spLocks noGrp="1"/>
          </p:cNvSpPr>
          <p:nvPr>
            <p:ph type="title"/>
          </p:nvPr>
        </p:nvSpPr>
        <p:spPr/>
        <p:txBody>
          <a:bodyPr/>
          <a:lstStyle/>
          <a:p>
            <a:r>
              <a:rPr lang="en-US"/>
              <a:t>Disclaimer</a:t>
            </a:r>
            <a:endParaRPr lang="da-DK"/>
          </a:p>
        </p:txBody>
      </p:sp>
      <p:sp>
        <p:nvSpPr>
          <p:cNvPr id="5" name="Pladsholder til slidenummer 4">
            <a:extLst>
              <a:ext uri="{FF2B5EF4-FFF2-40B4-BE49-F238E27FC236}">
                <a16:creationId xmlns:a16="http://schemas.microsoft.com/office/drawing/2014/main" id="{D15900F4-3A9E-A835-30F7-40D69103F5B4}"/>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A9C6259-F55B-47A6-AB0B-9E9F0835A2F0}" type="slidenum">
              <a:rPr kumimoji="0" lang="da-DK" sz="800" b="0" i="0" u="none" strike="noStrike" kern="1200" cap="none" spc="0" normalizeH="0" baseline="0" noProof="0" smtClean="0">
                <a:ln>
                  <a:noFill/>
                </a:ln>
                <a:solidFill>
                  <a:srgbClr val="4DBCC6"/>
                </a:solidFill>
                <a:effectLst/>
                <a:uLnTx/>
                <a:uFillTx/>
                <a:latin typeface="Work Sans Light"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da-DK" sz="800" b="0" i="0" u="none" strike="noStrike" kern="1200" cap="none" spc="0" normalizeH="0" baseline="0" noProof="0">
              <a:ln>
                <a:noFill/>
              </a:ln>
              <a:solidFill>
                <a:srgbClr val="4DBCC6"/>
              </a:solidFill>
              <a:effectLst/>
              <a:uLnTx/>
              <a:uFillTx/>
              <a:latin typeface="Work Sans Light" pitchFamily="2" charset="0"/>
              <a:ea typeface="+mn-ea"/>
              <a:cs typeface="+mn-cs"/>
            </a:endParaRPr>
          </a:p>
        </p:txBody>
      </p:sp>
      <p:pic>
        <p:nvPicPr>
          <p:cNvPr id="6" name="Grafik 10">
            <a:extLst>
              <a:ext uri="{FF2B5EF4-FFF2-40B4-BE49-F238E27FC236}">
                <a16:creationId xmlns:a16="http://schemas.microsoft.com/office/drawing/2014/main" id="{7E2DE9F0-5381-9F17-FFFD-9F7B2A1CF7FE}"/>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0310060" y="6430133"/>
            <a:ext cx="1436534" cy="143999"/>
          </a:xfrm>
          <a:prstGeom prst="rect">
            <a:avLst/>
          </a:prstGeom>
        </p:spPr>
      </p:pic>
    </p:spTree>
    <p:extLst>
      <p:ext uri="{BB962C8B-B14F-4D97-AF65-F5344CB8AC3E}">
        <p14:creationId xmlns:p14="http://schemas.microsoft.com/office/powerpoint/2010/main" val="4696931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865EADD2-B3A2-B09B-7B24-F988CB484E66}"/>
              </a:ext>
            </a:extLst>
          </p:cNvPr>
          <p:cNvSpPr>
            <a:spLocks noGrp="1"/>
          </p:cNvSpPr>
          <p:nvPr>
            <p:ph type="title"/>
          </p:nvPr>
        </p:nvSpPr>
        <p:spPr/>
        <p:txBody>
          <a:bodyPr/>
          <a:lstStyle/>
          <a:p>
            <a:br>
              <a:rPr lang="da-DK">
                <a:solidFill>
                  <a:srgbClr val="193A5F"/>
                </a:solidFill>
                <a:latin typeface="Work Sans Light" pitchFamily="2" charset="0"/>
              </a:rPr>
            </a:br>
            <a:r>
              <a:rPr lang="da-DK">
                <a:solidFill>
                  <a:srgbClr val="193A5F"/>
                </a:solidFill>
                <a:latin typeface="Work Sans Light" pitchFamily="2" charset="0"/>
              </a:rPr>
              <a:t>Fakta om produktet</a:t>
            </a:r>
            <a:br>
              <a:rPr lang="da-DK">
                <a:solidFill>
                  <a:srgbClr val="193A5F"/>
                </a:solidFill>
                <a:latin typeface="Work Sans Light" pitchFamily="2" charset="0"/>
              </a:rPr>
            </a:br>
            <a:endParaRPr lang="da-DK"/>
          </a:p>
        </p:txBody>
      </p:sp>
      <p:graphicFrame>
        <p:nvGraphicFramePr>
          <p:cNvPr id="9" name="think-cell data - do not delete" hidden="1">
            <a:extLst>
              <a:ext uri="{FF2B5EF4-FFF2-40B4-BE49-F238E27FC236}">
                <a16:creationId xmlns:a16="http://schemas.microsoft.com/office/drawing/2014/main" id="{3A631345-02E4-5AAA-4313-3A6634D88F8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9" name="think-cell data - do not delete" hidden="1">
                        <a:extLst>
                          <a:ext uri="{FF2B5EF4-FFF2-40B4-BE49-F238E27FC236}">
                            <a16:creationId xmlns:a16="http://schemas.microsoft.com/office/drawing/2014/main" id="{3A631345-02E4-5AAA-4313-3A6634D88F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ound Single Corner of Rectangle 4">
            <a:extLst>
              <a:ext uri="{FF2B5EF4-FFF2-40B4-BE49-F238E27FC236}">
                <a16:creationId xmlns:a16="http://schemas.microsoft.com/office/drawing/2014/main" id="{83137816-7B29-EE07-76A4-30F53ABA93F9}"/>
              </a:ext>
            </a:extLst>
          </p:cNvPr>
          <p:cNvSpPr/>
          <p:nvPr/>
        </p:nvSpPr>
        <p:spPr>
          <a:xfrm flipH="1">
            <a:off x="8434836" y="3429000"/>
            <a:ext cx="3363116" cy="1185752"/>
          </a:xfrm>
          <a:prstGeom prst="round1Rect">
            <a:avLst>
              <a:gd name="adj" fmla="val 12498"/>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a:ln>
                  <a:noFill/>
                </a:ln>
                <a:solidFill>
                  <a:srgbClr val="4DBCC6"/>
                </a:solidFill>
                <a:effectLst/>
                <a:uLnTx/>
                <a:uFillTx/>
                <a:latin typeface="Work Sans Light" pitchFamily="2" charset="0"/>
                <a:ea typeface="+mn-ea"/>
                <a:cs typeface="+mn-cs"/>
              </a:rPr>
              <a:t>Benchmark</a:t>
            </a:r>
          </a:p>
          <a:p>
            <a:pPr lvl="0">
              <a:defRPr/>
            </a:pPr>
            <a:r>
              <a:rPr lang="en-US" sz="1400">
                <a:solidFill>
                  <a:schemeClr val="tx1"/>
                </a:solidFill>
                <a:latin typeface="+mj-lt"/>
              </a:rPr>
              <a:t>MSCI All Country World </a:t>
            </a:r>
            <a:r>
              <a:rPr lang="en-US" sz="1400" err="1">
                <a:solidFill>
                  <a:schemeClr val="tx1"/>
                </a:solidFill>
                <a:latin typeface="+mj-lt"/>
              </a:rPr>
              <a:t>inkl</a:t>
            </a:r>
            <a:r>
              <a:rPr lang="en-US" sz="1400">
                <a:solidFill>
                  <a:schemeClr val="tx1"/>
                </a:solidFill>
                <a:latin typeface="+mj-lt"/>
              </a:rPr>
              <a:t>. </a:t>
            </a:r>
            <a:r>
              <a:rPr lang="en-US" sz="1400" err="1">
                <a:solidFill>
                  <a:schemeClr val="tx1"/>
                </a:solidFill>
                <a:latin typeface="+mj-lt"/>
              </a:rPr>
              <a:t>nettoudbytte</a:t>
            </a:r>
            <a:endParaRPr kumimoji="0" lang="da-DK" sz="1400" b="0" i="0" u="none" strike="noStrike" kern="1200" cap="none" spc="0" normalizeH="0" baseline="0" noProof="0">
              <a:ln>
                <a:noFill/>
              </a:ln>
              <a:solidFill>
                <a:schemeClr val="tx1"/>
              </a:solidFill>
              <a:effectLst/>
              <a:uLnTx/>
              <a:uFillTx/>
              <a:latin typeface="+mj-lt"/>
              <a:ea typeface="+mn-ea"/>
              <a:cs typeface="+mn-cs"/>
            </a:endParaRPr>
          </a:p>
        </p:txBody>
      </p:sp>
      <p:sp>
        <p:nvSpPr>
          <p:cNvPr id="8" name="Round Single Corner of Rectangle 4">
            <a:extLst>
              <a:ext uri="{FF2B5EF4-FFF2-40B4-BE49-F238E27FC236}">
                <a16:creationId xmlns:a16="http://schemas.microsoft.com/office/drawing/2014/main" id="{75D4F3B8-2107-3D92-EF16-A797DFB32254}"/>
              </a:ext>
            </a:extLst>
          </p:cNvPr>
          <p:cNvSpPr/>
          <p:nvPr/>
        </p:nvSpPr>
        <p:spPr>
          <a:xfrm flipH="1">
            <a:off x="8434835" y="2060293"/>
            <a:ext cx="3363117" cy="1185968"/>
          </a:xfrm>
          <a:prstGeom prst="round1Rect">
            <a:avLst>
              <a:gd name="adj" fmla="val 12498"/>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a:ln>
                  <a:noFill/>
                </a:ln>
                <a:solidFill>
                  <a:srgbClr val="4DBCC6"/>
                </a:solidFill>
                <a:effectLst/>
                <a:uLnTx/>
                <a:uFillTx/>
                <a:latin typeface="Work Sans Light" pitchFamily="2" charset="0"/>
                <a:ea typeface="+mn-ea"/>
                <a:cs typeface="+mn-cs"/>
              </a:rPr>
              <a:t>Porteføljen</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1400">
                <a:solidFill>
                  <a:srgbClr val="15304E"/>
                </a:solidFill>
                <a:latin typeface="Work Sans Light" pitchFamily="2" charset="0"/>
              </a:rPr>
              <a:t>50-70 </a:t>
            </a:r>
            <a:r>
              <a:rPr kumimoji="0" lang="da-DK" sz="1400" b="0" i="0" u="none" strike="noStrike" kern="1200" cap="none" spc="0" normalizeH="0" baseline="0" noProof="0">
                <a:ln>
                  <a:noFill/>
                </a:ln>
                <a:solidFill>
                  <a:srgbClr val="15304E"/>
                </a:solidFill>
                <a:effectLst/>
                <a:uLnTx/>
                <a:uFillTx/>
                <a:latin typeface="Work Sans Light" pitchFamily="2" charset="0"/>
                <a:ea typeface="+mn-ea"/>
                <a:cs typeface="+mn-cs"/>
              </a:rPr>
              <a:t>selskabe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srgbClr val="15304E"/>
              </a:solidFill>
              <a:effectLst/>
              <a:uLnTx/>
              <a:uFillTx/>
              <a:latin typeface="Century Gothic" panose="020F0302020204030204"/>
              <a:ea typeface="+mn-ea"/>
              <a:cs typeface="+mn-cs"/>
            </a:endParaRPr>
          </a:p>
        </p:txBody>
      </p:sp>
      <p:sp>
        <p:nvSpPr>
          <p:cNvPr id="10" name="Round Single Corner of Rectangle 4">
            <a:extLst>
              <a:ext uri="{FF2B5EF4-FFF2-40B4-BE49-F238E27FC236}">
                <a16:creationId xmlns:a16="http://schemas.microsoft.com/office/drawing/2014/main" id="{BBB30B59-2455-FE0C-FEE9-6B52D8258FA9}"/>
              </a:ext>
            </a:extLst>
          </p:cNvPr>
          <p:cNvSpPr/>
          <p:nvPr/>
        </p:nvSpPr>
        <p:spPr>
          <a:xfrm flipH="1">
            <a:off x="4865974" y="4797491"/>
            <a:ext cx="3363116" cy="1185752"/>
          </a:xfrm>
          <a:prstGeom prst="round1Rect">
            <a:avLst>
              <a:gd name="adj" fmla="val 12498"/>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dirty="0">
                <a:ln>
                  <a:noFill/>
                </a:ln>
                <a:solidFill>
                  <a:srgbClr val="4DBCC6"/>
                </a:solidFill>
                <a:effectLst/>
                <a:uLnTx/>
                <a:uFillTx/>
                <a:latin typeface="Work Sans Light" pitchFamily="2" charset="0"/>
                <a:ea typeface="+mn-ea"/>
                <a:cs typeface="+mn-cs"/>
              </a:rPr>
              <a:t>ES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srgbClr val="15304E"/>
                </a:solidFill>
                <a:effectLst/>
                <a:uLnTx/>
                <a:uFillTx/>
                <a:latin typeface="Work Sans Light" pitchFamily="2" charset="0"/>
                <a:ea typeface="+mn-ea"/>
                <a:cs typeface="+mn-cs"/>
              </a:rPr>
              <a:t>Artikel 8-fond med minimum </a:t>
            </a:r>
            <a:r>
              <a:rPr lang="da-DK" sz="1400" dirty="0">
                <a:solidFill>
                  <a:srgbClr val="15304E"/>
                </a:solidFill>
                <a:latin typeface="Work Sans Light" pitchFamily="2" charset="0"/>
              </a:rPr>
              <a:t>30</a:t>
            </a:r>
            <a:r>
              <a:rPr kumimoji="0" lang="da-DK" sz="1400" b="0" i="0" u="none" strike="noStrike" kern="1200" cap="none" spc="0" normalizeH="0" baseline="0" noProof="0" dirty="0">
                <a:ln>
                  <a:noFill/>
                </a:ln>
                <a:solidFill>
                  <a:srgbClr val="15304E"/>
                </a:solidFill>
                <a:effectLst/>
                <a:uLnTx/>
                <a:uFillTx/>
                <a:latin typeface="Work Sans Light" pitchFamily="2" charset="0"/>
                <a:ea typeface="+mn-ea"/>
                <a:cs typeface="+mn-cs"/>
              </a:rPr>
              <a:t> % bæredygtige investeringer</a:t>
            </a:r>
          </a:p>
        </p:txBody>
      </p:sp>
      <p:sp>
        <p:nvSpPr>
          <p:cNvPr id="14" name="Round Single Corner of Rectangle 4">
            <a:extLst>
              <a:ext uri="{FF2B5EF4-FFF2-40B4-BE49-F238E27FC236}">
                <a16:creationId xmlns:a16="http://schemas.microsoft.com/office/drawing/2014/main" id="{0102D7AF-62CD-8175-8D9F-7F56E99FF020}"/>
              </a:ext>
            </a:extLst>
          </p:cNvPr>
          <p:cNvSpPr/>
          <p:nvPr/>
        </p:nvSpPr>
        <p:spPr>
          <a:xfrm flipH="1">
            <a:off x="4865975" y="3429000"/>
            <a:ext cx="3363116" cy="1185752"/>
          </a:xfrm>
          <a:prstGeom prst="round1Rect">
            <a:avLst>
              <a:gd name="adj" fmla="val 12498"/>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a:ln>
                  <a:noFill/>
                </a:ln>
                <a:solidFill>
                  <a:srgbClr val="4DBCC6"/>
                </a:solidFill>
                <a:effectLst/>
                <a:uLnTx/>
                <a:uFillTx/>
                <a:latin typeface="Work Sans Light" pitchFamily="2" charset="0"/>
                <a:ea typeface="+mn-ea"/>
                <a:cs typeface="+mn-cs"/>
              </a:rPr>
              <a:t>Tilgang/strategi</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1400">
                <a:solidFill>
                  <a:srgbClr val="15304E"/>
                </a:solidFill>
                <a:latin typeface="Work Sans Light" pitchFamily="2" charset="0"/>
              </a:rPr>
              <a:t>Bottom‑up aktieudvælgelse med fokus på kvalitet, forretningsmodeller og selskaber med langsigtet vækstpotentiale.</a:t>
            </a:r>
            <a:endParaRPr kumimoji="0" lang="da-DK" sz="1400" b="0" i="0" u="none" strike="noStrike" kern="1200" cap="none" spc="0" normalizeH="0" baseline="0" noProof="0">
              <a:ln>
                <a:noFill/>
              </a:ln>
              <a:solidFill>
                <a:srgbClr val="15304E"/>
              </a:solidFill>
              <a:effectLst/>
              <a:uLnTx/>
              <a:uFillTx/>
              <a:latin typeface="Century Gothic" panose="020F0302020204030204"/>
              <a:ea typeface="+mn-ea"/>
              <a:cs typeface="+mn-cs"/>
            </a:endParaRPr>
          </a:p>
        </p:txBody>
      </p:sp>
      <p:sp>
        <p:nvSpPr>
          <p:cNvPr id="15" name="Round Single Corner of Rectangle 4">
            <a:extLst>
              <a:ext uri="{FF2B5EF4-FFF2-40B4-BE49-F238E27FC236}">
                <a16:creationId xmlns:a16="http://schemas.microsoft.com/office/drawing/2014/main" id="{9BC791E5-FF0F-02DC-3C7F-87A25E9F9AE8}"/>
              </a:ext>
            </a:extLst>
          </p:cNvPr>
          <p:cNvSpPr/>
          <p:nvPr/>
        </p:nvSpPr>
        <p:spPr>
          <a:xfrm flipH="1">
            <a:off x="4865974" y="2060293"/>
            <a:ext cx="3363117" cy="1185968"/>
          </a:xfrm>
          <a:prstGeom prst="round1Rect">
            <a:avLst>
              <a:gd name="adj" fmla="val 12498"/>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da-DK" sz="1200" b="1" i="0" u="none" strike="noStrike" kern="1200" cap="none" spc="0" normalizeH="0" baseline="0" noProof="0" dirty="0">
                <a:ln>
                  <a:noFill/>
                </a:ln>
                <a:solidFill>
                  <a:srgbClr val="4DBCC6"/>
                </a:solidFill>
                <a:effectLst/>
                <a:uLnTx/>
                <a:uFillTx/>
                <a:latin typeface="Work Sans Light" pitchFamily="2" charset="0"/>
                <a:ea typeface="+mn-ea"/>
                <a:cs typeface="+mn-cs"/>
              </a:rPr>
            </a:br>
            <a:r>
              <a:rPr kumimoji="0" lang="da-DK" sz="1200" b="1" i="0" u="none" strike="noStrike" kern="1200" cap="none" spc="0" normalizeH="0" baseline="0" noProof="0" dirty="0">
                <a:ln>
                  <a:noFill/>
                </a:ln>
                <a:solidFill>
                  <a:srgbClr val="4DBCC6"/>
                </a:solidFill>
                <a:effectLst/>
                <a:uLnTx/>
                <a:uFillTx/>
                <a:latin typeface="Work Sans Light" pitchFamily="2" charset="0"/>
                <a:ea typeface="+mn-ea"/>
                <a:cs typeface="+mn-cs"/>
              </a:rPr>
              <a:t>Investeringsunivers</a:t>
            </a:r>
          </a:p>
          <a:p>
            <a:pPr fontAlgn="t"/>
            <a:r>
              <a:rPr lang="da-DK" sz="1400" dirty="0">
                <a:solidFill>
                  <a:schemeClr val="tx1"/>
                </a:solidFill>
                <a:latin typeface="+mj-lt"/>
              </a:rPr>
              <a:t>Investerer i kvalitetsvirksomheder </a:t>
            </a:r>
            <a:r>
              <a:rPr lang="da-DK" sz="1400">
                <a:solidFill>
                  <a:schemeClr val="tx1"/>
                </a:solidFill>
                <a:latin typeface="+mj-lt"/>
              </a:rPr>
              <a:t>på globalt </a:t>
            </a:r>
            <a:r>
              <a:rPr lang="da-DK" sz="1400" dirty="0">
                <a:solidFill>
                  <a:schemeClr val="tx1"/>
                </a:solidFill>
                <a:latin typeface="+mj-lt"/>
              </a:rPr>
              <a:t>plan (udviklede markeder og udvalgte </a:t>
            </a:r>
            <a:r>
              <a:rPr lang="da-DK" sz="1400" dirty="0" err="1">
                <a:solidFill>
                  <a:schemeClr val="tx1"/>
                </a:solidFill>
                <a:latin typeface="+mj-lt"/>
              </a:rPr>
              <a:t>emerging</a:t>
            </a:r>
            <a:r>
              <a:rPr lang="da-DK" sz="1400" dirty="0">
                <a:solidFill>
                  <a:schemeClr val="tx1"/>
                </a:solidFill>
                <a:latin typeface="+mj-lt"/>
              </a:rPr>
              <a:t> </a:t>
            </a:r>
            <a:r>
              <a:rPr lang="da-DK" sz="1400" dirty="0" err="1">
                <a:solidFill>
                  <a:schemeClr val="tx1"/>
                </a:solidFill>
                <a:latin typeface="+mj-lt"/>
              </a:rPr>
              <a:t>markets</a:t>
            </a:r>
            <a:r>
              <a:rPr lang="da-DK" sz="1400" dirty="0">
                <a:solidFill>
                  <a:schemeClr val="tx1"/>
                </a:solidFill>
                <a:latin typeface="+mj-lt"/>
              </a:rPr>
              <a:t>)</a:t>
            </a:r>
          </a:p>
        </p:txBody>
      </p:sp>
      <p:pic>
        <p:nvPicPr>
          <p:cNvPr id="5" name="Billede 4" descr="Fugle på elledninger mod en blå himmel">
            <a:extLst>
              <a:ext uri="{FF2B5EF4-FFF2-40B4-BE49-F238E27FC236}">
                <a16:creationId xmlns:a16="http://schemas.microsoft.com/office/drawing/2014/main" id="{90807C49-410E-2A56-179B-23B0FD23D7D2}"/>
              </a:ext>
            </a:extLst>
          </p:cNvPr>
          <p:cNvPicPr>
            <a:picLocks noChangeAspect="1"/>
          </p:cNvPicPr>
          <p:nvPr/>
        </p:nvPicPr>
        <p:blipFill>
          <a:blip r:embed="rId6">
            <a:extLst>
              <a:ext uri="{28A0092B-C50C-407E-A947-70E740481C1C}">
                <a14:useLocalDpi xmlns:a14="http://schemas.microsoft.com/office/drawing/2010/main" val="0"/>
              </a:ext>
            </a:extLst>
          </a:blip>
          <a:srcRect l="13572" r="13572"/>
          <a:stretch/>
        </p:blipFill>
        <p:spPr>
          <a:xfrm>
            <a:off x="-1006764" y="1790457"/>
            <a:ext cx="4732628" cy="4320000"/>
          </a:xfrm>
          <a:prstGeom prst="flowChartConnector">
            <a:avLst/>
          </a:prstGeom>
        </p:spPr>
      </p:pic>
      <p:sp>
        <p:nvSpPr>
          <p:cNvPr id="4" name="Undertitel 3">
            <a:extLst>
              <a:ext uri="{FF2B5EF4-FFF2-40B4-BE49-F238E27FC236}">
                <a16:creationId xmlns:a16="http://schemas.microsoft.com/office/drawing/2014/main" id="{02F14FAE-92EF-C8A8-F6EF-C22BE6240F5C}"/>
              </a:ext>
            </a:extLst>
          </p:cNvPr>
          <p:cNvSpPr>
            <a:spLocks noGrp="1"/>
          </p:cNvSpPr>
          <p:nvPr>
            <p:ph type="subTitle" idx="1"/>
          </p:nvPr>
        </p:nvSpPr>
        <p:spPr/>
        <p:txBody>
          <a:bodyPr/>
          <a:lstStyle/>
          <a:p>
            <a:endParaRPr lang="da-DK"/>
          </a:p>
        </p:txBody>
      </p:sp>
      <p:sp>
        <p:nvSpPr>
          <p:cNvPr id="7" name="Pladsholder til sidefod 4">
            <a:extLst>
              <a:ext uri="{FF2B5EF4-FFF2-40B4-BE49-F238E27FC236}">
                <a16:creationId xmlns:a16="http://schemas.microsoft.com/office/drawing/2014/main" id="{3A462238-8D18-96E3-AB21-CFBADF6D7DE9}"/>
              </a:ext>
            </a:extLst>
          </p:cNvPr>
          <p:cNvSpPr txBox="1">
            <a:spLocks/>
          </p:cNvSpPr>
          <p:nvPr/>
        </p:nvSpPr>
        <p:spPr>
          <a:xfrm>
            <a:off x="9886157" y="124431"/>
            <a:ext cx="3744912" cy="144000"/>
          </a:xfrm>
          <a:prstGeom prst="rect">
            <a:avLst/>
          </a:prstGeom>
        </p:spPr>
        <p:txBody>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15304E"/>
                </a:solidFill>
                <a:effectLst/>
                <a:uLnTx/>
                <a:uFillTx/>
                <a:latin typeface="Work Sans Light"/>
                <a:ea typeface="+mn-ea"/>
                <a:cs typeface="+mn-cs"/>
              </a:rPr>
              <a:t>Markedsføringsmateriale</a:t>
            </a:r>
            <a:endParaRPr kumimoji="0" lang="da-DK" sz="1200" b="0" i="0" u="none" strike="noStrike" kern="1200" cap="none" spc="0" normalizeH="0" baseline="0" noProof="0">
              <a:ln>
                <a:noFill/>
              </a:ln>
              <a:solidFill>
                <a:srgbClr val="15304E"/>
              </a:solidFill>
              <a:effectLst/>
              <a:uLnTx/>
              <a:uFillTx/>
              <a:latin typeface="Work Sans Light"/>
              <a:ea typeface="+mn-ea"/>
              <a:cs typeface="+mn-cs"/>
            </a:endParaRPr>
          </a:p>
        </p:txBody>
      </p:sp>
      <p:sp>
        <p:nvSpPr>
          <p:cNvPr id="11" name="Pladsholder til slidenummer 10">
            <a:extLst>
              <a:ext uri="{FF2B5EF4-FFF2-40B4-BE49-F238E27FC236}">
                <a16:creationId xmlns:a16="http://schemas.microsoft.com/office/drawing/2014/main" id="{4DD6AE51-0F22-D42B-858D-3B841BFB7F2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A9C6259-F55B-47A6-AB0B-9E9F0835A2F0}" type="slidenum">
              <a:rPr kumimoji="0" lang="da-DK" sz="800" b="0" i="0" u="none" strike="noStrike" kern="1200" cap="none" spc="0" normalizeH="0" baseline="0" noProof="0" smtClean="0">
                <a:ln>
                  <a:noFill/>
                </a:ln>
                <a:solidFill>
                  <a:srgbClr val="4DBCC6"/>
                </a:solidFill>
                <a:effectLst/>
                <a:uLnTx/>
                <a:uFillTx/>
                <a:latin typeface="Work Sans Light"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da-DK" sz="800" b="0" i="0" u="none" strike="noStrike" kern="1200" cap="none" spc="0" normalizeH="0" baseline="0" noProof="0">
              <a:ln>
                <a:noFill/>
              </a:ln>
              <a:solidFill>
                <a:srgbClr val="4DBCC6"/>
              </a:solidFill>
              <a:effectLst/>
              <a:uLnTx/>
              <a:uFillTx/>
              <a:latin typeface="Work Sans Light" pitchFamily="2" charset="0"/>
              <a:ea typeface="+mn-ea"/>
              <a:cs typeface="+mn-cs"/>
            </a:endParaRPr>
          </a:p>
        </p:txBody>
      </p:sp>
      <p:sp>
        <p:nvSpPr>
          <p:cNvPr id="2" name="Round Single Corner of Rectangle 4">
            <a:extLst>
              <a:ext uri="{FF2B5EF4-FFF2-40B4-BE49-F238E27FC236}">
                <a16:creationId xmlns:a16="http://schemas.microsoft.com/office/drawing/2014/main" id="{AB3F92C6-93BA-E8E9-4BE7-623B7CABDDE0}"/>
              </a:ext>
            </a:extLst>
          </p:cNvPr>
          <p:cNvSpPr/>
          <p:nvPr/>
        </p:nvSpPr>
        <p:spPr>
          <a:xfrm flipH="1">
            <a:off x="8434836" y="4797491"/>
            <a:ext cx="3363116" cy="1185752"/>
          </a:xfrm>
          <a:prstGeom prst="round1Rect">
            <a:avLst>
              <a:gd name="adj" fmla="val 12498"/>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dirty="0">
                <a:ln>
                  <a:noFill/>
                </a:ln>
                <a:solidFill>
                  <a:srgbClr val="4DBCC6"/>
                </a:solidFill>
                <a:effectLst/>
                <a:uLnTx/>
                <a:uFillTx/>
                <a:latin typeface="Work Sans Light" pitchFamily="2" charset="0"/>
                <a:ea typeface="+mn-ea"/>
                <a:cs typeface="+mn-cs"/>
              </a:rPr>
              <a:t>Forval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srgbClr val="15304E"/>
                </a:solidFill>
                <a:effectLst/>
                <a:uLnTx/>
                <a:uFillTx/>
                <a:latin typeface="Work Sans Light" pitchFamily="2" charset="0"/>
                <a:ea typeface="+mn-ea"/>
                <a:cs typeface="+mn-cs"/>
              </a:rPr>
              <a:t>Forvaltes af ekstern forvalter, Columbia </a:t>
            </a:r>
            <a:r>
              <a:rPr kumimoji="0" lang="da-DK" sz="1400" b="0" i="0" u="none" strike="noStrike" kern="1200" cap="none" spc="0" normalizeH="0" baseline="0" noProof="0" dirty="0" err="1">
                <a:ln>
                  <a:noFill/>
                </a:ln>
                <a:solidFill>
                  <a:srgbClr val="15304E"/>
                </a:solidFill>
                <a:effectLst/>
                <a:uLnTx/>
                <a:uFillTx/>
                <a:latin typeface="Work Sans Light" pitchFamily="2" charset="0"/>
                <a:ea typeface="+mn-ea"/>
                <a:cs typeface="+mn-cs"/>
              </a:rPr>
              <a:t>Threadneedle</a:t>
            </a:r>
            <a:endParaRPr kumimoji="0" lang="da-DK" sz="1400" b="0" i="0" u="none" strike="noStrike" kern="1200" cap="none" spc="0" normalizeH="0" baseline="0" noProof="0" dirty="0">
              <a:ln>
                <a:noFill/>
              </a:ln>
              <a:solidFill>
                <a:srgbClr val="15304E"/>
              </a:solidFill>
              <a:effectLst/>
              <a:uLnTx/>
              <a:uFillTx/>
              <a:latin typeface="Work Sans Light" pitchFamily="2" charset="0"/>
              <a:ea typeface="+mn-ea"/>
              <a:cs typeface="+mn-cs"/>
            </a:endParaRPr>
          </a:p>
        </p:txBody>
      </p:sp>
    </p:spTree>
    <p:extLst>
      <p:ext uri="{BB962C8B-B14F-4D97-AF65-F5344CB8AC3E}">
        <p14:creationId xmlns:p14="http://schemas.microsoft.com/office/powerpoint/2010/main" val="22569520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ladsholder til billede 11" descr="Nærbillede af dokumenter og diagrammer">
            <a:extLst>
              <a:ext uri="{FF2B5EF4-FFF2-40B4-BE49-F238E27FC236}">
                <a16:creationId xmlns:a16="http://schemas.microsoft.com/office/drawing/2014/main" id="{B24D7246-EE7D-0777-F1C9-C74094550AA9}"/>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l="16640" r="16640"/>
          <a:stretch/>
        </p:blipFill>
        <p:spPr>
          <a:xfrm>
            <a:off x="8188364" y="1269001"/>
            <a:ext cx="4319999" cy="4319999"/>
          </a:xfrm>
        </p:spPr>
      </p:pic>
      <p:sp>
        <p:nvSpPr>
          <p:cNvPr id="7" name="Pladsholder til slidenummer 6">
            <a:extLst>
              <a:ext uri="{FF2B5EF4-FFF2-40B4-BE49-F238E27FC236}">
                <a16:creationId xmlns:a16="http://schemas.microsoft.com/office/drawing/2014/main" id="{EA64FD13-92B7-0022-9F6B-A2C90F1BC2DA}"/>
              </a:ext>
            </a:extLst>
          </p:cNvPr>
          <p:cNvSpPr>
            <a:spLocks noGrp="1"/>
          </p:cNvSpPr>
          <p:nvPr>
            <p:ph type="sldNum"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A9C6259-F55B-47A6-AB0B-9E9F0835A2F0}" type="slidenum">
              <a:rPr kumimoji="0" lang="da-DK" sz="800" b="0" i="0" u="none" strike="noStrike" kern="1200" cap="none" spc="0" normalizeH="0" baseline="0" noProof="0" smtClean="0">
                <a:ln>
                  <a:noFill/>
                </a:ln>
                <a:solidFill>
                  <a:srgbClr val="4DBCC6"/>
                </a:solidFill>
                <a:effectLst/>
                <a:uLnTx/>
                <a:uFillTx/>
                <a:latin typeface="Work Sans Light"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da-DK" sz="800" b="0" i="0" u="none" strike="noStrike" kern="1200" cap="none" spc="0" normalizeH="0" baseline="0" noProof="0">
              <a:ln>
                <a:noFill/>
              </a:ln>
              <a:solidFill>
                <a:srgbClr val="4DBCC6"/>
              </a:solidFill>
              <a:effectLst/>
              <a:uLnTx/>
              <a:uFillTx/>
              <a:latin typeface="Work Sans Light" pitchFamily="2" charset="0"/>
              <a:ea typeface="+mn-ea"/>
              <a:cs typeface="+mn-cs"/>
            </a:endParaRPr>
          </a:p>
        </p:txBody>
      </p:sp>
      <p:sp>
        <p:nvSpPr>
          <p:cNvPr id="15" name="Titel 2">
            <a:extLst>
              <a:ext uri="{FF2B5EF4-FFF2-40B4-BE49-F238E27FC236}">
                <a16:creationId xmlns:a16="http://schemas.microsoft.com/office/drawing/2014/main" id="{121D2F93-65DB-E54E-5298-4ECBC8B0E871}"/>
              </a:ext>
            </a:extLst>
          </p:cNvPr>
          <p:cNvSpPr txBox="1">
            <a:spLocks/>
          </p:cNvSpPr>
          <p:nvPr/>
        </p:nvSpPr>
        <p:spPr>
          <a:xfrm>
            <a:off x="431799" y="431800"/>
            <a:ext cx="11326814" cy="8640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800" b="0" i="0" kern="1200">
                <a:solidFill>
                  <a:schemeClr val="tx1"/>
                </a:solidFill>
                <a:latin typeface="Work Sans Light" pitchFamily="2" charset="77"/>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br>
              <a:rPr kumimoji="0" lang="da-DK" sz="2800" b="0" i="0" u="none" strike="noStrike" kern="1200" cap="none" spc="0" normalizeH="0" baseline="0" noProof="0">
                <a:ln>
                  <a:noFill/>
                </a:ln>
                <a:solidFill>
                  <a:srgbClr val="193A5F"/>
                </a:solidFill>
                <a:effectLst/>
                <a:uLnTx/>
                <a:uFillTx/>
                <a:latin typeface="Work Sans Light" pitchFamily="2" charset="0"/>
                <a:ea typeface="+mj-ea"/>
                <a:cs typeface="+mj-cs"/>
              </a:rPr>
            </a:br>
            <a:r>
              <a:rPr kumimoji="0" lang="da-DK" sz="2800" b="0" i="0" u="none" strike="noStrike" kern="1200" cap="none" spc="0" normalizeH="0" baseline="0" noProof="0">
                <a:ln>
                  <a:noFill/>
                </a:ln>
                <a:solidFill>
                  <a:srgbClr val="193A5F"/>
                </a:solidFill>
                <a:effectLst/>
                <a:uLnTx/>
                <a:uFillTx/>
                <a:latin typeface="Work Sans Light" pitchFamily="2" charset="0"/>
                <a:ea typeface="+mj-ea"/>
                <a:cs typeface="+mj-cs"/>
              </a:rPr>
              <a:t>Et erfarent team, der håndplukker og overvåger din investering</a:t>
            </a:r>
            <a:br>
              <a:rPr kumimoji="0" lang="da-DK" sz="2800" b="0" i="0" u="none" strike="noStrike" kern="1200" cap="none" spc="0" normalizeH="0" baseline="0" noProof="0">
                <a:ln>
                  <a:noFill/>
                </a:ln>
                <a:solidFill>
                  <a:srgbClr val="193A5F"/>
                </a:solidFill>
                <a:effectLst/>
                <a:uLnTx/>
                <a:uFillTx/>
                <a:latin typeface="Work Sans Light" pitchFamily="2" charset="0"/>
                <a:ea typeface="+mj-ea"/>
                <a:cs typeface="+mj-cs"/>
              </a:rPr>
            </a:br>
            <a:endParaRPr kumimoji="0" lang="da-DK" sz="2800" b="0" i="0" u="none" strike="noStrike" kern="1200" cap="none" spc="0" normalizeH="0" baseline="0" noProof="0">
              <a:ln>
                <a:noFill/>
              </a:ln>
              <a:solidFill>
                <a:srgbClr val="15304E"/>
              </a:solidFill>
              <a:effectLst/>
              <a:uLnTx/>
              <a:uFillTx/>
              <a:latin typeface="Work Sans Light" pitchFamily="2" charset="77"/>
              <a:ea typeface="+mj-ea"/>
              <a:cs typeface="+mj-cs"/>
            </a:endParaRPr>
          </a:p>
        </p:txBody>
      </p:sp>
      <p:sp>
        <p:nvSpPr>
          <p:cNvPr id="16" name="Undertitel 4">
            <a:extLst>
              <a:ext uri="{FF2B5EF4-FFF2-40B4-BE49-F238E27FC236}">
                <a16:creationId xmlns:a16="http://schemas.microsoft.com/office/drawing/2014/main" id="{073B21AA-8E2F-6396-76CF-FCF719EC61C2}"/>
              </a:ext>
            </a:extLst>
          </p:cNvPr>
          <p:cNvSpPr txBox="1">
            <a:spLocks/>
          </p:cNvSpPr>
          <p:nvPr/>
        </p:nvSpPr>
        <p:spPr>
          <a:xfrm>
            <a:off x="431799" y="2651906"/>
            <a:ext cx="7075203" cy="2429380"/>
          </a:xfrm>
          <a:prstGeom prst="rect">
            <a:avLst/>
          </a:prstGeom>
        </p:spPr>
        <p:txBody>
          <a:bodyPr vert="horz" lIns="36000" tIns="0" rIns="0" bIns="0" rtlCol="0" anchor="t">
            <a:noAutofit/>
          </a:bodyPr>
          <a:lstStyle>
            <a:lvl1pPr marL="0" indent="0" algn="l" defTabSz="914400" rtl="0" eaLnBrk="1" latinLnBrk="0" hangingPunct="1">
              <a:lnSpc>
                <a:spcPct val="120000"/>
              </a:lnSpc>
              <a:spcBef>
                <a:spcPts val="0"/>
              </a:spcBef>
              <a:buFont typeface="Arial" panose="020B0604020202020204" pitchFamily="34" charset="0"/>
              <a:buNone/>
              <a:defRPr sz="1400" b="0" i="0" kern="1200">
                <a:solidFill>
                  <a:schemeClr val="accent2"/>
                </a:solidFill>
                <a:latin typeface="Work Sans" pitchFamily="2" charset="0"/>
                <a:ea typeface="+mn-ea"/>
                <a:cs typeface="+mn-cs"/>
              </a:defRPr>
            </a:lvl1pPr>
            <a:lvl2pPr marL="457200" indent="0" algn="ctr" defTabSz="914400" rtl="0" eaLnBrk="1" latinLnBrk="0" hangingPunct="1">
              <a:lnSpc>
                <a:spcPct val="120000"/>
              </a:lnSpc>
              <a:spcBef>
                <a:spcPts val="500"/>
              </a:spcBef>
              <a:buFont typeface="Arial" panose="020B0604020202020204" pitchFamily="34" charset="0"/>
              <a:buNone/>
              <a:tabLst>
                <a:tab pos="627063" algn="l"/>
              </a:tabLst>
              <a:defRPr sz="2000" b="0" i="0" kern="1200">
                <a:solidFill>
                  <a:schemeClr val="tx1"/>
                </a:solidFill>
                <a:latin typeface="Work Sans" pitchFamily="2" charset="0"/>
                <a:ea typeface="+mn-ea"/>
                <a:cs typeface="+mn-cs"/>
              </a:defRPr>
            </a:lvl2pPr>
            <a:lvl3pPr marL="914400" indent="0" algn="ctr" defTabSz="914400" rtl="0" eaLnBrk="1" latinLnBrk="0" hangingPunct="1">
              <a:lnSpc>
                <a:spcPct val="120000"/>
              </a:lnSpc>
              <a:spcBef>
                <a:spcPts val="0"/>
              </a:spcBef>
              <a:buFont typeface="Arial" panose="020B0604020202020204" pitchFamily="34" charset="0"/>
              <a:buNone/>
              <a:tabLst>
                <a:tab pos="712788" algn="l"/>
              </a:tabLst>
              <a:defRPr sz="1800" b="0" i="0" kern="1200">
                <a:solidFill>
                  <a:schemeClr val="tx1"/>
                </a:solidFill>
                <a:latin typeface="Work Sans" pitchFamily="2" charset="0"/>
                <a:ea typeface="+mn-ea"/>
                <a:cs typeface="+mn-cs"/>
              </a:defRPr>
            </a:lvl3pPr>
            <a:lvl4pPr marL="1371600" indent="0" algn="ctr" defTabSz="914400" rtl="0" eaLnBrk="1" latinLnBrk="0" hangingPunct="1">
              <a:lnSpc>
                <a:spcPct val="120000"/>
              </a:lnSpc>
              <a:spcBef>
                <a:spcPts val="500"/>
              </a:spcBef>
              <a:buFont typeface="Arial" panose="020B0604020202020204" pitchFamily="34" charset="0"/>
              <a:buNone/>
              <a:tabLst/>
              <a:defRPr sz="1600" b="0" i="0" kern="1200">
                <a:solidFill>
                  <a:schemeClr val="tx1"/>
                </a:solidFill>
                <a:latin typeface="Work Sans" pitchFamily="2" charset="0"/>
                <a:ea typeface="+mn-ea"/>
                <a:cs typeface="+mn-cs"/>
              </a:defRPr>
            </a:lvl4pPr>
            <a:lvl5pPr marL="1828800" indent="0" algn="ctr" defTabSz="1165225" rtl="0" eaLnBrk="1" latinLnBrk="0" hangingPunct="1">
              <a:lnSpc>
                <a:spcPct val="120000"/>
              </a:lnSpc>
              <a:spcBef>
                <a:spcPts val="500"/>
              </a:spcBef>
              <a:buFont typeface="Arial" panose="020B0604020202020204" pitchFamily="34" charset="0"/>
              <a:buNone/>
              <a:tabLst/>
              <a:defRPr sz="1600" b="0" i="0" kern="1200">
                <a:solidFill>
                  <a:schemeClr val="tx1"/>
                </a:solidFill>
                <a:latin typeface="Work Sans" pitchFamily="2" charset="0"/>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lang="da-DK" b="1" dirty="0">
                <a:solidFill>
                  <a:srgbClr val="193A5F"/>
                </a:solidFill>
              </a:rPr>
              <a:t>Fonden forvaltes af</a:t>
            </a:r>
            <a:r>
              <a:rPr kumimoji="0" lang="da-DK" sz="1400" b="1" i="0" u="none" strike="noStrike" kern="1200" cap="none" spc="0" normalizeH="0" baseline="0" noProof="0" dirty="0">
                <a:ln>
                  <a:noFill/>
                </a:ln>
                <a:solidFill>
                  <a:srgbClr val="193A5F"/>
                </a:solidFill>
                <a:effectLst/>
                <a:uLnTx/>
                <a:uFillTx/>
                <a:latin typeface="Work Sans" pitchFamily="2" charset="0"/>
                <a:ea typeface="+mn-ea"/>
                <a:cs typeface="+mn-cs"/>
              </a:rPr>
              <a:t> Globale Aktier</a:t>
            </a:r>
            <a:r>
              <a:rPr lang="da-DK" b="1" dirty="0">
                <a:solidFill>
                  <a:srgbClr val="193A5F"/>
                </a:solidFill>
              </a:rPr>
              <a:t> Columbia </a:t>
            </a:r>
            <a:r>
              <a:rPr lang="da-DK" b="1" dirty="0" err="1">
                <a:solidFill>
                  <a:srgbClr val="193A5F"/>
                </a:solidFill>
              </a:rPr>
              <a:t>Threadneedle</a:t>
            </a:r>
            <a:r>
              <a:rPr lang="da-DK" b="1" dirty="0">
                <a:solidFill>
                  <a:srgbClr val="193A5F"/>
                </a:solidFill>
              </a:rPr>
              <a:t> – en international kapitalforvalter med base i London.</a:t>
            </a:r>
            <a:r>
              <a:rPr kumimoji="0" lang="da-DK" sz="1400" b="1" i="0" u="none" strike="noStrike" kern="1200" cap="none" spc="0" normalizeH="0" baseline="0" noProof="0">
                <a:ln>
                  <a:noFill/>
                </a:ln>
                <a:solidFill>
                  <a:srgbClr val="193A5F"/>
                </a:solidFill>
                <a:effectLst/>
                <a:uLnTx/>
                <a:uFillTx/>
                <a:latin typeface="Work Sans" pitchFamily="2" charset="0"/>
                <a:ea typeface="+mn-ea"/>
                <a:cs typeface="+mn-cs"/>
              </a:rPr>
              <a:t> </a:t>
            </a:r>
            <a:endParaRPr kumimoji="0" lang="da-DK" sz="1400" b="1" i="0" u="none" strike="noStrike" kern="1200" cap="none" spc="0" normalizeH="0" baseline="0" noProof="0" dirty="0">
              <a:ln>
                <a:noFill/>
              </a:ln>
              <a:solidFill>
                <a:srgbClr val="193A5F"/>
              </a:solidFill>
              <a:effectLst/>
              <a:uLnTx/>
              <a:uFillTx/>
              <a:latin typeface="Work Sans" pitchFamily="2" charset="0"/>
              <a:ea typeface="+mn-ea"/>
              <a:cs typeface="+mn-cs"/>
            </a:endParaRPr>
          </a:p>
          <a:p>
            <a:pPr marL="285750" lvl="0" indent="-285750">
              <a:spcBef>
                <a:spcPts val="300"/>
              </a:spcBef>
              <a:spcAft>
                <a:spcPts val="300"/>
              </a:spcAft>
              <a:buFont typeface="Arial" panose="020B0604020202020204" pitchFamily="34" charset="0"/>
              <a:buChar char="•"/>
              <a:defRPr/>
            </a:pPr>
            <a:r>
              <a:rPr lang="da-DK" dirty="0">
                <a:solidFill>
                  <a:schemeClr val="tx2"/>
                </a:solidFill>
              </a:rPr>
              <a:t>De følger de internationale aktiemarkeder tæt og vurderer økonomiske tendenser samt virksomheders konkurrenceevne. </a:t>
            </a:r>
          </a:p>
          <a:p>
            <a:pPr marL="285750" lvl="0" indent="-285750">
              <a:spcBef>
                <a:spcPts val="300"/>
              </a:spcBef>
              <a:spcAft>
                <a:spcPts val="300"/>
              </a:spcAft>
              <a:buFont typeface="Arial" panose="020B0604020202020204" pitchFamily="34" charset="0"/>
              <a:buChar char="•"/>
              <a:defRPr/>
            </a:pPr>
            <a:r>
              <a:rPr lang="da-DK" dirty="0">
                <a:solidFill>
                  <a:schemeClr val="tx2"/>
                </a:solidFill>
              </a:rPr>
              <a:t>De udvælger selskaber fra et stort globalt univers med fokus på kvalitet og bæredygtig vækst. </a:t>
            </a:r>
          </a:p>
          <a:p>
            <a:pPr marL="285750" lvl="0" indent="-285750">
              <a:spcBef>
                <a:spcPts val="300"/>
              </a:spcBef>
              <a:spcAft>
                <a:spcPts val="300"/>
              </a:spcAft>
              <a:buFont typeface="Arial" panose="020B0604020202020204" pitchFamily="34" charset="0"/>
              <a:buChar char="•"/>
              <a:defRPr/>
            </a:pPr>
            <a:r>
              <a:rPr lang="da-DK" dirty="0">
                <a:solidFill>
                  <a:schemeClr val="tx2"/>
                </a:solidFill>
              </a:rPr>
              <a:t>De tilpasser porteføljen løbende for at sikre, at investeringen udvikler sig efter de bedst mulige forudsætninger.</a:t>
            </a:r>
          </a:p>
          <a:p>
            <a:pPr marL="0" marR="0" lvl="0" indent="0" algn="l"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endParaRPr kumimoji="0" lang="da-DK" sz="1400" b="0" i="0" u="none" strike="noStrike" kern="1200" cap="none" spc="0" normalizeH="0" baseline="0" noProof="0" dirty="0">
              <a:ln>
                <a:noFill/>
              </a:ln>
              <a:solidFill>
                <a:srgbClr val="193A5F"/>
              </a:solidFill>
              <a:effectLst/>
              <a:uLnTx/>
              <a:uFillTx/>
              <a:latin typeface="Work Sans" pitchFamily="2" charset="0"/>
              <a:ea typeface="+mn-ea"/>
              <a:cs typeface="+mn-cs"/>
            </a:endParaRPr>
          </a:p>
          <a:p>
            <a:pPr marL="0" marR="0" lvl="0" indent="0" algn="l"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endParaRPr kumimoji="0" lang="da-DK" sz="1400" b="0" i="0" u="none" strike="noStrike" kern="1200" cap="none" spc="0" normalizeH="0" baseline="0" noProof="0" dirty="0">
              <a:ln>
                <a:noFill/>
              </a:ln>
              <a:solidFill>
                <a:srgbClr val="193A5F"/>
              </a:solidFill>
              <a:effectLst/>
              <a:uLnTx/>
              <a:uFillTx/>
              <a:latin typeface="Work Sans" pitchFamily="2" charset="0"/>
              <a:ea typeface="+mn-ea"/>
              <a:cs typeface="+mn-cs"/>
            </a:endParaRPr>
          </a:p>
        </p:txBody>
      </p:sp>
      <p:sp>
        <p:nvSpPr>
          <p:cNvPr id="2" name="Pladsholder til sidefod 4">
            <a:extLst>
              <a:ext uri="{FF2B5EF4-FFF2-40B4-BE49-F238E27FC236}">
                <a16:creationId xmlns:a16="http://schemas.microsoft.com/office/drawing/2014/main" id="{F2A45B40-C865-049A-30D2-24D94DF7DE86}"/>
              </a:ext>
            </a:extLst>
          </p:cNvPr>
          <p:cNvSpPr txBox="1">
            <a:spLocks/>
          </p:cNvSpPr>
          <p:nvPr/>
        </p:nvSpPr>
        <p:spPr>
          <a:xfrm>
            <a:off x="9886157" y="124431"/>
            <a:ext cx="3744912" cy="144000"/>
          </a:xfrm>
          <a:prstGeom prst="rect">
            <a:avLst/>
          </a:prstGeom>
        </p:spPr>
        <p:txBody>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15304E"/>
                </a:solidFill>
                <a:effectLst/>
                <a:uLnTx/>
                <a:uFillTx/>
                <a:latin typeface="Work Sans Light"/>
                <a:ea typeface="+mn-ea"/>
                <a:cs typeface="+mn-cs"/>
              </a:rPr>
              <a:t>Markedsføringsmateriale</a:t>
            </a:r>
            <a:endParaRPr kumimoji="0" lang="da-DK" sz="1200" b="0" i="0" u="none" strike="noStrike" kern="1200" cap="none" spc="0" normalizeH="0" baseline="0" noProof="0">
              <a:ln>
                <a:noFill/>
              </a:ln>
              <a:solidFill>
                <a:srgbClr val="15304E"/>
              </a:solidFill>
              <a:effectLst/>
              <a:uLnTx/>
              <a:uFillTx/>
              <a:latin typeface="Work Sans Light"/>
              <a:ea typeface="+mn-ea"/>
              <a:cs typeface="+mn-cs"/>
            </a:endParaRPr>
          </a:p>
        </p:txBody>
      </p:sp>
    </p:spTree>
    <p:extLst>
      <p:ext uri="{BB962C8B-B14F-4D97-AF65-F5344CB8AC3E}">
        <p14:creationId xmlns:p14="http://schemas.microsoft.com/office/powerpoint/2010/main" val="22841436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ECDE67F-06D9-83E4-EC56-CA47DED35F72}"/>
              </a:ext>
            </a:extLst>
          </p:cNvPr>
          <p:cNvGraphicFramePr>
            <a:graphicFrameLocks/>
          </p:cNvGraphicFramePr>
          <p:nvPr>
            <p:custDataLst>
              <p:tags r:id="rId1"/>
            </p:custDataLst>
            <p:extLst>
              <p:ext uri="{D42A27DB-BD31-4B8C-83A1-F6EECF244321}">
                <p14:modId xmlns:p14="http://schemas.microsoft.com/office/powerpoint/2010/main" val="13294587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2" name="think-cell data - do not delete" hidden="1">
                        <a:extLst>
                          <a:ext uri="{FF2B5EF4-FFF2-40B4-BE49-F238E27FC236}">
                            <a16:creationId xmlns:a16="http://schemas.microsoft.com/office/drawing/2014/main" id="{AECDE67F-06D9-83E4-EC56-CA47DED35F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Pladsholder til billede 13" descr="Silhuet af fugle, der flyver på afstand">
            <a:extLst>
              <a:ext uri="{FF2B5EF4-FFF2-40B4-BE49-F238E27FC236}">
                <a16:creationId xmlns:a16="http://schemas.microsoft.com/office/drawing/2014/main" id="{F7B698BF-7667-E6E6-E241-73F3935270E3}"/>
              </a:ext>
            </a:extLst>
          </p:cNvPr>
          <p:cNvPicPr>
            <a:picLocks noGrp="1" noChangeAspect="1"/>
          </p:cNvPicPr>
          <p:nvPr>
            <p:ph type="pic" sz="quarter" idx="15"/>
          </p:nvPr>
        </p:nvPicPr>
        <p:blipFill>
          <a:blip r:embed="rId6">
            <a:extLst>
              <a:ext uri="{28A0092B-C50C-407E-A947-70E740481C1C}">
                <a14:useLocalDpi xmlns:a14="http://schemas.microsoft.com/office/drawing/2010/main" val="0"/>
              </a:ext>
            </a:extLst>
          </a:blip>
          <a:srcRect l="20873" t="8147" r="43370" b="-52"/>
          <a:stretch>
            <a:fillRect/>
          </a:stretch>
        </p:blipFill>
        <p:spPr>
          <a:xfrm>
            <a:off x="8319048" y="-5737"/>
            <a:ext cx="4120602" cy="6867670"/>
          </a:xfrm>
        </p:spPr>
      </p:pic>
      <p:sp>
        <p:nvSpPr>
          <p:cNvPr id="3" name="Pladsholder til tekst 2">
            <a:extLst>
              <a:ext uri="{FF2B5EF4-FFF2-40B4-BE49-F238E27FC236}">
                <a16:creationId xmlns:a16="http://schemas.microsoft.com/office/drawing/2014/main" id="{237401FC-26A1-6277-8982-934CDA8C5D4D}"/>
              </a:ext>
            </a:extLst>
          </p:cNvPr>
          <p:cNvSpPr>
            <a:spLocks noGrp="1"/>
          </p:cNvSpPr>
          <p:nvPr>
            <p:ph type="body" sz="quarter" idx="26"/>
          </p:nvPr>
        </p:nvSpPr>
        <p:spPr>
          <a:xfrm rot="5400000">
            <a:off x="431798" y="2826200"/>
            <a:ext cx="2520000" cy="2520000"/>
          </a:xfrm>
          <a:solidFill>
            <a:schemeClr val="bg1">
              <a:lumMod val="90000"/>
              <a:lumOff val="10000"/>
            </a:schemeClr>
          </a:solidFill>
        </p:spPr>
        <p:txBody>
          <a:bodyPr lIns="468000" tIns="468000" rIns="396000"/>
          <a:lstStyle/>
          <a:p>
            <a:r>
              <a:rPr lang="en-US" err="1"/>
              <a:t>Vækst</a:t>
            </a:r>
            <a:endParaRPr lang="en-US"/>
          </a:p>
          <a:p>
            <a:endParaRPr lang="en-US"/>
          </a:p>
          <a:p>
            <a:pPr lvl="0">
              <a:defRPr/>
            </a:pPr>
            <a:r>
              <a:rPr lang="da-DK" sz="1200">
                <a:solidFill>
                  <a:srgbClr val="F4FAFE"/>
                </a:solidFill>
                <a:latin typeface="Work Sans" pitchFamily="2" charset="0"/>
              </a:rPr>
              <a:t>Virksomheder, som man vurderer har stort fremtidigt potentiale. </a:t>
            </a:r>
          </a:p>
          <a:p>
            <a:endParaRPr lang="da-DK"/>
          </a:p>
        </p:txBody>
      </p:sp>
      <p:pic>
        <p:nvPicPr>
          <p:cNvPr id="13" name="Pladsholder til indhold 12" descr="Ambition kontur">
            <a:extLst>
              <a:ext uri="{FF2B5EF4-FFF2-40B4-BE49-F238E27FC236}">
                <a16:creationId xmlns:a16="http://schemas.microsoft.com/office/drawing/2014/main" id="{9C68708A-6073-01ED-6788-EFB9DE7522B6}"/>
              </a:ext>
            </a:extLst>
          </p:cNvPr>
          <p:cNvPicPr>
            <a:picLocks noGrp="1" noChangeAspect="1"/>
          </p:cNvPicPr>
          <p:nvPr>
            <p:ph sz="quarter" idx="25"/>
          </p:nvPr>
        </p:nvPicPr>
        <p:blipFill>
          <a:blip r:embed="rId7">
            <a:extLst>
              <a:ext uri="{96DAC541-7B7A-43D3-8B79-37D633B846F1}">
                <asvg:svgBlip xmlns:asvg="http://schemas.microsoft.com/office/drawing/2016/SVG/main" r:embed="rId8"/>
              </a:ext>
            </a:extLst>
          </a:blip>
          <a:stretch>
            <a:fillRect/>
          </a:stretch>
        </p:blipFill>
        <p:spPr>
          <a:xfrm>
            <a:off x="2340554" y="2901192"/>
            <a:ext cx="576263" cy="576263"/>
          </a:xfrm>
        </p:spPr>
      </p:pic>
      <p:sp>
        <p:nvSpPr>
          <p:cNvPr id="5" name="Undertitel 4">
            <a:extLst>
              <a:ext uri="{FF2B5EF4-FFF2-40B4-BE49-F238E27FC236}">
                <a16:creationId xmlns:a16="http://schemas.microsoft.com/office/drawing/2014/main" id="{40D9CE7C-CBDF-D106-3F2C-57520EBEC283}"/>
              </a:ext>
            </a:extLst>
          </p:cNvPr>
          <p:cNvSpPr>
            <a:spLocks noGrp="1"/>
          </p:cNvSpPr>
          <p:nvPr>
            <p:ph type="subTitle" idx="1"/>
          </p:nvPr>
        </p:nvSpPr>
        <p:spPr>
          <a:xfrm>
            <a:off x="431798" y="1310467"/>
            <a:ext cx="7670480" cy="777333"/>
          </a:xfrm>
        </p:spPr>
        <p:txBody>
          <a:bodyPr/>
          <a:lstStyle/>
          <a:p>
            <a:pPr>
              <a:spcBef>
                <a:spcPts val="300"/>
              </a:spcBef>
              <a:spcAft>
                <a:spcPts val="300"/>
              </a:spcAft>
            </a:pPr>
            <a:r>
              <a:rPr lang="da-DK" sz="1300" dirty="0">
                <a:solidFill>
                  <a:srgbClr val="FFFFFF"/>
                </a:solidFill>
              </a:rPr>
              <a:t>Strategien bygger på dyb selskabsanalyse og fokus på virksomheder med stærke forretningsmodeller, konkurrencemæssige fordele og virksomheders evne til at skabe potentiel langsigtet indtjeningsvækst. Porteføljen sammensættes gennem konsekvent </a:t>
            </a:r>
            <a:r>
              <a:rPr lang="da-DK" sz="1300" dirty="0" err="1">
                <a:solidFill>
                  <a:srgbClr val="FFFFFF"/>
                </a:solidFill>
              </a:rPr>
              <a:t>bottom</a:t>
            </a:r>
            <a:r>
              <a:rPr lang="da-DK" sz="1300" dirty="0">
                <a:solidFill>
                  <a:srgbClr val="FFFFFF"/>
                </a:solidFill>
              </a:rPr>
              <a:t>‑up aktieudvælgelse og benytter en tilgang, hvor de kombinerer en række investeringsstrategier, såkaldte faktorer (forskellige karakteristika ved virksomhederne):</a:t>
            </a:r>
          </a:p>
          <a:p>
            <a:pPr>
              <a:spcBef>
                <a:spcPts val="300"/>
              </a:spcBef>
              <a:spcAft>
                <a:spcPts val="300"/>
              </a:spcAft>
            </a:pPr>
            <a:endParaRPr lang="da-DK" dirty="0">
              <a:solidFill>
                <a:srgbClr val="FFFFFF"/>
              </a:solidFill>
              <a:highlight>
                <a:srgbClr val="00FFFF"/>
              </a:highlight>
            </a:endParaRPr>
          </a:p>
        </p:txBody>
      </p:sp>
      <p:sp>
        <p:nvSpPr>
          <p:cNvPr id="6" name="Pladsholder til tekst 5">
            <a:extLst>
              <a:ext uri="{FF2B5EF4-FFF2-40B4-BE49-F238E27FC236}">
                <a16:creationId xmlns:a16="http://schemas.microsoft.com/office/drawing/2014/main" id="{D2F21EDE-E89B-D9A2-4627-7AA1313D613A}"/>
              </a:ext>
            </a:extLst>
          </p:cNvPr>
          <p:cNvSpPr>
            <a:spLocks noGrp="1"/>
          </p:cNvSpPr>
          <p:nvPr>
            <p:ph type="body" sz="quarter" idx="27"/>
          </p:nvPr>
        </p:nvSpPr>
        <p:spPr>
          <a:xfrm rot="5400000">
            <a:off x="3248782" y="2826200"/>
            <a:ext cx="2520000" cy="2520000"/>
          </a:xfrm>
          <a:solidFill>
            <a:schemeClr val="bg1">
              <a:lumMod val="75000"/>
              <a:lumOff val="25000"/>
            </a:schemeClr>
          </a:solidFill>
        </p:spPr>
        <p:txBody>
          <a:bodyPr lIns="468000" tIns="468000" rIns="396000"/>
          <a:lstStyle/>
          <a:p>
            <a:r>
              <a:rPr lang="en-US" err="1"/>
              <a:t>Kvalitet</a:t>
            </a:r>
            <a:endParaRPr lang="en-US"/>
          </a:p>
          <a:p>
            <a:endParaRPr lang="en-US"/>
          </a:p>
          <a:p>
            <a:r>
              <a:rPr lang="en-US" sz="1200" err="1">
                <a:latin typeface="Work Sans" pitchFamily="2" charset="0"/>
              </a:rPr>
              <a:t>Virksomheder</a:t>
            </a:r>
            <a:r>
              <a:rPr lang="en-US" sz="1200">
                <a:latin typeface="Work Sans" pitchFamily="2" charset="0"/>
              </a:rPr>
              <a:t> med </a:t>
            </a:r>
            <a:r>
              <a:rPr lang="en-US" sz="1200" err="1">
                <a:latin typeface="Work Sans" pitchFamily="2" charset="0"/>
              </a:rPr>
              <a:t>stabil</a:t>
            </a:r>
            <a:r>
              <a:rPr lang="en-US" sz="1200">
                <a:latin typeface="Work Sans" pitchFamily="2" charset="0"/>
              </a:rPr>
              <a:t> </a:t>
            </a:r>
            <a:r>
              <a:rPr lang="en-US" sz="1200" err="1">
                <a:latin typeface="Work Sans" pitchFamily="2" charset="0"/>
              </a:rPr>
              <a:t>indtjening</a:t>
            </a:r>
            <a:r>
              <a:rPr lang="en-US" sz="1200">
                <a:latin typeface="Work Sans" pitchFamily="2" charset="0"/>
              </a:rPr>
              <a:t> </a:t>
            </a:r>
            <a:r>
              <a:rPr lang="en-US" sz="1200" err="1">
                <a:latin typeface="Work Sans" pitchFamily="2" charset="0"/>
              </a:rPr>
              <a:t>og</a:t>
            </a:r>
            <a:r>
              <a:rPr lang="en-US" sz="1200">
                <a:latin typeface="Work Sans" pitchFamily="2" charset="0"/>
              </a:rPr>
              <a:t> </a:t>
            </a:r>
            <a:r>
              <a:rPr lang="en-US" sz="1200" err="1">
                <a:latin typeface="Work Sans" pitchFamily="2" charset="0"/>
              </a:rPr>
              <a:t>vækst</a:t>
            </a:r>
            <a:r>
              <a:rPr lang="en-US" sz="1200">
                <a:latin typeface="Work Sans" pitchFamily="2" charset="0"/>
              </a:rPr>
              <a:t>, </a:t>
            </a:r>
            <a:r>
              <a:rPr lang="en-US" sz="1200" err="1">
                <a:latin typeface="Work Sans" pitchFamily="2" charset="0"/>
              </a:rPr>
              <a:t>lav</a:t>
            </a:r>
            <a:r>
              <a:rPr lang="en-US" sz="1200">
                <a:latin typeface="Work Sans" pitchFamily="2" charset="0"/>
              </a:rPr>
              <a:t> </a:t>
            </a:r>
            <a:r>
              <a:rPr lang="en-US" sz="1200" err="1">
                <a:latin typeface="Work Sans" pitchFamily="2" charset="0"/>
              </a:rPr>
              <a:t>gæld</a:t>
            </a:r>
            <a:r>
              <a:rPr lang="en-US" sz="1200">
                <a:latin typeface="Work Sans" pitchFamily="2" charset="0"/>
              </a:rPr>
              <a:t> </a:t>
            </a:r>
            <a:r>
              <a:rPr lang="en-US" sz="1200" err="1">
                <a:latin typeface="Work Sans" pitchFamily="2" charset="0"/>
              </a:rPr>
              <a:t>og</a:t>
            </a:r>
            <a:r>
              <a:rPr lang="en-US" sz="1200">
                <a:latin typeface="Work Sans" pitchFamily="2" charset="0"/>
              </a:rPr>
              <a:t> </a:t>
            </a:r>
            <a:r>
              <a:rPr lang="en-US" sz="1200" err="1">
                <a:latin typeface="Work Sans" pitchFamily="2" charset="0"/>
              </a:rPr>
              <a:t>høj</a:t>
            </a:r>
            <a:r>
              <a:rPr lang="en-US" sz="1200">
                <a:latin typeface="Work Sans" pitchFamily="2" charset="0"/>
              </a:rPr>
              <a:t> </a:t>
            </a:r>
            <a:r>
              <a:rPr lang="en-US" sz="1200" err="1">
                <a:latin typeface="Work Sans" pitchFamily="2" charset="0"/>
              </a:rPr>
              <a:t>likviditet</a:t>
            </a:r>
            <a:r>
              <a:rPr lang="en-US" sz="1200">
                <a:latin typeface="Work Sans" pitchFamily="2" charset="0"/>
              </a:rPr>
              <a:t>.</a:t>
            </a:r>
            <a:endParaRPr lang="da-DK" sz="1200">
              <a:latin typeface="Work Sans" pitchFamily="2" charset="0"/>
            </a:endParaRPr>
          </a:p>
        </p:txBody>
      </p:sp>
      <p:pic>
        <p:nvPicPr>
          <p:cNvPr id="16" name="Pladsholder til indhold 15" descr="Bedømmelse kontur">
            <a:extLst>
              <a:ext uri="{FF2B5EF4-FFF2-40B4-BE49-F238E27FC236}">
                <a16:creationId xmlns:a16="http://schemas.microsoft.com/office/drawing/2014/main" id="{625C53C2-24C1-8DE0-E7CF-71AFBE7496E4}"/>
              </a:ext>
            </a:extLst>
          </p:cNvPr>
          <p:cNvPicPr>
            <a:picLocks noGrp="1" noChangeAspect="1"/>
          </p:cNvPicPr>
          <p:nvPr>
            <p:ph sz="quarter" idx="28"/>
          </p:nvPr>
        </p:nvPicPr>
        <p:blipFill>
          <a:blip r:embed="rId9">
            <a:extLst>
              <a:ext uri="{96DAC541-7B7A-43D3-8B79-37D633B846F1}">
                <asvg:svgBlip xmlns:asvg="http://schemas.microsoft.com/office/drawing/2016/SVG/main" r:embed="rId10"/>
              </a:ext>
            </a:extLst>
          </a:blip>
          <a:stretch>
            <a:fillRect/>
          </a:stretch>
        </p:blipFill>
        <p:spPr>
          <a:xfrm>
            <a:off x="5156779" y="2901192"/>
            <a:ext cx="576263" cy="576263"/>
          </a:xfrm>
        </p:spPr>
      </p:pic>
      <p:sp>
        <p:nvSpPr>
          <p:cNvPr id="8" name="Pladsholder til tekst 7">
            <a:extLst>
              <a:ext uri="{FF2B5EF4-FFF2-40B4-BE49-F238E27FC236}">
                <a16:creationId xmlns:a16="http://schemas.microsoft.com/office/drawing/2014/main" id="{9E040C69-0DEA-5403-B1E9-94A1D2613274}"/>
              </a:ext>
            </a:extLst>
          </p:cNvPr>
          <p:cNvSpPr>
            <a:spLocks noGrp="1"/>
          </p:cNvSpPr>
          <p:nvPr>
            <p:ph type="body" sz="quarter" idx="29"/>
          </p:nvPr>
        </p:nvSpPr>
        <p:spPr>
          <a:xfrm rot="5400000">
            <a:off x="6056782" y="2826200"/>
            <a:ext cx="2520000" cy="2520000"/>
          </a:xfrm>
          <a:solidFill>
            <a:schemeClr val="accent1">
              <a:lumMod val="50000"/>
              <a:lumOff val="50000"/>
            </a:schemeClr>
          </a:solidFill>
        </p:spPr>
        <p:txBody>
          <a:bodyPr lIns="468000" tIns="468000" rIns="396000"/>
          <a:lstStyle/>
          <a:p>
            <a:r>
              <a:rPr lang="en-US" err="1"/>
              <a:t>Konkurrencefordel</a:t>
            </a:r>
            <a:endParaRPr lang="en-US"/>
          </a:p>
          <a:p>
            <a:endParaRPr lang="en-US"/>
          </a:p>
          <a:p>
            <a:r>
              <a:rPr lang="da-DK" sz="1200">
                <a:latin typeface="Work Sans" pitchFamily="2" charset="0"/>
              </a:rPr>
              <a:t>Virksomheder med stærk markedsposition, f.eks. via teknologi, brand, skala eller kundeloyalitet.</a:t>
            </a:r>
          </a:p>
        </p:txBody>
      </p:sp>
      <p:pic>
        <p:nvPicPr>
          <p:cNvPr id="18" name="Pladsholder til indhold 17" descr="Konkurrence kontur">
            <a:extLst>
              <a:ext uri="{FF2B5EF4-FFF2-40B4-BE49-F238E27FC236}">
                <a16:creationId xmlns:a16="http://schemas.microsoft.com/office/drawing/2014/main" id="{47FE2152-8816-5433-5EF4-A0674CC615B7}"/>
              </a:ext>
            </a:extLst>
          </p:cNvPr>
          <p:cNvPicPr>
            <a:picLocks noGrp="1" noChangeAspect="1"/>
          </p:cNvPicPr>
          <p:nvPr>
            <p:ph sz="quarter" idx="30"/>
          </p:nvPr>
        </p:nvPicPr>
        <p:blipFill>
          <a:blip r:embed="rId11">
            <a:extLst>
              <a:ext uri="{96DAC541-7B7A-43D3-8B79-37D633B846F1}">
                <asvg:svgBlip xmlns:asvg="http://schemas.microsoft.com/office/drawing/2016/SVG/main" r:embed="rId12"/>
              </a:ext>
            </a:extLst>
          </a:blip>
          <a:srcRect/>
          <a:stretch/>
        </p:blipFill>
        <p:spPr>
          <a:xfrm>
            <a:off x="7965067" y="2901192"/>
            <a:ext cx="576262" cy="576262"/>
          </a:xfrm>
        </p:spPr>
      </p:pic>
      <p:sp>
        <p:nvSpPr>
          <p:cNvPr id="11" name="Titel 10">
            <a:extLst>
              <a:ext uri="{FF2B5EF4-FFF2-40B4-BE49-F238E27FC236}">
                <a16:creationId xmlns:a16="http://schemas.microsoft.com/office/drawing/2014/main" id="{E06838A1-6D44-18A6-827A-31DAC26A0C5F}"/>
              </a:ext>
            </a:extLst>
          </p:cNvPr>
          <p:cNvSpPr>
            <a:spLocks noGrp="1"/>
          </p:cNvSpPr>
          <p:nvPr>
            <p:ph type="title"/>
          </p:nvPr>
        </p:nvSpPr>
        <p:spPr/>
        <p:txBody>
          <a:bodyPr vert="horz" rIns="0"/>
          <a:lstStyle/>
          <a:p>
            <a:r>
              <a:rPr lang="en-US" err="1"/>
              <a:t>Filosofi</a:t>
            </a:r>
            <a:r>
              <a:rPr lang="en-US"/>
              <a:t>/strategi</a:t>
            </a:r>
            <a:endParaRPr lang="da-DK"/>
          </a:p>
        </p:txBody>
      </p:sp>
      <p:sp>
        <p:nvSpPr>
          <p:cNvPr id="12" name="Pladsholder til slidenummer 11">
            <a:extLst>
              <a:ext uri="{FF2B5EF4-FFF2-40B4-BE49-F238E27FC236}">
                <a16:creationId xmlns:a16="http://schemas.microsoft.com/office/drawing/2014/main" id="{820DAB44-54BA-4EED-53EF-48CBC9A3B393}"/>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A9C6259-F55B-47A6-AB0B-9E9F0835A2F0}" type="slidenum">
              <a:rPr kumimoji="0" lang="da-DK" sz="800" b="0" i="0" u="none" strike="noStrike" kern="1200" cap="none" spc="0" normalizeH="0" baseline="0" noProof="0" smtClean="0">
                <a:ln>
                  <a:noFill/>
                </a:ln>
                <a:solidFill>
                  <a:srgbClr val="4DBCC6"/>
                </a:solidFill>
                <a:effectLst/>
                <a:uLnTx/>
                <a:uFillTx/>
                <a:latin typeface="Work Sans Light"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da-DK" sz="800" b="0" i="0" u="none" strike="noStrike" kern="1200" cap="none" spc="0" normalizeH="0" baseline="0" noProof="0">
              <a:ln>
                <a:noFill/>
              </a:ln>
              <a:solidFill>
                <a:srgbClr val="4DBCC6"/>
              </a:solidFill>
              <a:effectLst/>
              <a:uLnTx/>
              <a:uFillTx/>
              <a:latin typeface="Work Sans Light" pitchFamily="2" charset="0"/>
              <a:ea typeface="+mn-ea"/>
              <a:cs typeface="+mn-cs"/>
            </a:endParaRPr>
          </a:p>
        </p:txBody>
      </p:sp>
      <p:sp>
        <p:nvSpPr>
          <p:cNvPr id="21" name="Pladsholder til sidefod 4">
            <a:extLst>
              <a:ext uri="{FF2B5EF4-FFF2-40B4-BE49-F238E27FC236}">
                <a16:creationId xmlns:a16="http://schemas.microsoft.com/office/drawing/2014/main" id="{F9FD9270-C28C-F249-A7F8-0D2A967707A8}"/>
              </a:ext>
            </a:extLst>
          </p:cNvPr>
          <p:cNvSpPr txBox="1">
            <a:spLocks/>
          </p:cNvSpPr>
          <p:nvPr/>
        </p:nvSpPr>
        <p:spPr>
          <a:xfrm>
            <a:off x="9886157" y="124431"/>
            <a:ext cx="3744912" cy="144000"/>
          </a:xfrm>
          <a:prstGeom prst="rect">
            <a:avLst/>
          </a:prstGeom>
        </p:spPr>
        <p:txBody>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F4FAFE"/>
                </a:solidFill>
                <a:effectLst/>
                <a:uLnTx/>
                <a:uFillTx/>
                <a:latin typeface="Century Gothic" panose="020F0302020204030204"/>
                <a:ea typeface="+mn-ea"/>
                <a:cs typeface="+mn-cs"/>
              </a:rPr>
              <a:t>Markedsføringsmateriale</a:t>
            </a:r>
            <a:endParaRPr kumimoji="0" lang="da-DK" sz="1200" b="0" i="0" u="none" strike="noStrike" kern="1200" cap="none" spc="0" normalizeH="0" baseline="0" noProof="0">
              <a:ln>
                <a:noFill/>
              </a:ln>
              <a:solidFill>
                <a:srgbClr val="F4FAFE"/>
              </a:solidFill>
              <a:effectLst/>
              <a:uLnTx/>
              <a:uFillTx/>
              <a:latin typeface="Century Gothic" panose="020F0302020204030204"/>
              <a:ea typeface="+mn-ea"/>
              <a:cs typeface="+mn-cs"/>
            </a:endParaRPr>
          </a:p>
        </p:txBody>
      </p:sp>
      <p:sp>
        <p:nvSpPr>
          <p:cNvPr id="22" name="Pladsholder til tekst 7">
            <a:extLst>
              <a:ext uri="{FF2B5EF4-FFF2-40B4-BE49-F238E27FC236}">
                <a16:creationId xmlns:a16="http://schemas.microsoft.com/office/drawing/2014/main" id="{8F329CA4-1532-9E14-1FEC-05C33E6E7FDC}"/>
              </a:ext>
            </a:extLst>
          </p:cNvPr>
          <p:cNvSpPr txBox="1">
            <a:spLocks/>
          </p:cNvSpPr>
          <p:nvPr/>
        </p:nvSpPr>
        <p:spPr>
          <a:xfrm rot="5400000">
            <a:off x="8820727" y="2826200"/>
            <a:ext cx="2520000" cy="2520000"/>
          </a:xfrm>
          <a:prstGeom prst="round1Rect">
            <a:avLst/>
          </a:prstGeom>
          <a:solidFill>
            <a:schemeClr val="accent3">
              <a:lumMod val="75000"/>
            </a:schemeClr>
          </a:solidFill>
        </p:spPr>
        <p:txBody>
          <a:bodyPr vert="vert270" lIns="468000" tIns="468000" rIns="396000" bIns="144000" rtlCol="0" anchor="t">
            <a:noAutofit/>
          </a:bodyPr>
          <a:lstStyle>
            <a:lvl1pPr marL="0" indent="0" algn="l" defTabSz="914400" rtl="0" eaLnBrk="1" latinLnBrk="0" hangingPunct="1">
              <a:lnSpc>
                <a:spcPct val="100000"/>
              </a:lnSpc>
              <a:spcBef>
                <a:spcPts val="0"/>
              </a:spcBef>
              <a:buFont typeface="Arial" panose="020B0604020202020204" pitchFamily="34" charset="0"/>
              <a:buNone/>
              <a:defRPr sz="1400" b="0" i="0" kern="1200">
                <a:solidFill>
                  <a:schemeClr val="tx1"/>
                </a:solidFill>
                <a:latin typeface="Work Sans SemiBold" pitchFamily="2" charset="0"/>
                <a:ea typeface="+mn-ea"/>
                <a:cs typeface="+mn-cs"/>
              </a:defRPr>
            </a:lvl1pPr>
            <a:lvl2pPr marL="222250" indent="0" algn="l" defTabSz="914400" rtl="0" eaLnBrk="1" latinLnBrk="0" hangingPunct="1">
              <a:lnSpc>
                <a:spcPct val="120000"/>
              </a:lnSpc>
              <a:spcBef>
                <a:spcPts val="500"/>
              </a:spcBef>
              <a:buFont typeface="Arial" panose="020B0604020202020204" pitchFamily="34" charset="0"/>
              <a:buNone/>
              <a:tabLst>
                <a:tab pos="627063" algn="l"/>
              </a:tabLst>
              <a:defRPr sz="1400" b="0" i="0" kern="1200">
                <a:solidFill>
                  <a:schemeClr val="tx1"/>
                </a:solidFill>
                <a:latin typeface="Work Sans" pitchFamily="2" charset="0"/>
                <a:ea typeface="+mn-ea"/>
                <a:cs typeface="+mn-cs"/>
              </a:defRPr>
            </a:lvl2pPr>
            <a:lvl3pPr marL="542925" indent="0" algn="l" defTabSz="914400" rtl="0" eaLnBrk="1" latinLnBrk="0" hangingPunct="1">
              <a:lnSpc>
                <a:spcPct val="120000"/>
              </a:lnSpc>
              <a:spcBef>
                <a:spcPts val="0"/>
              </a:spcBef>
              <a:buFont typeface="Arial" panose="020B0604020202020204" pitchFamily="34" charset="0"/>
              <a:buNone/>
              <a:tabLst>
                <a:tab pos="712788" algn="l"/>
              </a:tabLst>
              <a:defRPr sz="1400" b="0" i="0" kern="1200">
                <a:solidFill>
                  <a:schemeClr val="tx1"/>
                </a:solidFill>
                <a:latin typeface="Work Sans" pitchFamily="2" charset="0"/>
                <a:ea typeface="+mn-ea"/>
                <a:cs typeface="+mn-cs"/>
              </a:defRPr>
            </a:lvl3pPr>
            <a:lvl4pPr marL="895350" indent="0" algn="l" defTabSz="914400" rtl="0" eaLnBrk="1" latinLnBrk="0" hangingPunct="1">
              <a:lnSpc>
                <a:spcPct val="120000"/>
              </a:lnSpc>
              <a:spcBef>
                <a:spcPts val="500"/>
              </a:spcBef>
              <a:buFont typeface="Arial" panose="020B0604020202020204" pitchFamily="34" charset="0"/>
              <a:buNone/>
              <a:tabLst/>
              <a:defRPr sz="1400" b="0" i="0" kern="1200">
                <a:solidFill>
                  <a:schemeClr val="tx1"/>
                </a:solidFill>
                <a:latin typeface="Work Sans" pitchFamily="2" charset="0"/>
                <a:ea typeface="+mn-ea"/>
                <a:cs typeface="+mn-cs"/>
              </a:defRPr>
            </a:lvl4pPr>
            <a:lvl5pPr marL="1166813" indent="0" algn="l" defTabSz="1165225" rtl="0" eaLnBrk="1" latinLnBrk="0" hangingPunct="1">
              <a:lnSpc>
                <a:spcPct val="120000"/>
              </a:lnSpc>
              <a:spcBef>
                <a:spcPts val="500"/>
              </a:spcBef>
              <a:buFont typeface="Arial" panose="020B0604020202020204" pitchFamily="34" charset="0"/>
              <a:buNone/>
              <a:tabLst/>
              <a:defRPr sz="1400" b="0" i="0" kern="1200">
                <a:solidFill>
                  <a:schemeClr val="tx1"/>
                </a:solidFill>
                <a:latin typeface="Work Sans"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err="1">
                <a:ln>
                  <a:noFill/>
                </a:ln>
                <a:solidFill>
                  <a:srgbClr val="F4FAFE"/>
                </a:solidFill>
                <a:effectLst/>
                <a:uLnTx/>
                <a:uFillTx/>
                <a:latin typeface="Work Sans SemiBold" pitchFamily="2" charset="0"/>
                <a:ea typeface="+mn-ea"/>
                <a:cs typeface="+mn-cs"/>
              </a:rPr>
              <a:t>Strukturelle</a:t>
            </a:r>
            <a:r>
              <a:rPr kumimoji="0" lang="en-US" sz="1400" b="0" i="0" u="none" strike="noStrike" kern="1200" cap="none" spc="0" normalizeH="0" baseline="0" noProof="0">
                <a:ln>
                  <a:noFill/>
                </a:ln>
                <a:solidFill>
                  <a:srgbClr val="F4FAFE"/>
                </a:solidFill>
                <a:effectLst/>
                <a:uLnTx/>
                <a:uFillTx/>
                <a:latin typeface="Work Sans SemiBold" pitchFamily="2" charset="0"/>
                <a:ea typeface="+mn-ea"/>
                <a:cs typeface="+mn-cs"/>
              </a:rPr>
              <a:t> trend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F4FAFE"/>
              </a:solidFill>
              <a:effectLst/>
              <a:uLnTx/>
              <a:uFillTx/>
              <a:latin typeface="Work Sans SemiBold"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da-DK" sz="1200" b="0" i="0" u="none" strike="noStrike" kern="1200" cap="none" spc="0" normalizeH="0" baseline="0" noProof="0">
                <a:ln>
                  <a:noFill/>
                </a:ln>
                <a:solidFill>
                  <a:srgbClr val="F4FAFE"/>
                </a:solidFill>
                <a:effectLst/>
                <a:uLnTx/>
                <a:uFillTx/>
                <a:latin typeface="Work Sans" pitchFamily="2" charset="0"/>
                <a:ea typeface="+mn-ea"/>
                <a:cs typeface="+mn-cs"/>
              </a:rPr>
              <a:t>Virksomheder, der er eksponeret mod langsigtede megatrends såsom digitalisering, energi-infrastruktur og AI‑drevet efterspørgsel.</a:t>
            </a:r>
          </a:p>
        </p:txBody>
      </p:sp>
      <p:pic>
        <p:nvPicPr>
          <p:cNvPr id="23" name="Pladsholder til indhold 17" descr="Cirkelpil kontur">
            <a:extLst>
              <a:ext uri="{FF2B5EF4-FFF2-40B4-BE49-F238E27FC236}">
                <a16:creationId xmlns:a16="http://schemas.microsoft.com/office/drawing/2014/main" id="{12EB9846-8DD0-4C00-E668-0B83E6BE91E6}"/>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10764465" y="2851836"/>
            <a:ext cx="576262" cy="576262"/>
          </a:xfrm>
          <a:prstGeom prst="rect">
            <a:avLst/>
          </a:prstGeom>
        </p:spPr>
      </p:pic>
    </p:spTree>
    <p:extLst>
      <p:ext uri="{BB962C8B-B14F-4D97-AF65-F5344CB8AC3E}">
        <p14:creationId xmlns:p14="http://schemas.microsoft.com/office/powerpoint/2010/main" val="30334969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41DE057-2FD7-0180-3DE6-0E6D101BC901}"/>
              </a:ext>
            </a:extLst>
          </p:cNvPr>
          <p:cNvSpPr>
            <a:spLocks noGrp="1"/>
          </p:cNvSpPr>
          <p:nvPr>
            <p:ph type="ctrTitle"/>
          </p:nvPr>
        </p:nvSpPr>
        <p:spPr>
          <a:xfrm>
            <a:off x="6096000" y="1537775"/>
            <a:ext cx="5662613" cy="498598"/>
          </a:xfrm>
        </p:spPr>
        <p:txBody>
          <a:bodyPr/>
          <a:lstStyle/>
          <a:p>
            <a:r>
              <a:rPr lang="en-US"/>
              <a:t>ESG </a:t>
            </a:r>
            <a:r>
              <a:rPr lang="en-US" err="1"/>
              <a:t>og</a:t>
            </a:r>
            <a:r>
              <a:rPr lang="en-US"/>
              <a:t> </a:t>
            </a:r>
            <a:r>
              <a:rPr lang="en-US" err="1"/>
              <a:t>bæredygtighed</a:t>
            </a:r>
            <a:endParaRPr lang="da-DK"/>
          </a:p>
        </p:txBody>
      </p:sp>
      <p:sp>
        <p:nvSpPr>
          <p:cNvPr id="3" name="Undertitel 2">
            <a:extLst>
              <a:ext uri="{FF2B5EF4-FFF2-40B4-BE49-F238E27FC236}">
                <a16:creationId xmlns:a16="http://schemas.microsoft.com/office/drawing/2014/main" id="{C1FEB85A-6B27-5AD2-994C-ED1905C7389B}"/>
              </a:ext>
            </a:extLst>
          </p:cNvPr>
          <p:cNvSpPr>
            <a:spLocks noGrp="1"/>
          </p:cNvSpPr>
          <p:nvPr>
            <p:ph type="subTitle" idx="1"/>
          </p:nvPr>
        </p:nvSpPr>
        <p:spPr>
          <a:xfrm>
            <a:off x="6103144" y="2222501"/>
            <a:ext cx="5655470" cy="3474914"/>
          </a:xfrm>
        </p:spPr>
        <p:txBody>
          <a:bodyPr/>
          <a:lstStyle/>
          <a:p>
            <a:pPr marL="0" indent="0">
              <a:buNone/>
            </a:pPr>
            <a:r>
              <a:rPr lang="da-DK"/>
              <a:t>Fonden Globale Aktier Columbia </a:t>
            </a:r>
            <a:r>
              <a:rPr lang="da-DK" err="1"/>
              <a:t>Threadneedle</a:t>
            </a:r>
            <a:r>
              <a:rPr lang="da-DK"/>
              <a:t>:</a:t>
            </a:r>
            <a:br>
              <a:rPr lang="da-DK"/>
            </a:br>
            <a:endParaRPr lang="da-DK"/>
          </a:p>
          <a:p>
            <a:r>
              <a:rPr lang="da-DK"/>
              <a:t>fremmer miljømæssige og sociale karakteristika i henhold til EU’s regler (SFDR artikel 8).</a:t>
            </a:r>
            <a:br>
              <a:rPr lang="da-DK"/>
            </a:br>
            <a:r>
              <a:rPr lang="da-DK"/>
              <a:t> </a:t>
            </a:r>
          </a:p>
          <a:p>
            <a:r>
              <a:rPr lang="da-DK"/>
              <a:t>investerer minimum 30 % af afdelingens formue i bæredygtige investeringer. </a:t>
            </a:r>
            <a:br>
              <a:rPr lang="da-DK"/>
            </a:br>
            <a:endParaRPr lang="da-DK"/>
          </a:p>
          <a:p>
            <a:r>
              <a:rPr lang="da-DK"/>
              <a:t>har en minimumsandel af bæredygtige investeringer med et miljømål i overensstemmelse med EU-klassificeringssystemet på 2 %.</a:t>
            </a:r>
            <a:br>
              <a:rPr lang="da-DK"/>
            </a:br>
            <a:endParaRPr lang="da-DK"/>
          </a:p>
          <a:p>
            <a:r>
              <a:rPr lang="da-DK"/>
              <a:t>følger </a:t>
            </a:r>
            <a:r>
              <a:rPr lang="da-DK" err="1"/>
              <a:t>BankInvests</a:t>
            </a:r>
            <a:r>
              <a:rPr lang="da-DK"/>
              <a:t> politik for ansvarlige investeringer og overholder </a:t>
            </a:r>
            <a:r>
              <a:rPr lang="da-DK" err="1"/>
              <a:t>BankInvests</a:t>
            </a:r>
            <a:r>
              <a:rPr lang="da-DK"/>
              <a:t> eksklusionsliste.</a:t>
            </a:r>
          </a:p>
        </p:txBody>
      </p:sp>
      <p:pic>
        <p:nvPicPr>
          <p:cNvPr id="10" name="Pladsholder til billede 9" descr="Snedækket bjergtop">
            <a:extLst>
              <a:ext uri="{FF2B5EF4-FFF2-40B4-BE49-F238E27FC236}">
                <a16:creationId xmlns:a16="http://schemas.microsoft.com/office/drawing/2014/main" id="{860F7399-F45C-03C6-3973-9742B5879FBE}"/>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l="16811" r="16811"/>
          <a:stretch>
            <a:fillRect/>
          </a:stretch>
        </p:blipFill>
        <p:spPr/>
      </p:pic>
      <p:sp>
        <p:nvSpPr>
          <p:cNvPr id="6" name="Pladsholder til tekst 5">
            <a:extLst>
              <a:ext uri="{FF2B5EF4-FFF2-40B4-BE49-F238E27FC236}">
                <a16:creationId xmlns:a16="http://schemas.microsoft.com/office/drawing/2014/main" id="{F943DEE8-1750-BB81-9541-08AA0D359DDE}"/>
              </a:ext>
            </a:extLst>
          </p:cNvPr>
          <p:cNvSpPr>
            <a:spLocks noGrp="1"/>
          </p:cNvSpPr>
          <p:nvPr>
            <p:ph type="body" sz="quarter" idx="15"/>
          </p:nvPr>
        </p:nvSpPr>
        <p:spPr/>
        <p:txBody>
          <a:bodyPr/>
          <a:lstStyle/>
          <a:p>
            <a:r>
              <a:rPr lang="en-US" err="1">
                <a:solidFill>
                  <a:schemeClr val="accent2"/>
                </a:solidFill>
                <a:hlinkClick r:id="rId4">
                  <a:extLst>
                    <a:ext uri="{A12FA001-AC4F-418D-AE19-62706E023703}">
                      <ahyp:hlinkClr xmlns:ahyp="http://schemas.microsoft.com/office/drawing/2018/hyperlinkcolor" val="tx"/>
                    </a:ext>
                  </a:extLst>
                </a:hlinkClick>
              </a:rPr>
              <a:t>Læs</a:t>
            </a:r>
            <a:r>
              <a:rPr lang="en-US">
                <a:solidFill>
                  <a:schemeClr val="accent2"/>
                </a:solidFill>
                <a:hlinkClick r:id="rId4">
                  <a:extLst>
                    <a:ext uri="{A12FA001-AC4F-418D-AE19-62706E023703}">
                      <ahyp:hlinkClr xmlns:ahyp="http://schemas.microsoft.com/office/drawing/2018/hyperlinkcolor" val="tx"/>
                    </a:ext>
                  </a:extLst>
                </a:hlinkClick>
              </a:rPr>
              <a:t> mere </a:t>
            </a:r>
            <a:r>
              <a:rPr lang="en-US" err="1">
                <a:solidFill>
                  <a:schemeClr val="accent2"/>
                </a:solidFill>
                <a:hlinkClick r:id="rId4">
                  <a:extLst>
                    <a:ext uri="{A12FA001-AC4F-418D-AE19-62706E023703}">
                      <ahyp:hlinkClr xmlns:ahyp="http://schemas.microsoft.com/office/drawing/2018/hyperlinkcolor" val="tx"/>
                    </a:ext>
                  </a:extLst>
                </a:hlinkClick>
              </a:rPr>
              <a:t>i</a:t>
            </a:r>
            <a:r>
              <a:rPr lang="en-US">
                <a:solidFill>
                  <a:schemeClr val="accent2"/>
                </a:solidFill>
                <a:hlinkClick r:id="rId4">
                  <a:extLst>
                    <a:ext uri="{A12FA001-AC4F-418D-AE19-62706E023703}">
                      <ahyp:hlinkClr xmlns:ahyp="http://schemas.microsoft.com/office/drawing/2018/hyperlinkcolor" val="tx"/>
                    </a:ext>
                  </a:extLst>
                </a:hlinkClick>
              </a:rPr>
              <a:t> </a:t>
            </a:r>
            <a:r>
              <a:rPr lang="en-US" err="1">
                <a:solidFill>
                  <a:schemeClr val="accent2"/>
                </a:solidFill>
                <a:hlinkClick r:id="rId4">
                  <a:extLst>
                    <a:ext uri="{A12FA001-AC4F-418D-AE19-62706E023703}">
                      <ahyp:hlinkClr xmlns:ahyp="http://schemas.microsoft.com/office/drawing/2018/hyperlinkcolor" val="tx"/>
                    </a:ext>
                  </a:extLst>
                </a:hlinkClick>
              </a:rPr>
              <a:t>fondens</a:t>
            </a:r>
            <a:r>
              <a:rPr lang="en-US">
                <a:solidFill>
                  <a:schemeClr val="accent2"/>
                </a:solidFill>
                <a:hlinkClick r:id="rId4">
                  <a:extLst>
                    <a:ext uri="{A12FA001-AC4F-418D-AE19-62706E023703}">
                      <ahyp:hlinkClr xmlns:ahyp="http://schemas.microsoft.com/office/drawing/2018/hyperlinkcolor" val="tx"/>
                    </a:ext>
                  </a:extLst>
                </a:hlinkClick>
              </a:rPr>
              <a:t> ESG-</a:t>
            </a:r>
            <a:r>
              <a:rPr lang="en-US" err="1">
                <a:solidFill>
                  <a:schemeClr val="accent2"/>
                </a:solidFill>
                <a:hlinkClick r:id="rId4">
                  <a:extLst>
                    <a:ext uri="{A12FA001-AC4F-418D-AE19-62706E023703}">
                      <ahyp:hlinkClr xmlns:ahyp="http://schemas.microsoft.com/office/drawing/2018/hyperlinkcolor" val="tx"/>
                    </a:ext>
                  </a:extLst>
                </a:hlinkClick>
              </a:rPr>
              <a:t>faktaark</a:t>
            </a:r>
            <a:endParaRPr lang="da-DK">
              <a:solidFill>
                <a:schemeClr val="accent2"/>
              </a:solidFill>
            </a:endParaRPr>
          </a:p>
        </p:txBody>
      </p:sp>
      <p:sp>
        <p:nvSpPr>
          <p:cNvPr id="8" name="Pladsholder til slidenummer 7">
            <a:extLst>
              <a:ext uri="{FF2B5EF4-FFF2-40B4-BE49-F238E27FC236}">
                <a16:creationId xmlns:a16="http://schemas.microsoft.com/office/drawing/2014/main" id="{F422DB9B-E385-428C-D01E-D7B6346264B7}"/>
              </a:ext>
            </a:extLst>
          </p:cNvPr>
          <p:cNvSpPr>
            <a:spLocks noGrp="1"/>
          </p:cNvSpPr>
          <p:nvPr>
            <p:ph type="sldNum" sz="quarter" idx="18"/>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A9C6259-F55B-47A6-AB0B-9E9F0835A2F0}" type="slidenum">
              <a:rPr kumimoji="0" lang="da-DK" sz="800" b="0" i="0" u="none" strike="noStrike" kern="1200" cap="none" spc="0" normalizeH="0" baseline="0" noProof="0" smtClean="0">
                <a:ln>
                  <a:noFill/>
                </a:ln>
                <a:solidFill>
                  <a:srgbClr val="4DBCC6"/>
                </a:solidFill>
                <a:effectLst/>
                <a:uLnTx/>
                <a:uFillTx/>
                <a:latin typeface="Work Sans Light"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da-DK" sz="800" b="0" i="0" u="none" strike="noStrike" kern="1200" cap="none" spc="0" normalizeH="0" baseline="0" noProof="0">
              <a:ln>
                <a:noFill/>
              </a:ln>
              <a:solidFill>
                <a:srgbClr val="4DBCC6"/>
              </a:solidFill>
              <a:effectLst/>
              <a:uLnTx/>
              <a:uFillTx/>
              <a:latin typeface="Work Sans Light" pitchFamily="2" charset="0"/>
              <a:ea typeface="+mn-ea"/>
              <a:cs typeface="+mn-cs"/>
            </a:endParaRPr>
          </a:p>
        </p:txBody>
      </p:sp>
      <p:sp>
        <p:nvSpPr>
          <p:cNvPr id="11" name="Pladsholder til sidefod 4">
            <a:extLst>
              <a:ext uri="{FF2B5EF4-FFF2-40B4-BE49-F238E27FC236}">
                <a16:creationId xmlns:a16="http://schemas.microsoft.com/office/drawing/2014/main" id="{3A9515CD-85E6-4E57-8E22-52DBC8C945B0}"/>
              </a:ext>
            </a:extLst>
          </p:cNvPr>
          <p:cNvSpPr txBox="1">
            <a:spLocks/>
          </p:cNvSpPr>
          <p:nvPr/>
        </p:nvSpPr>
        <p:spPr>
          <a:xfrm>
            <a:off x="9886157" y="124431"/>
            <a:ext cx="3744912" cy="144000"/>
          </a:xfrm>
          <a:prstGeom prst="rect">
            <a:avLst/>
          </a:prstGeom>
        </p:spPr>
        <p:txBody>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15304E"/>
                </a:solidFill>
                <a:effectLst/>
                <a:uLnTx/>
                <a:uFillTx/>
                <a:latin typeface="Work Sans Light"/>
                <a:ea typeface="+mn-ea"/>
                <a:cs typeface="+mn-cs"/>
              </a:rPr>
              <a:t>Markedsføringsmateriale</a:t>
            </a:r>
            <a:endParaRPr kumimoji="0" lang="da-DK" sz="1200" b="0" i="0" u="none" strike="noStrike" kern="1200" cap="none" spc="0" normalizeH="0" baseline="0" noProof="0">
              <a:ln>
                <a:noFill/>
              </a:ln>
              <a:solidFill>
                <a:srgbClr val="15304E"/>
              </a:solidFill>
              <a:effectLst/>
              <a:uLnTx/>
              <a:uFillTx/>
              <a:latin typeface="Work Sans Light"/>
              <a:ea typeface="+mn-ea"/>
              <a:cs typeface="+mn-cs"/>
            </a:endParaRPr>
          </a:p>
        </p:txBody>
      </p:sp>
    </p:spTree>
    <p:extLst>
      <p:ext uri="{BB962C8B-B14F-4D97-AF65-F5344CB8AC3E}">
        <p14:creationId xmlns:p14="http://schemas.microsoft.com/office/powerpoint/2010/main" val="38268054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E0B97A-2260-491E-9B40-0704B253D931}"/>
            </a:ext>
          </a:extLst>
        </p:cNvPr>
        <p:cNvGrpSpPr/>
        <p:nvPr/>
      </p:nvGrpSpPr>
      <p:grpSpPr>
        <a:xfrm>
          <a:off x="0" y="0"/>
          <a:ext cx="0" cy="0"/>
          <a:chOff x="0" y="0"/>
          <a:chExt cx="0" cy="0"/>
        </a:xfrm>
      </p:grpSpPr>
      <p:sp>
        <p:nvSpPr>
          <p:cNvPr id="12" name="Round Single Corner of Rectangle 4">
            <a:extLst>
              <a:ext uri="{FF2B5EF4-FFF2-40B4-BE49-F238E27FC236}">
                <a16:creationId xmlns:a16="http://schemas.microsoft.com/office/drawing/2014/main" id="{EB439FC4-B159-04F7-20B7-521A83AFEBB6}"/>
              </a:ext>
            </a:extLst>
          </p:cNvPr>
          <p:cNvSpPr/>
          <p:nvPr/>
        </p:nvSpPr>
        <p:spPr>
          <a:xfrm>
            <a:off x="1018132" y="2798789"/>
            <a:ext cx="2374978" cy="2020567"/>
          </a:xfrm>
          <a:prstGeom prst="round1Rect">
            <a:avLst>
              <a:gd name="adj" fmla="val 12498"/>
            </a:avLst>
          </a:prstGeom>
          <a:solidFill>
            <a:schemeClr val="bg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da-DK" sz="1100" b="1" i="0" u="none" strike="noStrike" kern="1200" cap="none" spc="0" normalizeH="0" baseline="0" noProof="0">
              <a:ln>
                <a:noFill/>
              </a:ln>
              <a:solidFill>
                <a:srgbClr val="F4FAFE"/>
              </a:solidFill>
              <a:effectLst/>
              <a:uLnTx/>
              <a:uFillTx/>
              <a:latin typeface="Work Sans" pitchFamily="2" charset="0"/>
              <a:ea typeface="+mn-ea"/>
              <a:cs typeface="+mn-cs"/>
            </a:endParaRPr>
          </a:p>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da-DK" sz="1100" b="1" i="0" u="none" strike="noStrike" kern="1200" cap="none" spc="0" normalizeH="0" baseline="0" noProof="0">
              <a:ln>
                <a:noFill/>
              </a:ln>
              <a:solidFill>
                <a:srgbClr val="F4FAFE"/>
              </a:solidFill>
              <a:effectLst/>
              <a:uLnTx/>
              <a:uFillTx/>
              <a:latin typeface="Work Sans" pitchFamily="2" charset="0"/>
              <a:ea typeface="+mn-ea"/>
              <a:cs typeface="+mn-cs"/>
            </a:endParaRP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a-DK" sz="1400" b="1" i="0" u="none" strike="noStrike" kern="1200" cap="none" spc="0" normalizeH="0" baseline="0" noProof="0">
                <a:ln>
                  <a:noFill/>
                </a:ln>
                <a:solidFill>
                  <a:srgbClr val="F4FAFE"/>
                </a:solidFill>
                <a:effectLst/>
                <a:uLnTx/>
                <a:uFillTx/>
                <a:latin typeface="Work Sans" pitchFamily="2" charset="0"/>
                <a:ea typeface="+mn-ea"/>
                <a:cs typeface="+mn-cs"/>
              </a:rPr>
              <a:t>Håndplukket global portefølje</a:t>
            </a:r>
            <a:endParaRPr kumimoji="0" lang="da-DK" sz="700" b="1" i="0" u="none" strike="noStrike" kern="1200" cap="none" spc="0" normalizeH="0" baseline="0" noProof="0">
              <a:ln>
                <a:noFill/>
              </a:ln>
              <a:solidFill>
                <a:srgbClr val="F4FAFE"/>
              </a:solidFill>
              <a:effectLst/>
              <a:uLnTx/>
              <a:uFillTx/>
              <a:latin typeface="Work Sans Light" pitchFamily="2" charset="0"/>
              <a:ea typeface="+mn-ea"/>
              <a:cs typeface="Times New Roman" panose="02020603050405020304" pitchFamily="18" charset="0"/>
            </a:endParaRP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a-DK" sz="1100" b="0" i="0" u="none" strike="noStrike" kern="1200" cap="none" spc="0" normalizeH="0" baseline="0" noProof="0">
                <a:ln>
                  <a:noFill/>
                </a:ln>
                <a:solidFill>
                  <a:srgbClr val="F4FAFE"/>
                </a:solidFill>
                <a:effectLst/>
                <a:uLnTx/>
                <a:uFillTx/>
                <a:latin typeface="Work Sans Light" pitchFamily="2" charset="0"/>
                <a:ea typeface="Century Gothic" panose="020B0502020202020204" pitchFamily="34" charset="0"/>
                <a:cs typeface="Times New Roman" panose="02020603050405020304" pitchFamily="18" charset="0"/>
              </a:rPr>
              <a:t>En koncentreret investering fordelt på 50–70 nøje udvalgte selskaber på tværs af sektorer og regioner.</a:t>
            </a:r>
          </a:p>
        </p:txBody>
      </p:sp>
      <p:sp>
        <p:nvSpPr>
          <p:cNvPr id="7" name="Round Single Corner of Rectangle 4">
            <a:extLst>
              <a:ext uri="{FF2B5EF4-FFF2-40B4-BE49-F238E27FC236}">
                <a16:creationId xmlns:a16="http://schemas.microsoft.com/office/drawing/2014/main" id="{B80DF00E-D0AB-78E6-F4E2-DF3311396F7C}"/>
              </a:ext>
            </a:extLst>
          </p:cNvPr>
          <p:cNvSpPr/>
          <p:nvPr/>
        </p:nvSpPr>
        <p:spPr>
          <a:xfrm>
            <a:off x="6231259" y="2798447"/>
            <a:ext cx="2374977" cy="2020200"/>
          </a:xfrm>
          <a:prstGeom prst="round1Rect">
            <a:avLst>
              <a:gd name="adj" fmla="val 12498"/>
            </a:avLst>
          </a:prstGeom>
          <a:solidFill>
            <a:schemeClr val="bg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da-DK" sz="1100" b="1" i="0" u="none" strike="noStrike" kern="1200" cap="none" spc="0" normalizeH="0" baseline="0" noProof="0">
              <a:ln>
                <a:noFill/>
              </a:ln>
              <a:solidFill>
                <a:srgbClr val="F4FAFE"/>
              </a:solidFill>
              <a:effectLst/>
              <a:uLnTx/>
              <a:uFillTx/>
              <a:latin typeface="Work Sans"/>
              <a:ea typeface="+mn-ea"/>
              <a:cs typeface="+mn-cs"/>
            </a:endParaRPr>
          </a:p>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da-DK" sz="900" b="1" i="0" u="none" strike="noStrike" kern="1200" cap="none" spc="0" normalizeH="0" baseline="0" noProof="0">
              <a:ln>
                <a:noFill/>
              </a:ln>
              <a:solidFill>
                <a:srgbClr val="F4FAFE"/>
              </a:solidFill>
              <a:effectLst/>
              <a:uLnTx/>
              <a:uFillTx/>
              <a:latin typeface="Work Sans"/>
              <a:ea typeface="+mn-ea"/>
              <a:cs typeface="+mn-cs"/>
            </a:endParaRPr>
          </a:p>
          <a:p>
            <a:pPr marL="0" marR="0" lvl="0" indent="0" algn="ctr" defTabSz="914400" rtl="0" eaLnBrk="1" fontAlgn="auto" latinLnBrk="0" hangingPunct="1">
              <a:lnSpc>
                <a:spcPct val="100000"/>
              </a:lnSpc>
              <a:spcBef>
                <a:spcPts val="0"/>
              </a:spcBef>
              <a:spcAft>
                <a:spcPts val="600"/>
              </a:spcAft>
              <a:buClrTx/>
              <a:buSzTx/>
              <a:buFontTx/>
              <a:buNone/>
              <a:tabLst/>
              <a:defRPr/>
            </a:pPr>
            <a:r>
              <a:rPr lang="da-DK" sz="1400" b="1">
                <a:solidFill>
                  <a:srgbClr val="F4FAFE"/>
                </a:solidFill>
                <a:latin typeface="Work Sans"/>
              </a:rPr>
              <a:t>G</a:t>
            </a:r>
            <a:r>
              <a:rPr kumimoji="0" lang="da-DK" sz="1400" b="1" i="0" u="none" strike="noStrike" kern="1200" cap="none" spc="0" normalizeH="0" baseline="0" noProof="0" err="1">
                <a:ln>
                  <a:noFill/>
                </a:ln>
                <a:solidFill>
                  <a:srgbClr val="F4FAFE"/>
                </a:solidFill>
                <a:effectLst/>
                <a:uLnTx/>
                <a:uFillTx/>
                <a:latin typeface="Work Sans"/>
                <a:ea typeface="+mn-ea"/>
                <a:cs typeface="+mn-cs"/>
              </a:rPr>
              <a:t>lobal</a:t>
            </a:r>
            <a:r>
              <a:rPr kumimoji="0" lang="da-DK" sz="1400" b="1" i="0" u="none" strike="noStrike" kern="1200" cap="none" spc="0" normalizeH="0" baseline="0" noProof="0">
                <a:ln>
                  <a:noFill/>
                </a:ln>
                <a:solidFill>
                  <a:srgbClr val="F4FAFE"/>
                </a:solidFill>
                <a:effectLst/>
                <a:uLnTx/>
                <a:uFillTx/>
                <a:latin typeface="Work Sans"/>
                <a:ea typeface="+mn-ea"/>
                <a:cs typeface="+mn-cs"/>
              </a:rPr>
              <a:t> </a:t>
            </a:r>
            <a:br>
              <a:rPr kumimoji="0" lang="da-DK" sz="1400" b="1" i="0" u="none" strike="noStrike" kern="1200" cap="none" spc="0" normalizeH="0" baseline="0" noProof="0">
                <a:ln>
                  <a:noFill/>
                </a:ln>
                <a:solidFill>
                  <a:srgbClr val="F4FAFE"/>
                </a:solidFill>
                <a:effectLst/>
                <a:uLnTx/>
                <a:uFillTx/>
                <a:latin typeface="Work Sans"/>
                <a:ea typeface="+mn-ea"/>
                <a:cs typeface="+mn-cs"/>
              </a:rPr>
            </a:br>
            <a:r>
              <a:rPr kumimoji="0" lang="da-DK" sz="1400" b="1" i="0" u="none" strike="noStrike" kern="1200" cap="none" spc="0" normalizeH="0" baseline="0" noProof="0">
                <a:ln>
                  <a:noFill/>
                </a:ln>
                <a:solidFill>
                  <a:srgbClr val="F4FAFE"/>
                </a:solidFill>
                <a:effectLst/>
                <a:uLnTx/>
                <a:uFillTx/>
                <a:latin typeface="Work Sans"/>
                <a:ea typeface="+mn-ea"/>
                <a:cs typeface="+mn-cs"/>
              </a:rPr>
              <a:t>eksponering</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a-DK" sz="1100" b="0" i="0" u="none" strike="noStrike" kern="1200" cap="none" spc="0" normalizeH="0" baseline="0" noProof="0">
                <a:ln>
                  <a:noFill/>
                </a:ln>
                <a:solidFill>
                  <a:srgbClr val="F4FAFE"/>
                </a:solidFill>
                <a:effectLst/>
                <a:uLnTx/>
                <a:uFillTx/>
                <a:latin typeface="Work Sans Light"/>
                <a:ea typeface="+mn-ea"/>
                <a:cs typeface="Times New Roman"/>
              </a:rPr>
              <a:t>Adgang til virksomheder både i udviklede lande og udvalgte vækstøkonomier.</a:t>
            </a:r>
            <a:endParaRPr kumimoji="0" lang="da-DK" sz="1100" b="0" i="0" u="none" strike="noStrike" kern="1200" cap="none" spc="0" normalizeH="0" baseline="0" noProof="0">
              <a:ln>
                <a:noFill/>
              </a:ln>
              <a:solidFill>
                <a:srgbClr val="F4FAFE"/>
              </a:solidFill>
              <a:effectLst/>
              <a:uLnTx/>
              <a:uFillTx/>
              <a:latin typeface="Work Sans"/>
              <a:ea typeface="+mn-ea"/>
              <a:cs typeface="Times New Roman"/>
            </a:endParaRPr>
          </a:p>
        </p:txBody>
      </p:sp>
      <p:graphicFrame>
        <p:nvGraphicFramePr>
          <p:cNvPr id="8" name="think-cell data - do not delete" hidden="1">
            <a:extLst>
              <a:ext uri="{FF2B5EF4-FFF2-40B4-BE49-F238E27FC236}">
                <a16:creationId xmlns:a16="http://schemas.microsoft.com/office/drawing/2014/main" id="{59659649-E687-8F95-E1ED-3329CE661E83}"/>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8" name="think-cell data - do not delete" hidden="1">
                        <a:extLst>
                          <a:ext uri="{FF2B5EF4-FFF2-40B4-BE49-F238E27FC236}">
                            <a16:creationId xmlns:a16="http://schemas.microsoft.com/office/drawing/2014/main" id="{59659649-E687-8F95-E1ED-3329CE661E8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ound Single Corner of Rectangle 4">
            <a:extLst>
              <a:ext uri="{FF2B5EF4-FFF2-40B4-BE49-F238E27FC236}">
                <a16:creationId xmlns:a16="http://schemas.microsoft.com/office/drawing/2014/main" id="{F6DC2A26-2D1F-DBEB-0A27-78D456BA2AE3}"/>
              </a:ext>
            </a:extLst>
          </p:cNvPr>
          <p:cNvSpPr/>
          <p:nvPr/>
        </p:nvSpPr>
        <p:spPr>
          <a:xfrm>
            <a:off x="8837823" y="2798447"/>
            <a:ext cx="2374977" cy="2020200"/>
          </a:xfrm>
          <a:prstGeom prst="round1Rect">
            <a:avLst>
              <a:gd name="adj" fmla="val 12498"/>
            </a:avLst>
          </a:prstGeom>
          <a:solidFill>
            <a:schemeClr val="bg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da-DK" sz="1100" b="1" i="0" u="none" strike="noStrike" kern="1200" cap="none" spc="0" normalizeH="0" baseline="0" noProof="0">
              <a:ln>
                <a:noFill/>
              </a:ln>
              <a:solidFill>
                <a:srgbClr val="F4FAFE"/>
              </a:solidFill>
              <a:effectLst/>
              <a:uLnTx/>
              <a:uFillTx/>
              <a:latin typeface="Work Sans"/>
              <a:ea typeface="+mn-ea"/>
              <a:cs typeface="+mn-cs"/>
            </a:endParaRPr>
          </a:p>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da-DK" sz="1100" b="1" i="0" u="none" strike="noStrike" kern="1200" cap="none" spc="0" normalizeH="0" baseline="0" noProof="0">
              <a:ln>
                <a:noFill/>
              </a:ln>
              <a:solidFill>
                <a:srgbClr val="F4FAFE"/>
              </a:solidFill>
              <a:effectLst/>
              <a:uLnTx/>
              <a:uFillTx/>
              <a:latin typeface="Work Sans"/>
              <a:ea typeface="+mn-ea"/>
              <a:cs typeface="+mn-cs"/>
            </a:endParaRP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a-DK" sz="1400" b="1" i="0" u="none" strike="noStrike" kern="1200" cap="none" spc="0" normalizeH="0" baseline="0" noProof="0">
                <a:ln>
                  <a:noFill/>
                </a:ln>
                <a:solidFill>
                  <a:srgbClr val="F4FAFE"/>
                </a:solidFill>
                <a:effectLst/>
                <a:uLnTx/>
                <a:uFillTx/>
                <a:latin typeface="Work Sans"/>
                <a:ea typeface="+mn-ea"/>
                <a:cs typeface="+mn-cs"/>
              </a:rPr>
              <a:t>Transparens og information</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a-DK" sz="1100" b="0" i="0" u="none" strike="noStrike" kern="1200" cap="none" spc="0" normalizeH="0" baseline="0" noProof="0">
                <a:ln>
                  <a:noFill/>
                </a:ln>
                <a:solidFill>
                  <a:srgbClr val="F4FAFE"/>
                </a:solidFill>
                <a:effectLst/>
                <a:uLnTx/>
                <a:uFillTx/>
                <a:latin typeface="Work Sans Light" pitchFamily="2" charset="0"/>
                <a:ea typeface="+mn-ea"/>
                <a:cs typeface="+mn-cs"/>
              </a:rPr>
              <a:t>Følg din investering </a:t>
            </a:r>
            <a:br>
              <a:rPr kumimoji="0" lang="da-DK" sz="1100" b="0" i="0" u="none" strike="noStrike" kern="1200" cap="none" spc="0" normalizeH="0" baseline="0" noProof="0">
                <a:ln>
                  <a:noFill/>
                </a:ln>
                <a:solidFill>
                  <a:srgbClr val="F4FAFE"/>
                </a:solidFill>
                <a:effectLst/>
                <a:uLnTx/>
                <a:uFillTx/>
                <a:latin typeface="Work Sans Light" pitchFamily="2" charset="0"/>
                <a:ea typeface="+mn-ea"/>
                <a:cs typeface="+mn-cs"/>
              </a:rPr>
            </a:br>
            <a:r>
              <a:rPr kumimoji="0" lang="da-DK" sz="1100" b="0" i="0" u="none" strike="noStrike" kern="1200" cap="none" spc="0" normalizeH="0" baseline="0" noProof="0">
                <a:ln>
                  <a:noFill/>
                </a:ln>
                <a:solidFill>
                  <a:srgbClr val="F4FAFE"/>
                </a:solidFill>
                <a:effectLst/>
                <a:uLnTx/>
                <a:uFillTx/>
                <a:latin typeface="Work Sans Light" pitchFamily="2" charset="0"/>
                <a:ea typeface="+mn-ea"/>
                <a:cs typeface="+mn-cs"/>
              </a:rPr>
              <a:t>dagligt på bankinvest.dk</a:t>
            </a:r>
          </a:p>
        </p:txBody>
      </p:sp>
      <p:sp>
        <p:nvSpPr>
          <p:cNvPr id="17" name="Round Single Corner of Rectangle 4">
            <a:extLst>
              <a:ext uri="{FF2B5EF4-FFF2-40B4-BE49-F238E27FC236}">
                <a16:creationId xmlns:a16="http://schemas.microsoft.com/office/drawing/2014/main" id="{BEF832D4-BD0C-D43B-942A-616B66BF0C41}"/>
              </a:ext>
            </a:extLst>
          </p:cNvPr>
          <p:cNvSpPr/>
          <p:nvPr/>
        </p:nvSpPr>
        <p:spPr>
          <a:xfrm>
            <a:off x="3624696" y="2831959"/>
            <a:ext cx="2374977" cy="2020200"/>
          </a:xfrm>
          <a:prstGeom prst="round1Rect">
            <a:avLst>
              <a:gd name="adj" fmla="val 12498"/>
            </a:avLst>
          </a:prstGeom>
          <a:solidFill>
            <a:schemeClr val="bg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da-DK" sz="1100" b="1" i="0" u="none" strike="noStrike" kern="1200" cap="none" spc="0" normalizeH="0" baseline="0" noProof="0">
              <a:ln>
                <a:noFill/>
              </a:ln>
              <a:solidFill>
                <a:srgbClr val="F4FAFE"/>
              </a:solidFill>
              <a:effectLst/>
              <a:uLnTx/>
              <a:uFillTx/>
              <a:latin typeface="Work Sans Light" pitchFamily="2" charset="0"/>
              <a:ea typeface="+mn-ea"/>
              <a:cs typeface="+mn-cs"/>
            </a:endParaRPr>
          </a:p>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da-DK" sz="1100" b="1" i="0" u="none" strike="noStrike" kern="1200" cap="none" spc="0" normalizeH="0" baseline="0" noProof="0">
              <a:ln>
                <a:noFill/>
              </a:ln>
              <a:solidFill>
                <a:srgbClr val="F4FAFE"/>
              </a:solidFill>
              <a:effectLst/>
              <a:uLnTx/>
              <a:uFillTx/>
              <a:latin typeface="Work Sans"/>
              <a:ea typeface="+mn-ea"/>
              <a:cs typeface="+mn-cs"/>
            </a:endParaRP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a-DK" sz="1400" b="1" i="0" u="none" strike="noStrike" kern="1200" cap="none" spc="0" normalizeH="0" baseline="0" noProof="0">
                <a:ln>
                  <a:noFill/>
                </a:ln>
                <a:solidFill>
                  <a:srgbClr val="F4FAFE"/>
                </a:solidFill>
                <a:effectLst/>
                <a:uLnTx/>
                <a:uFillTx/>
                <a:latin typeface="Work Sans"/>
                <a:ea typeface="+mn-ea"/>
                <a:cs typeface="+mn-cs"/>
              </a:rPr>
              <a:t>Fokus på kvalitet og </a:t>
            </a:r>
            <a:r>
              <a:rPr kumimoji="0" lang="da-DK" sz="1400" b="1" i="0" u="none" strike="noStrike" kern="1200" cap="none" spc="0" normalizeH="0" baseline="0" noProof="0">
                <a:ln>
                  <a:noFill/>
                </a:ln>
                <a:solidFill>
                  <a:schemeClr val="tx1"/>
                </a:solidFill>
                <a:effectLst/>
                <a:uLnTx/>
                <a:uFillTx/>
                <a:latin typeface="Work Sans"/>
                <a:ea typeface="+mn-ea"/>
                <a:cs typeface="+mn-cs"/>
              </a:rPr>
              <a:t>vækst</a:t>
            </a:r>
            <a:endParaRPr lang="da-DK" sz="700" b="1">
              <a:solidFill>
                <a:schemeClr val="tx1"/>
              </a:solidFill>
              <a:latin typeface="Work Sans Light" pitchFamily="2" charset="0"/>
            </a:endParaRPr>
          </a:p>
          <a:p>
            <a:pPr lvl="0" algn="ctr">
              <a:spcAft>
                <a:spcPts val="600"/>
              </a:spcAft>
              <a:defRPr/>
            </a:pPr>
            <a:r>
              <a:rPr kumimoji="0" lang="da-DK" sz="1100" b="0" i="0" u="none" strike="noStrike" kern="1200" cap="none" spc="0" normalizeH="0" baseline="0" noProof="0">
                <a:ln>
                  <a:noFill/>
                </a:ln>
                <a:solidFill>
                  <a:schemeClr val="tx1"/>
                </a:solidFill>
                <a:effectLst/>
                <a:uLnTx/>
                <a:uFillTx/>
                <a:latin typeface="Work Sans Light"/>
                <a:ea typeface="Century Gothic" panose="020B0502020202020204" pitchFamily="34" charset="0"/>
                <a:cs typeface="Times New Roman"/>
              </a:rPr>
              <a:t>Eksponering mod selskaber med </a:t>
            </a:r>
            <a:r>
              <a:rPr lang="da-DK" sz="1100">
                <a:solidFill>
                  <a:schemeClr val="tx1"/>
                </a:solidFill>
                <a:latin typeface="Work Sans Light" pitchFamily="2" charset="0"/>
              </a:rPr>
              <a:t>fokus på kvalitet, forretningsmodeller og selskaber med langsigtet vækstpotentiale.</a:t>
            </a:r>
            <a:endParaRPr kumimoji="0" lang="en-DK" sz="1100" b="0" i="0" u="none" strike="noStrike" kern="1200" cap="none" spc="0" normalizeH="0" baseline="0" noProof="0">
              <a:ln>
                <a:noFill/>
              </a:ln>
              <a:solidFill>
                <a:schemeClr val="tx1"/>
              </a:solidFill>
              <a:effectLst/>
              <a:highlight>
                <a:srgbClr val="00FFFF"/>
              </a:highlight>
              <a:uLnTx/>
              <a:uFillTx/>
              <a:latin typeface="Work Sans Light"/>
              <a:ea typeface="+mn-ea"/>
              <a:cs typeface="Times New Roman"/>
            </a:endParaRPr>
          </a:p>
        </p:txBody>
      </p:sp>
      <p:sp>
        <p:nvSpPr>
          <p:cNvPr id="9" name="Titel 2">
            <a:extLst>
              <a:ext uri="{FF2B5EF4-FFF2-40B4-BE49-F238E27FC236}">
                <a16:creationId xmlns:a16="http://schemas.microsoft.com/office/drawing/2014/main" id="{A735FF64-32B2-80B1-A714-3932EDEE35FD}"/>
              </a:ext>
            </a:extLst>
          </p:cNvPr>
          <p:cNvSpPr txBox="1">
            <a:spLocks/>
          </p:cNvSpPr>
          <p:nvPr/>
        </p:nvSpPr>
        <p:spPr>
          <a:xfrm>
            <a:off x="431799" y="431800"/>
            <a:ext cx="11326814" cy="8640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800" b="0" i="0" kern="1200">
                <a:solidFill>
                  <a:schemeClr val="tx1"/>
                </a:solidFill>
                <a:latin typeface="Work Sans Light" pitchFamily="2" charset="77"/>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a-DK" sz="2800" b="0" i="0" u="none" strike="noStrike" kern="1200" cap="none" spc="0" normalizeH="0" baseline="0" noProof="0">
                <a:ln>
                  <a:noFill/>
                </a:ln>
                <a:solidFill>
                  <a:srgbClr val="FFFFFF"/>
                </a:solidFill>
                <a:effectLst/>
                <a:uLnTx/>
                <a:uFillTx/>
                <a:latin typeface="Work Sans Light" pitchFamily="2" charset="0"/>
                <a:ea typeface="+mj-ea"/>
                <a:cs typeface="+mj-cs"/>
              </a:rPr>
              <a:t>Det får du som investor</a:t>
            </a:r>
            <a:endParaRPr kumimoji="0" lang="da-DK" sz="2800" b="0" i="0" u="none" strike="noStrike" kern="1200" cap="none" spc="0" normalizeH="0" baseline="0" noProof="0">
              <a:ln>
                <a:noFill/>
              </a:ln>
              <a:solidFill>
                <a:srgbClr val="FFFFFF"/>
              </a:solidFill>
              <a:effectLst/>
              <a:uLnTx/>
              <a:uFillTx/>
              <a:latin typeface="Work Sans Light" pitchFamily="2" charset="77"/>
              <a:ea typeface="+mj-ea"/>
              <a:cs typeface="+mj-cs"/>
            </a:endParaRPr>
          </a:p>
        </p:txBody>
      </p:sp>
      <p:sp>
        <p:nvSpPr>
          <p:cNvPr id="4" name="Pladsholder til sidefod 4">
            <a:extLst>
              <a:ext uri="{FF2B5EF4-FFF2-40B4-BE49-F238E27FC236}">
                <a16:creationId xmlns:a16="http://schemas.microsoft.com/office/drawing/2014/main" id="{B6B10647-D127-1091-881A-396D8AF2F4F7}"/>
              </a:ext>
            </a:extLst>
          </p:cNvPr>
          <p:cNvSpPr txBox="1">
            <a:spLocks/>
          </p:cNvSpPr>
          <p:nvPr/>
        </p:nvSpPr>
        <p:spPr>
          <a:xfrm>
            <a:off x="9886157" y="124431"/>
            <a:ext cx="3744912" cy="144000"/>
          </a:xfrm>
          <a:prstGeom prst="rect">
            <a:avLst/>
          </a:prstGeom>
        </p:spPr>
        <p:txBody>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F4FAFE"/>
                </a:solidFill>
                <a:effectLst/>
                <a:uLnTx/>
                <a:uFillTx/>
                <a:latin typeface="Century Gothic" panose="020F0302020204030204"/>
                <a:ea typeface="+mn-ea"/>
                <a:cs typeface="+mn-cs"/>
              </a:rPr>
              <a:t>Markedsføringsmateriale</a:t>
            </a:r>
            <a:endParaRPr kumimoji="0" lang="da-DK" sz="1200" b="0" i="0" u="none" strike="noStrike" kern="1200" cap="none" spc="0" normalizeH="0" baseline="0" noProof="0">
              <a:ln>
                <a:noFill/>
              </a:ln>
              <a:solidFill>
                <a:srgbClr val="F4FAFE"/>
              </a:solidFill>
              <a:effectLst/>
              <a:uLnTx/>
              <a:uFillTx/>
              <a:latin typeface="Century Gothic" panose="020F0302020204030204"/>
              <a:ea typeface="+mn-ea"/>
              <a:cs typeface="+mn-cs"/>
            </a:endParaRPr>
          </a:p>
        </p:txBody>
      </p:sp>
      <p:sp>
        <p:nvSpPr>
          <p:cNvPr id="2" name="Pladsholder til slidenummer 1">
            <a:extLst>
              <a:ext uri="{FF2B5EF4-FFF2-40B4-BE49-F238E27FC236}">
                <a16:creationId xmlns:a16="http://schemas.microsoft.com/office/drawing/2014/main" id="{28D5D05B-C1B5-D384-74E0-BE5348A991C7}"/>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A9C6259-F55B-47A6-AB0B-9E9F0835A2F0}" type="slidenum">
              <a:rPr kumimoji="0" lang="da-DK" sz="800" b="0" i="0" u="none" strike="noStrike" kern="1200" cap="none" spc="0" normalizeH="0" baseline="0" noProof="0" smtClean="0">
                <a:ln>
                  <a:noFill/>
                </a:ln>
                <a:solidFill>
                  <a:srgbClr val="4DBCC6"/>
                </a:solidFill>
                <a:effectLst/>
                <a:uLnTx/>
                <a:uFillTx/>
                <a:latin typeface="Work Sans Light"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da-DK" sz="800" b="0" i="0" u="none" strike="noStrike" kern="1200" cap="none" spc="0" normalizeH="0" baseline="0" noProof="0">
              <a:ln>
                <a:noFill/>
              </a:ln>
              <a:solidFill>
                <a:srgbClr val="4DBCC6"/>
              </a:solidFill>
              <a:effectLst/>
              <a:uLnTx/>
              <a:uFillTx/>
              <a:latin typeface="Work Sans Light" pitchFamily="2" charset="0"/>
              <a:ea typeface="+mn-ea"/>
              <a:cs typeface="+mn-cs"/>
            </a:endParaRPr>
          </a:p>
        </p:txBody>
      </p:sp>
    </p:spTree>
    <p:extLst>
      <p:ext uri="{BB962C8B-B14F-4D97-AF65-F5344CB8AC3E}">
        <p14:creationId xmlns:p14="http://schemas.microsoft.com/office/powerpoint/2010/main" val="36299849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98CED6-8764-FBB2-2299-06D1FAC59CD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53D0FA9-7324-3048-48E4-D069BE2F1FC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5" name="think-cell data - do not delete" hidden="1">
                        <a:extLst>
                          <a:ext uri="{FF2B5EF4-FFF2-40B4-BE49-F238E27FC236}">
                            <a16:creationId xmlns:a16="http://schemas.microsoft.com/office/drawing/2014/main" id="{053D0FA9-7324-3048-48E4-D069BE2F1F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9" name="Chart Placeholder 8">
            <a:extLst>
              <a:ext uri="{FF2B5EF4-FFF2-40B4-BE49-F238E27FC236}">
                <a16:creationId xmlns:a16="http://schemas.microsoft.com/office/drawing/2014/main" id="{1DDB98F7-683B-9BC8-5CB9-A7545F3F35AB}"/>
              </a:ext>
            </a:extLst>
          </p:cNvPr>
          <p:cNvGraphicFramePr>
            <a:graphicFrameLocks noGrp="1"/>
          </p:cNvGraphicFramePr>
          <p:nvPr>
            <p:ph type="chart" sz="quarter" idx="13"/>
            <p:extLst>
              <p:ext uri="{D42A27DB-BD31-4B8C-83A1-F6EECF244321}">
                <p14:modId xmlns:p14="http://schemas.microsoft.com/office/powerpoint/2010/main" val="3524755359"/>
              </p:ext>
            </p:extLst>
          </p:nvPr>
        </p:nvGraphicFramePr>
        <p:xfrm>
          <a:off x="425449" y="1758007"/>
          <a:ext cx="5400000" cy="4546035"/>
        </p:xfrm>
        <a:graphic>
          <a:graphicData uri="http://schemas.openxmlformats.org/drawingml/2006/chart">
            <c:chart xmlns:c="http://schemas.openxmlformats.org/drawingml/2006/chart" xmlns:r="http://schemas.openxmlformats.org/officeDocument/2006/relationships" r:id="rId6"/>
          </a:graphicData>
        </a:graphic>
      </p:graphicFrame>
      <p:sp>
        <p:nvSpPr>
          <p:cNvPr id="10" name="Titel 2">
            <a:extLst>
              <a:ext uri="{FF2B5EF4-FFF2-40B4-BE49-F238E27FC236}">
                <a16:creationId xmlns:a16="http://schemas.microsoft.com/office/drawing/2014/main" id="{786B7A4A-7366-9900-BC57-B64102F08FC1}"/>
              </a:ext>
            </a:extLst>
          </p:cNvPr>
          <p:cNvSpPr txBox="1">
            <a:spLocks/>
          </p:cNvSpPr>
          <p:nvPr/>
        </p:nvSpPr>
        <p:spPr>
          <a:xfrm>
            <a:off x="431799" y="431800"/>
            <a:ext cx="11326814" cy="864000"/>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2800" b="0" i="0" kern="1200">
                <a:solidFill>
                  <a:schemeClr val="tx1"/>
                </a:solidFill>
                <a:latin typeface="Work Sans Light" pitchFamily="2" charset="77"/>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a-DK" sz="2800" b="0" i="0" u="none" strike="noStrike" kern="1200" cap="none" spc="0" normalizeH="0" baseline="0" noProof="0">
                <a:ln>
                  <a:noFill/>
                </a:ln>
                <a:solidFill>
                  <a:srgbClr val="15304E"/>
                </a:solidFill>
                <a:effectLst/>
                <a:uLnTx/>
                <a:uFillTx/>
                <a:latin typeface="Work Sans Light"/>
                <a:ea typeface="+mj-ea"/>
                <a:cs typeface="+mj-cs"/>
              </a:rPr>
              <a:t>Historiske afkast</a:t>
            </a:r>
            <a:endParaRPr kumimoji="0" lang="en-US" sz="2800" b="0" i="0" u="none" strike="noStrike" kern="1200" cap="none" spc="0" normalizeH="0" baseline="0" noProof="0">
              <a:ln>
                <a:noFill/>
              </a:ln>
              <a:solidFill>
                <a:srgbClr val="15304E"/>
              </a:solidFill>
              <a:effectLst/>
              <a:uLnTx/>
              <a:uFillTx/>
              <a:latin typeface="Work Sans Light" pitchFamily="2" charset="77"/>
              <a:ea typeface="+mj-ea"/>
              <a:cs typeface="+mj-cs"/>
            </a:endParaRPr>
          </a:p>
        </p:txBody>
      </p:sp>
      <p:sp>
        <p:nvSpPr>
          <p:cNvPr id="8" name="Tekstfelt 7">
            <a:extLst>
              <a:ext uri="{FF2B5EF4-FFF2-40B4-BE49-F238E27FC236}">
                <a16:creationId xmlns:a16="http://schemas.microsoft.com/office/drawing/2014/main" id="{D2C399E7-0EB9-C0F6-E83A-366F4BA7256E}"/>
              </a:ext>
            </a:extLst>
          </p:cNvPr>
          <p:cNvSpPr txBox="1"/>
          <p:nvPr/>
        </p:nvSpPr>
        <p:spPr>
          <a:xfrm>
            <a:off x="415924" y="6436651"/>
            <a:ext cx="6096964"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a:ln>
                  <a:noFill/>
                </a:ln>
                <a:solidFill>
                  <a:srgbClr val="15304E"/>
                </a:solidFill>
                <a:effectLst/>
                <a:uLnTx/>
                <a:uFillTx/>
                <a:latin typeface="Work Sans Light"/>
                <a:ea typeface="+mn-ea"/>
                <a:cs typeface="+mn-cs"/>
              </a:rPr>
              <a:t>*Afkastdata til og med 31. december 2025 efter omkostninger.</a:t>
            </a:r>
          </a:p>
        </p:txBody>
      </p:sp>
      <p:graphicFrame>
        <p:nvGraphicFramePr>
          <p:cNvPr id="7" name="Chart Placeholder 11">
            <a:extLst>
              <a:ext uri="{FF2B5EF4-FFF2-40B4-BE49-F238E27FC236}">
                <a16:creationId xmlns:a16="http://schemas.microsoft.com/office/drawing/2014/main" id="{5AD60837-911A-84EE-63D0-AC9E798F5B2A}"/>
              </a:ext>
            </a:extLst>
          </p:cNvPr>
          <p:cNvGraphicFramePr>
            <a:graphicFrameLocks/>
          </p:cNvGraphicFramePr>
          <p:nvPr>
            <p:extLst>
              <p:ext uri="{D42A27DB-BD31-4B8C-83A1-F6EECF244321}">
                <p14:modId xmlns:p14="http://schemas.microsoft.com/office/powerpoint/2010/main" val="1090323279"/>
              </p:ext>
            </p:extLst>
          </p:nvPr>
        </p:nvGraphicFramePr>
        <p:xfrm>
          <a:off x="6105676" y="1758007"/>
          <a:ext cx="5670551" cy="4791305"/>
        </p:xfrm>
        <a:graphic>
          <a:graphicData uri="http://schemas.openxmlformats.org/drawingml/2006/chart">
            <c:chart xmlns:c="http://schemas.openxmlformats.org/drawingml/2006/chart" xmlns:r="http://schemas.openxmlformats.org/officeDocument/2006/relationships" r:id="rId7"/>
          </a:graphicData>
        </a:graphic>
      </p:graphicFrame>
      <p:sp>
        <p:nvSpPr>
          <p:cNvPr id="2" name="Rektangel: enkelt hjørne afrundet 1">
            <a:extLst>
              <a:ext uri="{FF2B5EF4-FFF2-40B4-BE49-F238E27FC236}">
                <a16:creationId xmlns:a16="http://schemas.microsoft.com/office/drawing/2014/main" id="{ABD99DDC-21A0-D1A9-6BE3-7CED00541F58}"/>
              </a:ext>
            </a:extLst>
          </p:cNvPr>
          <p:cNvSpPr/>
          <p:nvPr/>
        </p:nvSpPr>
        <p:spPr>
          <a:xfrm flipH="1" flipV="1">
            <a:off x="5825449" y="0"/>
            <a:ext cx="6366552" cy="1166191"/>
          </a:xfrm>
          <a:prstGeom prst="round1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 name="Tekstfelt 2">
            <a:extLst>
              <a:ext uri="{FF2B5EF4-FFF2-40B4-BE49-F238E27FC236}">
                <a16:creationId xmlns:a16="http://schemas.microsoft.com/office/drawing/2014/main" id="{66D81F29-AB80-3952-D6C1-66CD0F4508FE}"/>
              </a:ext>
            </a:extLst>
          </p:cNvPr>
          <p:cNvSpPr txBox="1"/>
          <p:nvPr/>
        </p:nvSpPr>
        <p:spPr>
          <a:xfrm>
            <a:off x="6105676" y="175128"/>
            <a:ext cx="6002394" cy="830997"/>
          </a:xfrm>
          <a:prstGeom prst="rect">
            <a:avLst/>
          </a:prstGeom>
          <a:noFill/>
        </p:spPr>
        <p:txBody>
          <a:bodyPr wrap="square">
            <a:spAutoFit/>
          </a:bodyPr>
          <a:lstStyle/>
          <a:p>
            <a:pPr fontAlgn="base"/>
            <a:r>
              <a:rPr lang="da-DK" sz="1200">
                <a:solidFill>
                  <a:schemeClr val="bg1"/>
                </a:solidFill>
              </a:rPr>
              <a:t>Tallene i materialet er historiske og tidligere afkast og/eller kursudviklinger kan ikke anvendes som pålidelig indikator for fremtidige afkast og/eller kursudvikling. Investeringsbeslutninger bør ske på baggrund af prospekt, vedtægter og central information. Informationen findes på bankinvest.dk. </a:t>
            </a:r>
          </a:p>
        </p:txBody>
      </p:sp>
    </p:spTree>
    <p:extLst>
      <p:ext uri="{BB962C8B-B14F-4D97-AF65-F5344CB8AC3E}">
        <p14:creationId xmlns:p14="http://schemas.microsoft.com/office/powerpoint/2010/main" val="14557347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ladsholder til indhold 7">
            <a:hlinkClick r:id="rId2"/>
            <a:extLst>
              <a:ext uri="{FF2B5EF4-FFF2-40B4-BE49-F238E27FC236}">
                <a16:creationId xmlns:a16="http://schemas.microsoft.com/office/drawing/2014/main" id="{3EB135AF-677F-A492-978D-412037A71ED8}"/>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t="5937" b="5937"/>
          <a:stretch/>
        </p:blipFill>
        <p:spPr>
          <a:xfrm>
            <a:off x="6876980" y="1438499"/>
            <a:ext cx="4319999" cy="4319999"/>
          </a:xfrm>
          <a:prstGeom prst="flowChartConnector">
            <a:avLst/>
          </a:prstGeom>
        </p:spPr>
      </p:pic>
      <p:sp>
        <p:nvSpPr>
          <p:cNvPr id="4" name="Pladsholder til slidenummer 3">
            <a:extLst>
              <a:ext uri="{FF2B5EF4-FFF2-40B4-BE49-F238E27FC236}">
                <a16:creationId xmlns:a16="http://schemas.microsoft.com/office/drawing/2014/main" id="{13A639E9-2099-AFA3-B709-978C629D598C}"/>
              </a:ext>
            </a:extLst>
          </p:cNvPr>
          <p:cNvSpPr>
            <a:spLocks noGrp="1"/>
          </p:cNvSpPr>
          <p:nvPr>
            <p:ph type="sldNum"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A9C6259-F55B-47A6-AB0B-9E9F0835A2F0}" type="slidenum">
              <a:rPr kumimoji="0" lang="da-DK" sz="800" b="0" i="0" u="none" strike="noStrike" kern="1200" cap="none" spc="0" normalizeH="0" baseline="0" noProof="0" smtClean="0">
                <a:ln>
                  <a:noFill/>
                </a:ln>
                <a:solidFill>
                  <a:srgbClr val="4DBCC6"/>
                </a:solidFill>
                <a:effectLst/>
                <a:uLnTx/>
                <a:uFillTx/>
                <a:latin typeface="Work Sans Light"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da-DK" sz="800" b="0" i="0" u="none" strike="noStrike" kern="1200" cap="none" spc="0" normalizeH="0" baseline="0" noProof="0">
              <a:ln>
                <a:noFill/>
              </a:ln>
              <a:solidFill>
                <a:srgbClr val="4DBCC6"/>
              </a:solidFill>
              <a:effectLst/>
              <a:uLnTx/>
              <a:uFillTx/>
              <a:latin typeface="Work Sans Light" pitchFamily="2" charset="0"/>
              <a:ea typeface="+mn-ea"/>
              <a:cs typeface="+mn-cs"/>
            </a:endParaRPr>
          </a:p>
        </p:txBody>
      </p:sp>
      <p:sp>
        <p:nvSpPr>
          <p:cNvPr id="13" name="Undertitel 4">
            <a:extLst>
              <a:ext uri="{FF2B5EF4-FFF2-40B4-BE49-F238E27FC236}">
                <a16:creationId xmlns:a16="http://schemas.microsoft.com/office/drawing/2014/main" id="{FDAE13B3-D736-30DD-4ED9-BD13DAC1B5EB}"/>
              </a:ext>
            </a:extLst>
          </p:cNvPr>
          <p:cNvSpPr txBox="1">
            <a:spLocks/>
          </p:cNvSpPr>
          <p:nvPr/>
        </p:nvSpPr>
        <p:spPr>
          <a:xfrm>
            <a:off x="441541" y="2616221"/>
            <a:ext cx="5664201" cy="576000"/>
          </a:xfrm>
          <a:prstGeom prst="rect">
            <a:avLst/>
          </a:prstGeom>
        </p:spPr>
        <p:txBody>
          <a:bodyPr vert="horz" lIns="36000" tIns="0" rIns="0" bIns="0" rtlCol="0" anchor="t">
            <a:noAutofit/>
          </a:bodyPr>
          <a:lstStyle>
            <a:lvl1pPr marL="0" indent="0" algn="l" defTabSz="914400" rtl="0" eaLnBrk="1" latinLnBrk="0" hangingPunct="1">
              <a:lnSpc>
                <a:spcPct val="120000"/>
              </a:lnSpc>
              <a:spcBef>
                <a:spcPts val="0"/>
              </a:spcBef>
              <a:buFont typeface="Arial" panose="020B0604020202020204" pitchFamily="34" charset="0"/>
              <a:buNone/>
              <a:defRPr sz="1400" b="0" i="0" kern="1200">
                <a:solidFill>
                  <a:schemeClr val="accent2"/>
                </a:solidFill>
                <a:latin typeface="Work Sans" pitchFamily="2" charset="0"/>
                <a:ea typeface="+mn-ea"/>
                <a:cs typeface="+mn-cs"/>
              </a:defRPr>
            </a:lvl1pPr>
            <a:lvl2pPr marL="457200" indent="0" algn="ctr" defTabSz="914400" rtl="0" eaLnBrk="1" latinLnBrk="0" hangingPunct="1">
              <a:lnSpc>
                <a:spcPct val="120000"/>
              </a:lnSpc>
              <a:spcBef>
                <a:spcPts val="500"/>
              </a:spcBef>
              <a:buFont typeface="Arial" panose="020B0604020202020204" pitchFamily="34" charset="0"/>
              <a:buNone/>
              <a:tabLst>
                <a:tab pos="627063" algn="l"/>
              </a:tabLst>
              <a:defRPr sz="2000" b="0" i="0" kern="1200">
                <a:solidFill>
                  <a:schemeClr val="tx1"/>
                </a:solidFill>
                <a:latin typeface="Work Sans" pitchFamily="2" charset="0"/>
                <a:ea typeface="+mn-ea"/>
                <a:cs typeface="+mn-cs"/>
              </a:defRPr>
            </a:lvl2pPr>
            <a:lvl3pPr marL="914400" indent="0" algn="ctr" defTabSz="914400" rtl="0" eaLnBrk="1" latinLnBrk="0" hangingPunct="1">
              <a:lnSpc>
                <a:spcPct val="120000"/>
              </a:lnSpc>
              <a:spcBef>
                <a:spcPts val="0"/>
              </a:spcBef>
              <a:buFont typeface="Arial" panose="020B0604020202020204" pitchFamily="34" charset="0"/>
              <a:buNone/>
              <a:tabLst>
                <a:tab pos="712788" algn="l"/>
              </a:tabLst>
              <a:defRPr sz="1800" b="0" i="0" kern="1200">
                <a:solidFill>
                  <a:schemeClr val="tx1"/>
                </a:solidFill>
                <a:latin typeface="Work Sans" pitchFamily="2" charset="0"/>
                <a:ea typeface="+mn-ea"/>
                <a:cs typeface="+mn-cs"/>
              </a:defRPr>
            </a:lvl3pPr>
            <a:lvl4pPr marL="1371600" indent="0" algn="ctr" defTabSz="914400" rtl="0" eaLnBrk="1" latinLnBrk="0" hangingPunct="1">
              <a:lnSpc>
                <a:spcPct val="120000"/>
              </a:lnSpc>
              <a:spcBef>
                <a:spcPts val="500"/>
              </a:spcBef>
              <a:buFont typeface="Arial" panose="020B0604020202020204" pitchFamily="34" charset="0"/>
              <a:buNone/>
              <a:tabLst/>
              <a:defRPr sz="1600" b="0" i="0" kern="1200">
                <a:solidFill>
                  <a:schemeClr val="tx1"/>
                </a:solidFill>
                <a:latin typeface="Work Sans" pitchFamily="2" charset="0"/>
                <a:ea typeface="+mn-ea"/>
                <a:cs typeface="+mn-cs"/>
              </a:defRPr>
            </a:lvl4pPr>
            <a:lvl5pPr marL="1828800" indent="0" algn="ctr" defTabSz="1165225" rtl="0" eaLnBrk="1" latinLnBrk="0" hangingPunct="1">
              <a:lnSpc>
                <a:spcPct val="120000"/>
              </a:lnSpc>
              <a:spcBef>
                <a:spcPts val="500"/>
              </a:spcBef>
              <a:buFont typeface="Arial" panose="020B0604020202020204" pitchFamily="34" charset="0"/>
              <a:buNone/>
              <a:tabLst/>
              <a:defRPr sz="1600" b="0" i="0" kern="1200">
                <a:solidFill>
                  <a:schemeClr val="tx1"/>
                </a:solidFill>
                <a:latin typeface="Work Sans" pitchFamily="2" charset="0"/>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300"/>
              </a:spcBef>
              <a:spcAft>
                <a:spcPts val="300"/>
              </a:spcAft>
              <a:buClrTx/>
              <a:buSzTx/>
              <a:buFont typeface="Arial" panose="020B0604020202020204" pitchFamily="34" charset="0"/>
              <a:buNone/>
              <a:tabLst/>
              <a:defRPr/>
            </a:pPr>
            <a:r>
              <a:rPr kumimoji="0" lang="da-DK" sz="1400" b="1" i="0" u="none" strike="noStrike" kern="1200" cap="none" spc="0" normalizeH="0" baseline="0" noProof="0">
                <a:ln>
                  <a:noFill/>
                </a:ln>
                <a:solidFill>
                  <a:srgbClr val="193A5F"/>
                </a:solidFill>
                <a:effectLst/>
                <a:uLnTx/>
                <a:uFillTx/>
                <a:latin typeface="Work Sans" pitchFamily="2" charset="0"/>
                <a:ea typeface="+mn-ea"/>
                <a:cs typeface="+mn-cs"/>
              </a:rPr>
              <a:t>På bankinvest.dk kan du følge med på produktsiden og se:</a:t>
            </a:r>
          </a:p>
          <a:p>
            <a:pPr marL="285750" marR="0" lvl="0" indent="-285750" algn="l" defTabSz="914400" rtl="0" eaLnBrk="1" fontAlgn="auto" latinLnBrk="0" hangingPunct="1">
              <a:lnSpc>
                <a:spcPct val="120000"/>
              </a:lnSpc>
              <a:spcBef>
                <a:spcPts val="300"/>
              </a:spcBef>
              <a:spcAft>
                <a:spcPts val="300"/>
              </a:spcAft>
              <a:buClrTx/>
              <a:buSzTx/>
              <a:buFont typeface="Arial" panose="020B0604020202020204" pitchFamily="34" charset="0"/>
              <a:buChar char="•"/>
              <a:tabLst/>
              <a:defRPr/>
            </a:pPr>
            <a:r>
              <a:rPr kumimoji="0" lang="da-DK" sz="1400" b="0" i="0" u="none" strike="noStrike" kern="1200" cap="none" spc="0" normalizeH="0" baseline="0" noProof="0">
                <a:ln>
                  <a:noFill/>
                </a:ln>
                <a:solidFill>
                  <a:srgbClr val="193A5F"/>
                </a:solidFill>
                <a:effectLst/>
                <a:uLnTx/>
                <a:uFillTx/>
                <a:latin typeface="Work Sans" pitchFamily="2" charset="0"/>
                <a:ea typeface="+mn-ea"/>
                <a:cs typeface="+mn-cs"/>
              </a:rPr>
              <a:t>Hvordan performer produktet?</a:t>
            </a:r>
          </a:p>
          <a:p>
            <a:pPr marL="285750" marR="0" lvl="0" indent="-285750" algn="l" defTabSz="914400" rtl="0" eaLnBrk="1" fontAlgn="auto" latinLnBrk="0" hangingPunct="1">
              <a:lnSpc>
                <a:spcPct val="120000"/>
              </a:lnSpc>
              <a:spcBef>
                <a:spcPts val="300"/>
              </a:spcBef>
              <a:spcAft>
                <a:spcPts val="300"/>
              </a:spcAft>
              <a:buClrTx/>
              <a:buSzTx/>
              <a:buFont typeface="Arial" panose="020B0604020202020204" pitchFamily="34" charset="0"/>
              <a:buChar char="•"/>
              <a:tabLst/>
              <a:defRPr/>
            </a:pPr>
            <a:r>
              <a:rPr kumimoji="0" lang="da-DK" sz="1400" b="0" i="0" u="none" strike="noStrike" kern="1200" cap="none" spc="0" normalizeH="0" baseline="0" noProof="0">
                <a:ln>
                  <a:noFill/>
                </a:ln>
                <a:solidFill>
                  <a:srgbClr val="193A5F"/>
                </a:solidFill>
                <a:effectLst/>
                <a:uLnTx/>
                <a:uFillTx/>
                <a:latin typeface="Work Sans" pitchFamily="2" charset="0"/>
                <a:ea typeface="+mn-ea"/>
                <a:cs typeface="+mn-cs"/>
              </a:rPr>
              <a:t>Hvilke selskaber, lande og sektorer investeres der i?</a:t>
            </a:r>
          </a:p>
          <a:p>
            <a:pPr marL="285750" marR="0" lvl="0" indent="-285750" algn="l" defTabSz="914400" rtl="0" eaLnBrk="1" fontAlgn="auto" latinLnBrk="0" hangingPunct="1">
              <a:lnSpc>
                <a:spcPct val="120000"/>
              </a:lnSpc>
              <a:spcBef>
                <a:spcPts val="300"/>
              </a:spcBef>
              <a:spcAft>
                <a:spcPts val="300"/>
              </a:spcAft>
              <a:buClrTx/>
              <a:buSzTx/>
              <a:buFont typeface="Arial" panose="020B0604020202020204" pitchFamily="34" charset="0"/>
              <a:buChar char="•"/>
              <a:tabLst/>
              <a:defRPr/>
            </a:pPr>
            <a:r>
              <a:rPr kumimoji="0" lang="da-DK" sz="1400" b="0" i="0" u="none" strike="noStrike" kern="1200" cap="none" spc="0" normalizeH="0" baseline="0" noProof="0">
                <a:ln>
                  <a:noFill/>
                </a:ln>
                <a:solidFill>
                  <a:srgbClr val="193A5F"/>
                </a:solidFill>
                <a:effectLst/>
                <a:uLnTx/>
                <a:uFillTx/>
                <a:latin typeface="Work Sans" pitchFamily="2" charset="0"/>
                <a:ea typeface="+mn-ea"/>
                <a:cs typeface="+mn-cs"/>
              </a:rPr>
              <a:t>En lang række fakta og juridisk information om produktet</a:t>
            </a:r>
          </a:p>
        </p:txBody>
      </p:sp>
      <p:sp>
        <p:nvSpPr>
          <p:cNvPr id="14" name="Titel 2">
            <a:extLst>
              <a:ext uri="{FF2B5EF4-FFF2-40B4-BE49-F238E27FC236}">
                <a16:creationId xmlns:a16="http://schemas.microsoft.com/office/drawing/2014/main" id="{8044AAAC-D85C-1691-CA6F-9179BD6D191E}"/>
              </a:ext>
            </a:extLst>
          </p:cNvPr>
          <p:cNvSpPr txBox="1">
            <a:spLocks/>
          </p:cNvSpPr>
          <p:nvPr/>
        </p:nvSpPr>
        <p:spPr>
          <a:xfrm>
            <a:off x="431799" y="431800"/>
            <a:ext cx="11326814" cy="8640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800" b="0" i="0" kern="1200">
                <a:solidFill>
                  <a:schemeClr val="tx1"/>
                </a:solidFill>
                <a:latin typeface="Work Sans Light" pitchFamily="2" charset="77"/>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a-DK" sz="2800" b="0" i="0" u="none" strike="noStrike" kern="1200" cap="none" spc="0" normalizeH="0" baseline="0" noProof="0">
                <a:ln>
                  <a:noFill/>
                </a:ln>
                <a:solidFill>
                  <a:srgbClr val="193A5F"/>
                </a:solidFill>
                <a:effectLst/>
                <a:uLnTx/>
                <a:uFillTx/>
                <a:latin typeface="Work Sans Light" pitchFamily="2" charset="0"/>
                <a:ea typeface="+mj-ea"/>
                <a:cs typeface="+mj-cs"/>
              </a:rPr>
              <a:t>Følg med i udviklingen</a:t>
            </a:r>
            <a:endParaRPr kumimoji="0" lang="da-DK" sz="2800" b="0" i="0" u="none" strike="noStrike" kern="1200" cap="none" spc="0" normalizeH="0" baseline="0" noProof="0">
              <a:ln>
                <a:noFill/>
              </a:ln>
              <a:solidFill>
                <a:srgbClr val="15304E"/>
              </a:solidFill>
              <a:effectLst/>
              <a:uLnTx/>
              <a:uFillTx/>
              <a:latin typeface="Work Sans Light" pitchFamily="2" charset="77"/>
              <a:ea typeface="+mj-ea"/>
              <a:cs typeface="+mj-cs"/>
            </a:endParaRPr>
          </a:p>
        </p:txBody>
      </p:sp>
      <p:pic>
        <p:nvPicPr>
          <p:cNvPr id="16" name="Grafik 15" descr="Tilbage kontur">
            <a:extLst>
              <a:ext uri="{FF2B5EF4-FFF2-40B4-BE49-F238E27FC236}">
                <a16:creationId xmlns:a16="http://schemas.microsoft.com/office/drawing/2014/main" id="{7F2BFD2D-6B3A-6757-36BD-FD76486199E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53627" y="4234118"/>
            <a:ext cx="623353" cy="623353"/>
          </a:xfrm>
          <a:prstGeom prst="rect">
            <a:avLst/>
          </a:prstGeom>
        </p:spPr>
      </p:pic>
      <p:sp>
        <p:nvSpPr>
          <p:cNvPr id="17" name="Pladsholder til sidefod 4">
            <a:extLst>
              <a:ext uri="{FF2B5EF4-FFF2-40B4-BE49-F238E27FC236}">
                <a16:creationId xmlns:a16="http://schemas.microsoft.com/office/drawing/2014/main" id="{CCB7F748-7C64-40C9-A987-DED023E1AED9}"/>
              </a:ext>
            </a:extLst>
          </p:cNvPr>
          <p:cNvSpPr txBox="1">
            <a:spLocks/>
          </p:cNvSpPr>
          <p:nvPr/>
        </p:nvSpPr>
        <p:spPr>
          <a:xfrm>
            <a:off x="9886157" y="124431"/>
            <a:ext cx="3744912" cy="144000"/>
          </a:xfrm>
          <a:prstGeom prst="rect">
            <a:avLst/>
          </a:prstGeom>
        </p:spPr>
        <p:txBody>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15304E"/>
                </a:solidFill>
                <a:effectLst/>
                <a:uLnTx/>
                <a:uFillTx/>
                <a:latin typeface="Work Sans Light"/>
                <a:ea typeface="+mn-ea"/>
                <a:cs typeface="+mn-cs"/>
              </a:rPr>
              <a:t>Markedsføringsmateriale</a:t>
            </a:r>
            <a:endParaRPr kumimoji="0" lang="da-DK" sz="1200" b="0" i="0" u="none" strike="noStrike" kern="1200" cap="none" spc="0" normalizeH="0" baseline="0" noProof="0">
              <a:ln>
                <a:noFill/>
              </a:ln>
              <a:solidFill>
                <a:srgbClr val="15304E"/>
              </a:solidFill>
              <a:effectLst/>
              <a:uLnTx/>
              <a:uFillTx/>
              <a:latin typeface="Work Sans Light"/>
              <a:ea typeface="+mn-ea"/>
              <a:cs typeface="+mn-cs"/>
            </a:endParaRPr>
          </a:p>
        </p:txBody>
      </p:sp>
      <p:sp>
        <p:nvSpPr>
          <p:cNvPr id="18" name="Tekstfelt 17">
            <a:extLst>
              <a:ext uri="{FF2B5EF4-FFF2-40B4-BE49-F238E27FC236}">
                <a16:creationId xmlns:a16="http://schemas.microsoft.com/office/drawing/2014/main" id="{427070BB-6F75-7D47-EC69-2BFA466726D1}"/>
              </a:ext>
            </a:extLst>
          </p:cNvPr>
          <p:cNvSpPr txBox="1"/>
          <p:nvPr/>
        </p:nvSpPr>
        <p:spPr>
          <a:xfrm>
            <a:off x="5700504" y="4824399"/>
            <a:ext cx="1244476"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srgbClr val="4DBCC6"/>
                </a:solidFill>
                <a:effectLst/>
                <a:uLnTx/>
                <a:uFillTx/>
                <a:latin typeface="Work Sans"/>
                <a:ea typeface="+mn-ea"/>
                <a:cs typeface="+mn-cs"/>
              </a:rPr>
              <a:t>Klik</a:t>
            </a:r>
            <a:r>
              <a:rPr kumimoji="0" lang="en-US" sz="1000" b="0" i="0" u="none" strike="noStrike" kern="1200" cap="none" spc="0" normalizeH="0" baseline="0" noProof="0">
                <a:ln>
                  <a:noFill/>
                </a:ln>
                <a:solidFill>
                  <a:srgbClr val="4DBCC6"/>
                </a:solidFill>
                <a:effectLst/>
                <a:uLnTx/>
                <a:uFillTx/>
                <a:latin typeface="Work Sans"/>
                <a:ea typeface="+mn-ea"/>
                <a:cs typeface="+mn-cs"/>
              </a:rPr>
              <a:t> her for at </a:t>
            </a:r>
            <a:r>
              <a:rPr kumimoji="0" lang="en-US" sz="1000" b="0" i="0" u="none" strike="noStrike" kern="1200" cap="none" spc="0" normalizeH="0" baseline="0" noProof="0" err="1">
                <a:ln>
                  <a:noFill/>
                </a:ln>
                <a:solidFill>
                  <a:srgbClr val="4DBCC6"/>
                </a:solidFill>
                <a:effectLst/>
                <a:uLnTx/>
                <a:uFillTx/>
                <a:latin typeface="Work Sans"/>
                <a:ea typeface="+mn-ea"/>
                <a:cs typeface="+mn-cs"/>
              </a:rPr>
              <a:t>gå</a:t>
            </a:r>
            <a:r>
              <a:rPr kumimoji="0" lang="en-US" sz="1000" b="0" i="0" u="none" strike="noStrike" kern="1200" cap="none" spc="0" normalizeH="0" baseline="0" noProof="0">
                <a:ln>
                  <a:noFill/>
                </a:ln>
                <a:solidFill>
                  <a:srgbClr val="4DBCC6"/>
                </a:solidFill>
                <a:effectLst/>
                <a:uLnTx/>
                <a:uFillTx/>
                <a:latin typeface="Work Sans"/>
                <a:ea typeface="+mn-ea"/>
                <a:cs typeface="+mn-cs"/>
              </a:rPr>
              <a:t> </a:t>
            </a:r>
            <a:br>
              <a:rPr kumimoji="0" lang="en-US" sz="1000" b="0" i="0" u="none" strike="noStrike" kern="1200" cap="none" spc="0" normalizeH="0" baseline="0" noProof="0">
                <a:ln>
                  <a:noFill/>
                </a:ln>
                <a:solidFill>
                  <a:srgbClr val="4DBCC6"/>
                </a:solidFill>
                <a:effectLst/>
                <a:uLnTx/>
                <a:uFillTx/>
                <a:latin typeface="Work Sans"/>
                <a:ea typeface="+mn-ea"/>
                <a:cs typeface="+mn-cs"/>
              </a:rPr>
            </a:br>
            <a:r>
              <a:rPr kumimoji="0" lang="en-US" sz="1000" b="0" i="0" u="none" strike="noStrike" kern="1200" cap="none" spc="0" normalizeH="0" baseline="0" noProof="0" err="1">
                <a:ln>
                  <a:noFill/>
                </a:ln>
                <a:solidFill>
                  <a:srgbClr val="4DBCC6"/>
                </a:solidFill>
                <a:effectLst/>
                <a:uLnTx/>
                <a:uFillTx/>
                <a:latin typeface="Work Sans"/>
                <a:ea typeface="+mn-ea"/>
                <a:cs typeface="+mn-cs"/>
              </a:rPr>
              <a:t>til</a:t>
            </a:r>
            <a:r>
              <a:rPr kumimoji="0" lang="en-US" sz="1000" b="0" i="0" u="none" strike="noStrike" kern="1200" cap="none" spc="0" normalizeH="0" baseline="0" noProof="0">
                <a:ln>
                  <a:noFill/>
                </a:ln>
                <a:solidFill>
                  <a:srgbClr val="4DBCC6"/>
                </a:solidFill>
                <a:effectLst/>
                <a:uLnTx/>
                <a:uFillTx/>
                <a:latin typeface="Work Sans"/>
                <a:ea typeface="+mn-ea"/>
                <a:cs typeface="+mn-cs"/>
              </a:rPr>
              <a:t> </a:t>
            </a:r>
            <a:r>
              <a:rPr kumimoji="0" lang="en-US" sz="1000" b="0" i="0" u="none" strike="noStrike" kern="1200" cap="none" spc="0" normalizeH="0" baseline="0" noProof="0" err="1">
                <a:ln>
                  <a:noFill/>
                </a:ln>
                <a:solidFill>
                  <a:srgbClr val="4DBCC6"/>
                </a:solidFill>
                <a:effectLst/>
                <a:uLnTx/>
                <a:uFillTx/>
                <a:latin typeface="Work Sans"/>
                <a:ea typeface="+mn-ea"/>
                <a:cs typeface="+mn-cs"/>
              </a:rPr>
              <a:t>produktsiden</a:t>
            </a:r>
            <a:endParaRPr kumimoji="0" lang="da-DK" sz="1000" b="0" i="0" u="none" strike="noStrike" kern="1200" cap="none" spc="0" normalizeH="0" baseline="0" noProof="0">
              <a:ln>
                <a:noFill/>
              </a:ln>
              <a:solidFill>
                <a:srgbClr val="4DBCC6"/>
              </a:solidFill>
              <a:effectLst/>
              <a:uLnTx/>
              <a:uFillTx/>
              <a:latin typeface="Work Sans"/>
              <a:ea typeface="+mn-ea"/>
              <a:cs typeface="+mn-cs"/>
            </a:endParaRPr>
          </a:p>
        </p:txBody>
      </p:sp>
    </p:spTree>
    <p:extLst>
      <p:ext uri="{BB962C8B-B14F-4D97-AF65-F5344CB8AC3E}">
        <p14:creationId xmlns:p14="http://schemas.microsoft.com/office/powerpoint/2010/main" val="42502878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6A7986-C238-0BAD-84D2-57C5FABE56BA}"/>
            </a:ext>
          </a:extLst>
        </p:cNvPr>
        <p:cNvGrpSpPr/>
        <p:nvPr/>
      </p:nvGrpSpPr>
      <p:grpSpPr>
        <a:xfrm>
          <a:off x="0" y="0"/>
          <a:ext cx="0" cy="0"/>
          <a:chOff x="0" y="0"/>
          <a:chExt cx="0" cy="0"/>
        </a:xfrm>
      </p:grpSpPr>
      <p:sp>
        <p:nvSpPr>
          <p:cNvPr id="3" name="Rektangel: enkelt hjørne afrundet 2">
            <a:extLst>
              <a:ext uri="{FF2B5EF4-FFF2-40B4-BE49-F238E27FC236}">
                <a16:creationId xmlns:a16="http://schemas.microsoft.com/office/drawing/2014/main" id="{5DE625DA-F6C6-1D39-B65C-27EB661F010B}"/>
              </a:ext>
            </a:extLst>
          </p:cNvPr>
          <p:cNvSpPr/>
          <p:nvPr/>
        </p:nvSpPr>
        <p:spPr>
          <a:xfrm flipH="1">
            <a:off x="7514492" y="3949658"/>
            <a:ext cx="4677506" cy="2908343"/>
          </a:xfrm>
          <a:prstGeom prst="round1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432000" rIns="432000" bIns="720000" rtlCol="0" anchor="b" anchorCtr="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da-DK" sz="1400" b="0" i="0" u="none" strike="noStrike" kern="1200" cap="none" spc="0" normalizeH="0" baseline="0" noProof="0">
              <a:ln>
                <a:noFill/>
              </a:ln>
              <a:solidFill>
                <a:srgbClr val="002B5C"/>
              </a:solidFill>
              <a:effectLst/>
              <a:uLnTx/>
              <a:uFillTx/>
              <a:latin typeface="Work Sans Light" pitchFamily="2" charset="0"/>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da-DK" sz="1400" b="0" i="0" u="none" strike="noStrike" kern="1200" cap="none" spc="0" normalizeH="0" baseline="0" noProof="0">
              <a:ln>
                <a:noFill/>
              </a:ln>
              <a:solidFill>
                <a:srgbClr val="002B5C"/>
              </a:solidFill>
              <a:effectLst/>
              <a:uLnTx/>
              <a:uFillTx/>
              <a:latin typeface="Work Sans Light" pitchFamily="2" charset="0"/>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da-DK" sz="1400" b="0" i="0" u="none" strike="noStrike" kern="1200" cap="none" spc="0" normalizeH="0" baseline="0" noProof="0">
              <a:ln>
                <a:noFill/>
              </a:ln>
              <a:solidFill>
                <a:srgbClr val="002B5C"/>
              </a:solidFill>
              <a:effectLst/>
              <a:uLnTx/>
              <a:uFillTx/>
              <a:latin typeface="Work Sans Light" pitchFamily="2" charset="0"/>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da-DK" sz="1400" b="0" i="0" u="none" strike="noStrike" kern="1200" cap="none" spc="0" normalizeH="0" baseline="0" noProof="0">
              <a:ln>
                <a:noFill/>
              </a:ln>
              <a:solidFill>
                <a:srgbClr val="002B5C"/>
              </a:solidFill>
              <a:effectLst/>
              <a:uLnTx/>
              <a:uFillTx/>
              <a:latin typeface="Work Sans Light" pitchFamily="2" charset="0"/>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da-DK" sz="1400" b="0" i="0" u="none" strike="noStrike" kern="1200" cap="none" spc="0" normalizeH="0" baseline="0" noProof="0">
              <a:ln>
                <a:noFill/>
              </a:ln>
              <a:solidFill>
                <a:srgbClr val="002B5C"/>
              </a:solidFill>
              <a:effectLst/>
              <a:uLnTx/>
              <a:uFillTx/>
              <a:latin typeface="Work Sans Light" pitchFamily="2" charset="0"/>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da-DK" sz="1400" b="0" i="0" u="none" strike="noStrike" kern="1200" cap="none" spc="0" normalizeH="0" baseline="0" noProof="0">
              <a:ln>
                <a:noFill/>
              </a:ln>
              <a:solidFill>
                <a:srgbClr val="002B5C"/>
              </a:solidFill>
              <a:effectLst/>
              <a:uLnTx/>
              <a:uFillTx/>
              <a:latin typeface="Work Sans Light" pitchFamily="2" charset="0"/>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da-DK" sz="1400" b="0" i="0" u="none" strike="noStrike" kern="1200" cap="none" spc="0" normalizeH="0" baseline="0" noProof="0">
              <a:ln>
                <a:noFill/>
              </a:ln>
              <a:solidFill>
                <a:srgbClr val="002B5C"/>
              </a:solidFill>
              <a:effectLst/>
              <a:uLnTx/>
              <a:uFillTx/>
              <a:latin typeface="Work Sans Light" pitchFamily="2" charset="0"/>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da-DK" sz="1400" b="0" i="0" u="none" strike="noStrike" kern="1200" cap="none" spc="0" normalizeH="0" baseline="0" noProof="0">
              <a:ln>
                <a:noFill/>
              </a:ln>
              <a:solidFill>
                <a:srgbClr val="002B5C"/>
              </a:solidFill>
              <a:effectLst/>
              <a:uLnTx/>
              <a:uFillTx/>
              <a:latin typeface="Work Sans Light" pitchFamily="2" charset="0"/>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da-DK" sz="1400" b="0" i="0" u="none" strike="noStrike" kern="1200" cap="none" spc="0" normalizeH="0" baseline="0" noProof="0">
              <a:ln>
                <a:noFill/>
              </a:ln>
              <a:solidFill>
                <a:srgbClr val="002B5C"/>
              </a:solidFill>
              <a:effectLst/>
              <a:uLnTx/>
              <a:uFillTx/>
              <a:latin typeface="Work Sans Light" pitchFamily="2" charset="0"/>
              <a:ea typeface="+mn-ea"/>
              <a:cs typeface="+mn-cs"/>
            </a:endParaRPr>
          </a:p>
        </p:txBody>
      </p:sp>
      <p:sp>
        <p:nvSpPr>
          <p:cNvPr id="13" name="Content Placeholder 2">
            <a:extLst>
              <a:ext uri="{FF2B5EF4-FFF2-40B4-BE49-F238E27FC236}">
                <a16:creationId xmlns:a16="http://schemas.microsoft.com/office/drawing/2014/main" id="{D057771D-4B3F-C481-0835-9742DBD8C5AA}"/>
              </a:ext>
            </a:extLst>
          </p:cNvPr>
          <p:cNvSpPr>
            <a:spLocks noGrp="1"/>
          </p:cNvSpPr>
          <p:nvPr>
            <p:ph type="subTitle" idx="1"/>
          </p:nvPr>
        </p:nvSpPr>
        <p:spPr/>
        <p:txBody>
          <a:bodyPr vert="horz" lIns="0" tIns="0" rIns="0" bIns="0" rtlCol="0" anchor="t">
            <a:noAutofit/>
          </a:bodyPr>
          <a:lstStyle/>
          <a:p>
            <a:pPr marL="0" indent="0" algn="ctr">
              <a:buNone/>
            </a:pPr>
            <a:r>
              <a:rPr lang="en-US" sz="900" b="1">
                <a:solidFill>
                  <a:schemeClr val="bg1"/>
                </a:solidFill>
                <a:latin typeface="Work Sans Light" pitchFamily="2" charset="0"/>
              </a:rPr>
              <a:t>Artikel 8</a:t>
            </a:r>
          </a:p>
        </p:txBody>
      </p:sp>
      <p:sp>
        <p:nvSpPr>
          <p:cNvPr id="7" name="Title 6">
            <a:extLst>
              <a:ext uri="{FF2B5EF4-FFF2-40B4-BE49-F238E27FC236}">
                <a16:creationId xmlns:a16="http://schemas.microsoft.com/office/drawing/2014/main" id="{297415F8-02D3-7DF0-B24A-8248199FDC98}"/>
              </a:ext>
            </a:extLst>
          </p:cNvPr>
          <p:cNvSpPr>
            <a:spLocks noGrp="1"/>
          </p:cNvSpPr>
          <p:nvPr>
            <p:ph type="title"/>
          </p:nvPr>
        </p:nvSpPr>
        <p:spPr/>
        <p:txBody>
          <a:bodyPr/>
          <a:lstStyle/>
          <a:p>
            <a:r>
              <a:rPr lang="da-DK" sz="2800">
                <a:solidFill>
                  <a:schemeClr val="tx1"/>
                </a:solidFill>
                <a:latin typeface="Work Sans Light" pitchFamily="2" charset="0"/>
              </a:rPr>
              <a:t>Fondsinformation</a:t>
            </a:r>
            <a:endParaRPr lang="da-DK" sz="1300" b="0">
              <a:latin typeface="Work Sans Light" pitchFamily="2" charset="0"/>
            </a:endParaRPr>
          </a:p>
        </p:txBody>
      </p:sp>
      <p:sp>
        <p:nvSpPr>
          <p:cNvPr id="4" name="AutoShape 2" descr="Billedresultat for ipad.png">
            <a:extLst>
              <a:ext uri="{FF2B5EF4-FFF2-40B4-BE49-F238E27FC236}">
                <a16:creationId xmlns:a16="http://schemas.microsoft.com/office/drawing/2014/main" id="{57AEE153-A726-1BB5-8936-F863665EBCB0}"/>
              </a:ext>
            </a:extLst>
          </p:cNvPr>
          <p:cNvSpPr>
            <a:spLocks noChangeAspect="1" noChangeArrowheads="1"/>
          </p:cNvSpPr>
          <p:nvPr/>
        </p:nvSpPr>
        <p:spPr bwMode="auto">
          <a:xfrm>
            <a:off x="0" y="-192617"/>
            <a:ext cx="406400" cy="4064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2400" b="0" i="0" u="none" strike="noStrike" kern="1200" cap="none" spc="0" normalizeH="0" baseline="0" noProof="0">
              <a:ln>
                <a:noFill/>
              </a:ln>
              <a:solidFill>
                <a:prstClr val="black"/>
              </a:solidFill>
              <a:effectLst/>
              <a:uLnTx/>
              <a:uFillTx/>
              <a:latin typeface="Work Sans Light" pitchFamily="2" charset="0"/>
              <a:ea typeface="+mn-ea"/>
              <a:cs typeface="+mn-cs"/>
            </a:endParaRPr>
          </a:p>
        </p:txBody>
      </p:sp>
      <p:sp>
        <p:nvSpPr>
          <p:cNvPr id="6" name="AutoShape 4" descr="Billedresultat for ipad.png">
            <a:extLst>
              <a:ext uri="{FF2B5EF4-FFF2-40B4-BE49-F238E27FC236}">
                <a16:creationId xmlns:a16="http://schemas.microsoft.com/office/drawing/2014/main" id="{AC4BF409-1AB6-8B89-95E7-B0B72CC7B1D6}"/>
              </a:ext>
            </a:extLst>
          </p:cNvPr>
          <p:cNvSpPr>
            <a:spLocks noChangeAspect="1" noChangeArrowheads="1"/>
          </p:cNvSpPr>
          <p:nvPr/>
        </p:nvSpPr>
        <p:spPr bwMode="auto">
          <a:xfrm>
            <a:off x="203200" y="10584"/>
            <a:ext cx="406400" cy="4064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2400" b="0" i="0" u="none" strike="noStrike" kern="1200" cap="none" spc="0" normalizeH="0" baseline="0" noProof="0">
              <a:ln>
                <a:noFill/>
              </a:ln>
              <a:solidFill>
                <a:prstClr val="black"/>
              </a:solidFill>
              <a:effectLst/>
              <a:uLnTx/>
              <a:uFillTx/>
              <a:latin typeface="Work Sans Light" pitchFamily="2" charset="0"/>
              <a:ea typeface="+mn-ea"/>
              <a:cs typeface="+mn-cs"/>
            </a:endParaRPr>
          </a:p>
        </p:txBody>
      </p:sp>
      <p:graphicFrame>
        <p:nvGraphicFramePr>
          <p:cNvPr id="31" name="Table 25">
            <a:extLst>
              <a:ext uri="{FF2B5EF4-FFF2-40B4-BE49-F238E27FC236}">
                <a16:creationId xmlns:a16="http://schemas.microsoft.com/office/drawing/2014/main" id="{3EEAC595-389F-570B-50DF-431511D8020D}"/>
              </a:ext>
            </a:extLst>
          </p:cNvPr>
          <p:cNvGraphicFramePr>
            <a:graphicFrameLocks/>
          </p:cNvGraphicFramePr>
          <p:nvPr>
            <p:extLst>
              <p:ext uri="{D42A27DB-BD31-4B8C-83A1-F6EECF244321}">
                <p14:modId xmlns:p14="http://schemas.microsoft.com/office/powerpoint/2010/main" val="2527614948"/>
              </p:ext>
            </p:extLst>
          </p:nvPr>
        </p:nvGraphicFramePr>
        <p:xfrm>
          <a:off x="333411" y="1678767"/>
          <a:ext cx="11314288" cy="1277682"/>
        </p:xfrm>
        <a:graphic>
          <a:graphicData uri="http://schemas.openxmlformats.org/drawingml/2006/table">
            <a:tbl>
              <a:tblPr firstRow="1" bandRow="1">
                <a:tableStyleId>{5940675A-B579-460E-94D1-54222C63F5DA}</a:tableStyleId>
              </a:tblPr>
              <a:tblGrid>
                <a:gridCol w="2052560">
                  <a:extLst>
                    <a:ext uri="{9D8B030D-6E8A-4147-A177-3AD203B41FA5}">
                      <a16:colId xmlns:a16="http://schemas.microsoft.com/office/drawing/2014/main" val="3035404675"/>
                    </a:ext>
                  </a:extLst>
                </a:gridCol>
                <a:gridCol w="1566322">
                  <a:extLst>
                    <a:ext uri="{9D8B030D-6E8A-4147-A177-3AD203B41FA5}">
                      <a16:colId xmlns:a16="http://schemas.microsoft.com/office/drawing/2014/main" val="2899795001"/>
                    </a:ext>
                  </a:extLst>
                </a:gridCol>
                <a:gridCol w="1109880">
                  <a:extLst>
                    <a:ext uri="{9D8B030D-6E8A-4147-A177-3AD203B41FA5}">
                      <a16:colId xmlns:a16="http://schemas.microsoft.com/office/drawing/2014/main" val="3070081632"/>
                    </a:ext>
                  </a:extLst>
                </a:gridCol>
                <a:gridCol w="1140993">
                  <a:extLst>
                    <a:ext uri="{9D8B030D-6E8A-4147-A177-3AD203B41FA5}">
                      <a16:colId xmlns:a16="http://schemas.microsoft.com/office/drawing/2014/main" val="284879055"/>
                    </a:ext>
                  </a:extLst>
                </a:gridCol>
                <a:gridCol w="1186249">
                  <a:extLst>
                    <a:ext uri="{9D8B030D-6E8A-4147-A177-3AD203B41FA5}">
                      <a16:colId xmlns:a16="http://schemas.microsoft.com/office/drawing/2014/main" val="1764955"/>
                    </a:ext>
                  </a:extLst>
                </a:gridCol>
                <a:gridCol w="1419428">
                  <a:extLst>
                    <a:ext uri="{9D8B030D-6E8A-4147-A177-3AD203B41FA5}">
                      <a16:colId xmlns:a16="http://schemas.microsoft.com/office/drawing/2014/main" val="1198689630"/>
                    </a:ext>
                  </a:extLst>
                </a:gridCol>
                <a:gridCol w="1419428">
                  <a:extLst>
                    <a:ext uri="{9D8B030D-6E8A-4147-A177-3AD203B41FA5}">
                      <a16:colId xmlns:a16="http://schemas.microsoft.com/office/drawing/2014/main" val="3315126037"/>
                    </a:ext>
                  </a:extLst>
                </a:gridCol>
                <a:gridCol w="1419428">
                  <a:extLst>
                    <a:ext uri="{9D8B030D-6E8A-4147-A177-3AD203B41FA5}">
                      <a16:colId xmlns:a16="http://schemas.microsoft.com/office/drawing/2014/main" val="1031511911"/>
                    </a:ext>
                  </a:extLst>
                </a:gridCol>
              </a:tblGrid>
              <a:tr h="487219">
                <a:tc>
                  <a:txBody>
                    <a:bodyPr/>
                    <a:lstStyle/>
                    <a:p>
                      <a:pPr algn="l"/>
                      <a:r>
                        <a:rPr lang="da-DK" sz="900" b="1">
                          <a:solidFill>
                            <a:schemeClr val="tx1"/>
                          </a:solidFill>
                          <a:latin typeface="Work Sans" pitchFamily="2" charset="0"/>
                        </a:rPr>
                        <a:t>Navn</a:t>
                      </a:r>
                    </a:p>
                  </a:txBody>
                  <a:tcPr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da-DK" sz="900" b="1">
                          <a:solidFill>
                            <a:schemeClr val="tx1"/>
                          </a:solidFill>
                          <a:latin typeface="Work Sans" pitchFamily="2" charset="0"/>
                        </a:rPr>
                        <a:t>Type</a:t>
                      </a:r>
                    </a:p>
                  </a:txBody>
                  <a:tcPr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da-DK" sz="900" b="1">
                          <a:solidFill>
                            <a:schemeClr val="tx1"/>
                          </a:solidFill>
                          <a:latin typeface="Work Sans" pitchFamily="2" charset="0"/>
                        </a:rPr>
                        <a:t>Fondskode</a:t>
                      </a:r>
                    </a:p>
                  </a:txBody>
                  <a:tcPr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da-DK" sz="900" b="1">
                          <a:solidFill>
                            <a:schemeClr val="tx1"/>
                          </a:solidFill>
                          <a:latin typeface="Work Sans" pitchFamily="2" charset="0"/>
                        </a:rPr>
                        <a:t>Løbende omkostninger</a:t>
                      </a:r>
                    </a:p>
                  </a:txBody>
                  <a:tcPr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l">
                        <a:buNone/>
                      </a:pPr>
                      <a:r>
                        <a:rPr lang="da-DK" sz="900" b="1" i="0" u="none" strike="noStrike" baseline="0" noProof="0">
                          <a:solidFill>
                            <a:srgbClr val="15304E"/>
                          </a:solidFill>
                          <a:latin typeface="Work Sans" pitchFamily="2" charset="0"/>
                        </a:rPr>
                        <a:t>Transaktions-omkostninger</a:t>
                      </a:r>
                      <a:endParaRPr lang="da-DK" sz="900" b="1">
                        <a:solidFill>
                          <a:schemeClr val="tx1"/>
                        </a:solidFill>
                        <a:latin typeface="Work Sans" pitchFamily="2" charset="0"/>
                      </a:endParaRPr>
                    </a:p>
                  </a:txBody>
                  <a:tcPr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900" b="1">
                          <a:solidFill>
                            <a:schemeClr val="tx1"/>
                          </a:solidFill>
                          <a:latin typeface="Work Sans" pitchFamily="2" charset="0"/>
                        </a:rPr>
                        <a:t>Kompleksitet</a:t>
                      </a:r>
                      <a:endParaRPr lang="da-DK" sz="900" b="1">
                        <a:solidFill>
                          <a:schemeClr val="tx1"/>
                        </a:solidFill>
                        <a:latin typeface="Work Sans" pitchFamily="2" charset="0"/>
                      </a:endParaRPr>
                    </a:p>
                  </a:txBody>
                  <a:tcPr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da-DK" sz="900" b="1">
                          <a:solidFill>
                            <a:schemeClr val="tx1"/>
                          </a:solidFill>
                          <a:latin typeface="Work Sans" pitchFamily="2" charset="0"/>
                        </a:rPr>
                        <a:t>Skat</a:t>
                      </a:r>
                    </a:p>
                  </a:txBody>
                  <a:tcPr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900" b="1">
                          <a:solidFill>
                            <a:schemeClr val="tx1"/>
                          </a:solidFill>
                          <a:latin typeface="Work Sans" pitchFamily="2" charset="0"/>
                        </a:rPr>
                        <a:t>Valuta</a:t>
                      </a:r>
                      <a:endParaRPr lang="da-DK" sz="900" b="1">
                        <a:solidFill>
                          <a:schemeClr val="tx1"/>
                        </a:solidFill>
                        <a:latin typeface="Work Sans" pitchFamily="2" charset="0"/>
                      </a:endParaRPr>
                    </a:p>
                  </a:txBody>
                  <a:tcPr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47962019"/>
                  </a:ext>
                </a:extLst>
              </a:tr>
              <a:tr h="276931">
                <a:tc>
                  <a:txBody>
                    <a:bodyPr/>
                    <a:lstStyle/>
                    <a:p>
                      <a:pPr algn="l">
                        <a:buNone/>
                      </a:pPr>
                      <a:r>
                        <a:rPr lang="da-DK" sz="900">
                          <a:effectLst/>
                          <a:latin typeface="Work Sans" pitchFamily="2" charset="0"/>
                          <a:ea typeface="Aptos" panose="020B0004020202020204" pitchFamily="34" charset="0"/>
                        </a:rPr>
                        <a:t>Globale Aktier Select Columbia </a:t>
                      </a:r>
                      <a:r>
                        <a:rPr lang="da-DK" sz="900" err="1">
                          <a:effectLst/>
                          <a:latin typeface="Work Sans" pitchFamily="2" charset="0"/>
                          <a:ea typeface="Aptos" panose="020B0004020202020204" pitchFamily="34" charset="0"/>
                        </a:rPr>
                        <a:t>Threadneedle</a:t>
                      </a:r>
                      <a:r>
                        <a:rPr lang="da-DK" sz="900">
                          <a:effectLst/>
                          <a:latin typeface="Work Sans" pitchFamily="2" charset="0"/>
                          <a:ea typeface="Aptos" panose="020B0004020202020204" pitchFamily="34" charset="0"/>
                        </a:rPr>
                        <a:t> A</a:t>
                      </a:r>
                      <a:endParaRPr lang="en-DK" sz="900">
                        <a:effectLst/>
                        <a:latin typeface="Work Sans" pitchFamily="2" charset="0"/>
                        <a:ea typeface="Aptos" panose="020B0004020202020204" pitchFamily="34"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a:buFont typeface="Arial" panose="020B0604020202020204" pitchFamily="34" charset="0"/>
                        <a:buChar char="•"/>
                        <a:tabLst>
                          <a:tab pos="457200" algn="l"/>
                        </a:tabLst>
                      </a:pPr>
                      <a:r>
                        <a:rPr lang="da-DK" sz="900">
                          <a:effectLst/>
                          <a:latin typeface="Work Sans" pitchFamily="2" charset="0"/>
                          <a:ea typeface="Times New Roman" panose="02020603050405020304" pitchFamily="18" charset="0"/>
                          <a:cs typeface="Times New Roman" panose="02020603050405020304" pitchFamily="18" charset="0"/>
                        </a:rPr>
                        <a:t>Udbyttebetalende</a:t>
                      </a:r>
                      <a:endParaRPr lang="en-DK" sz="900">
                        <a:effectLst/>
                        <a:latin typeface="Work Sans" pitchFamily="2" charset="0"/>
                        <a:ea typeface="Aptos" panose="020B0004020202020204" pitchFamily="34" charset="0"/>
                        <a:cs typeface="Times New Roman" panose="02020603050405020304" pitchFamily="18" charset="0"/>
                      </a:endParaRPr>
                    </a:p>
                    <a:p>
                      <a:pPr marL="171450" lvl="0" indent="-171450" algn="l">
                        <a:buFont typeface="Arial" panose="020B0604020202020204" pitchFamily="34" charset="0"/>
                        <a:buChar char="•"/>
                        <a:tabLst>
                          <a:tab pos="457200" algn="l"/>
                        </a:tabLst>
                      </a:pPr>
                      <a:r>
                        <a:rPr lang="da-DK" sz="900">
                          <a:effectLst/>
                          <a:latin typeface="Work Sans" pitchFamily="2" charset="0"/>
                          <a:ea typeface="Times New Roman" panose="02020603050405020304" pitchFamily="18" charset="0"/>
                          <a:cs typeface="Times New Roman" panose="02020603050405020304" pitchFamily="18" charset="0"/>
                        </a:rPr>
                        <a:t>Børsnoteret</a:t>
                      </a:r>
                      <a:endParaRPr lang="en-DK" sz="900">
                        <a:effectLst/>
                        <a:latin typeface="Work Sans" pitchFamily="2" charset="0"/>
                        <a:ea typeface="Aptos" panose="020B0004020202020204" pitchFamily="34" charset="0"/>
                        <a:cs typeface="Times New Roman" panose="02020603050405020304" pitchFamily="18"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buNone/>
                      </a:pPr>
                      <a:r>
                        <a:rPr lang="da-DK" sz="900"/>
                        <a:t>DK0061409711</a:t>
                      </a:r>
                      <a:endParaRPr lang="en-DK" sz="900">
                        <a:effectLst/>
                        <a:latin typeface="Work Sans" pitchFamily="2" charset="0"/>
                        <a:ea typeface="Aptos" panose="020B0004020202020204" pitchFamily="34" charset="0"/>
                      </a:endParaRPr>
                    </a:p>
                  </a:txBody>
                  <a:tcPr marL="68580" marR="68580" marT="952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da-DK" sz="900" b="0" i="0" u="none" strike="noStrike" kern="1200" baseline="0">
                          <a:solidFill>
                            <a:schemeClr val="tx1"/>
                          </a:solidFill>
                          <a:latin typeface="Work Sans" pitchFamily="2" charset="0"/>
                          <a:ea typeface="+mn-ea"/>
                          <a:cs typeface="+mn-cs"/>
                        </a:rPr>
                        <a:t>1,70 %</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b="0" i="0" u="none" strike="noStrike" kern="1200" baseline="0">
                          <a:solidFill>
                            <a:schemeClr val="tx1"/>
                          </a:solidFill>
                          <a:latin typeface="Work Sans" pitchFamily="2" charset="0"/>
                          <a:ea typeface="+mn-ea"/>
                          <a:cs typeface="+mn-cs"/>
                        </a:rPr>
                        <a:t>0,06 %</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900">
                          <a:solidFill>
                            <a:schemeClr val="tx1"/>
                          </a:solidFill>
                          <a:latin typeface="Work Sans" pitchFamily="2" charset="0"/>
                        </a:rPr>
                        <a:t>Ikke-</a:t>
                      </a:r>
                      <a:r>
                        <a:rPr lang="en-US" sz="900" err="1">
                          <a:solidFill>
                            <a:schemeClr val="tx1"/>
                          </a:solidFill>
                          <a:latin typeface="Work Sans" pitchFamily="2" charset="0"/>
                        </a:rPr>
                        <a:t>kompleks</a:t>
                      </a:r>
                      <a:endParaRPr lang="da-DK" sz="900">
                        <a:solidFill>
                          <a:schemeClr val="tx1"/>
                        </a:solidFill>
                        <a:latin typeface="Work Sans" pitchFamily="2"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da-DK" sz="900">
                          <a:solidFill>
                            <a:schemeClr val="tx1"/>
                          </a:solidFill>
                          <a:latin typeface="Work Sans" pitchFamily="2" charset="0"/>
                        </a:rPr>
                        <a:t>Aktieindkomst, realisationsprincip</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900">
                          <a:solidFill>
                            <a:schemeClr val="tx1"/>
                          </a:solidFill>
                          <a:latin typeface="Work Sans" pitchFamily="2" charset="0"/>
                        </a:rPr>
                        <a:t>DKK</a:t>
                      </a:r>
                      <a:endParaRPr lang="da-DK" sz="900">
                        <a:solidFill>
                          <a:schemeClr val="tx1"/>
                        </a:solidFill>
                        <a:latin typeface="Work Sans" pitchFamily="2"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8588785"/>
                  </a:ext>
                </a:extLst>
              </a:tr>
              <a:tr h="424703">
                <a:tc>
                  <a:txBody>
                    <a:bodyPr/>
                    <a:lstStyle/>
                    <a:p>
                      <a:pPr algn="l">
                        <a:buNone/>
                      </a:pPr>
                      <a:r>
                        <a:rPr lang="da-DK" sz="900">
                          <a:effectLst/>
                          <a:latin typeface="Work Sans" pitchFamily="2" charset="0"/>
                          <a:ea typeface="Aptos" panose="020B0004020202020204" pitchFamily="34" charset="0"/>
                        </a:rPr>
                        <a:t>Globale Aktier Select Columbia </a:t>
                      </a:r>
                      <a:r>
                        <a:rPr lang="da-DK" sz="900" err="1">
                          <a:effectLst/>
                          <a:latin typeface="Work Sans" pitchFamily="2" charset="0"/>
                          <a:ea typeface="Aptos" panose="020B0004020202020204" pitchFamily="34" charset="0"/>
                        </a:rPr>
                        <a:t>Threadneedle</a:t>
                      </a:r>
                      <a:r>
                        <a:rPr lang="da-DK" sz="900">
                          <a:effectLst/>
                          <a:latin typeface="Work Sans" pitchFamily="2" charset="0"/>
                          <a:ea typeface="Aptos" panose="020B0004020202020204" pitchFamily="34" charset="0"/>
                        </a:rPr>
                        <a:t> </a:t>
                      </a:r>
                      <a:r>
                        <a:rPr lang="da-DK" sz="900" err="1">
                          <a:effectLst/>
                          <a:latin typeface="Work Sans" pitchFamily="2" charset="0"/>
                          <a:ea typeface="Aptos" panose="020B0004020202020204" pitchFamily="34" charset="0"/>
                        </a:rPr>
                        <a:t>Akk</a:t>
                      </a:r>
                      <a:r>
                        <a:rPr lang="da-DK" sz="900">
                          <a:effectLst/>
                          <a:latin typeface="Work Sans" pitchFamily="2" charset="0"/>
                          <a:ea typeface="Aptos" panose="020B0004020202020204" pitchFamily="34" charset="0"/>
                        </a:rPr>
                        <a:t>. A</a:t>
                      </a:r>
                      <a:endParaRPr lang="en-DK" sz="900">
                        <a:effectLst/>
                        <a:latin typeface="Work Sans" pitchFamily="2" charset="0"/>
                        <a:ea typeface="Aptos" panose="020B0004020202020204" pitchFamily="34"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a:buFont typeface="Arial" panose="020B0604020202020204" pitchFamily="34" charset="0"/>
                        <a:buChar char="•"/>
                        <a:tabLst>
                          <a:tab pos="457200" algn="l"/>
                        </a:tabLst>
                      </a:pPr>
                      <a:r>
                        <a:rPr lang="da-DK" sz="900">
                          <a:effectLst/>
                          <a:latin typeface="Work Sans" pitchFamily="2" charset="0"/>
                          <a:ea typeface="Times New Roman" panose="02020603050405020304" pitchFamily="18" charset="0"/>
                          <a:cs typeface="Times New Roman" panose="02020603050405020304" pitchFamily="18" charset="0"/>
                        </a:rPr>
                        <a:t>Akkumulerende</a:t>
                      </a:r>
                      <a:endParaRPr lang="en-DK" sz="900">
                        <a:effectLst/>
                        <a:latin typeface="Work Sans" pitchFamily="2" charset="0"/>
                        <a:ea typeface="Aptos" panose="020B0004020202020204" pitchFamily="34" charset="0"/>
                        <a:cs typeface="Times New Roman" panose="02020603050405020304" pitchFamily="18" charset="0"/>
                      </a:endParaRPr>
                    </a:p>
                    <a:p>
                      <a:pPr marL="171450" lvl="0" indent="-171450" algn="l">
                        <a:buFont typeface="Arial" panose="020B0604020202020204" pitchFamily="34" charset="0"/>
                        <a:buChar char="•"/>
                        <a:tabLst>
                          <a:tab pos="457200" algn="l"/>
                        </a:tabLst>
                      </a:pPr>
                      <a:r>
                        <a:rPr lang="da-DK" sz="900">
                          <a:effectLst/>
                          <a:latin typeface="Work Sans" pitchFamily="2" charset="0"/>
                          <a:ea typeface="Times New Roman" panose="02020603050405020304" pitchFamily="18" charset="0"/>
                          <a:cs typeface="Times New Roman" panose="02020603050405020304" pitchFamily="18" charset="0"/>
                        </a:rPr>
                        <a:t>Børsnoteret</a:t>
                      </a:r>
                      <a:endParaRPr lang="en-DK" sz="900">
                        <a:effectLst/>
                        <a:latin typeface="Work Sans" pitchFamily="2" charset="0"/>
                        <a:ea typeface="Aptos" panose="020B0004020202020204" pitchFamily="34" charset="0"/>
                        <a:cs typeface="Times New Roman" panose="02020603050405020304" pitchFamily="18"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buNone/>
                      </a:pPr>
                      <a:r>
                        <a:rPr lang="da-DK" sz="900"/>
                        <a:t>DK0061410057</a:t>
                      </a:r>
                      <a:endParaRPr lang="en-DK" sz="900">
                        <a:effectLst/>
                        <a:latin typeface="Work Sans" pitchFamily="2" charset="0"/>
                        <a:ea typeface="Aptos" panose="020B0004020202020204" pitchFamily="34" charset="0"/>
                      </a:endParaRPr>
                    </a:p>
                  </a:txBody>
                  <a:tcPr marL="68580" marR="68580" marT="952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da-DK" sz="900" b="0" i="0" u="none" strike="noStrike" kern="1200" baseline="0">
                          <a:solidFill>
                            <a:schemeClr val="tx1"/>
                          </a:solidFill>
                          <a:latin typeface="Work Sans" pitchFamily="2" charset="0"/>
                          <a:ea typeface="+mn-ea"/>
                          <a:cs typeface="+mn-cs"/>
                        </a:rPr>
                        <a:t>1,70 %</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b="0" i="0" u="none" strike="noStrike" kern="1200" baseline="0">
                          <a:solidFill>
                            <a:schemeClr val="tx1"/>
                          </a:solidFill>
                          <a:latin typeface="Work Sans" pitchFamily="2" charset="0"/>
                          <a:ea typeface="+mn-ea"/>
                          <a:cs typeface="+mn-cs"/>
                        </a:rPr>
                        <a:t>0,06 % </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900">
                          <a:solidFill>
                            <a:schemeClr val="tx1"/>
                          </a:solidFill>
                          <a:latin typeface="Work Sans" pitchFamily="2" charset="0"/>
                        </a:rPr>
                        <a:t>Ikke-</a:t>
                      </a:r>
                      <a:r>
                        <a:rPr lang="en-US" sz="900" err="1">
                          <a:solidFill>
                            <a:schemeClr val="tx1"/>
                          </a:solidFill>
                          <a:latin typeface="Work Sans" pitchFamily="2" charset="0"/>
                        </a:rPr>
                        <a:t>kompleks</a:t>
                      </a:r>
                      <a:endParaRPr lang="da-DK" sz="900">
                        <a:solidFill>
                          <a:schemeClr val="tx1"/>
                        </a:solidFill>
                        <a:latin typeface="Work Sans" pitchFamily="2"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da-DK" sz="900">
                          <a:solidFill>
                            <a:schemeClr val="tx1"/>
                          </a:solidFill>
                          <a:latin typeface="Work Sans" pitchFamily="2" charset="0"/>
                        </a:rPr>
                        <a:t>Aktieindkomst, lagerprincip</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900">
                          <a:solidFill>
                            <a:schemeClr val="tx1"/>
                          </a:solidFill>
                          <a:latin typeface="Work Sans" pitchFamily="2" charset="0"/>
                        </a:rPr>
                        <a:t>DKK</a:t>
                      </a:r>
                      <a:endParaRPr lang="da-DK" sz="900">
                        <a:solidFill>
                          <a:schemeClr val="tx1"/>
                        </a:solidFill>
                        <a:latin typeface="Work Sans" pitchFamily="2"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0577419"/>
                  </a:ext>
                </a:extLst>
              </a:tr>
            </a:tbl>
          </a:graphicData>
        </a:graphic>
      </p:graphicFrame>
      <p:sp>
        <p:nvSpPr>
          <p:cNvPr id="8" name="Tekstfelt 7">
            <a:extLst>
              <a:ext uri="{FF2B5EF4-FFF2-40B4-BE49-F238E27FC236}">
                <a16:creationId xmlns:a16="http://schemas.microsoft.com/office/drawing/2014/main" id="{D94A3911-B2DF-A663-B856-198784755EF3}"/>
              </a:ext>
            </a:extLst>
          </p:cNvPr>
          <p:cNvSpPr txBox="1"/>
          <p:nvPr/>
        </p:nvSpPr>
        <p:spPr>
          <a:xfrm>
            <a:off x="449935" y="5267950"/>
            <a:ext cx="6665376" cy="1031436"/>
          </a:xfrm>
          <a:prstGeom prst="rect">
            <a:avLst/>
          </a:prstGeom>
          <a:noFill/>
        </p:spPr>
        <p:txBody>
          <a:bodyPr wrap="square" lIns="0" tIns="0" rIns="0" bIns="0" rtlCol="0">
            <a:spAutoFit/>
          </a:bodyPr>
          <a:lstStyle/>
          <a:p>
            <a:pPr marL="0" marR="0" lvl="7" indent="0" algn="l" defTabSz="914400" rtl="0" eaLnBrk="1" fontAlgn="auto" latinLnBrk="0" hangingPunct="1">
              <a:lnSpc>
                <a:spcPct val="120000"/>
              </a:lnSpc>
              <a:spcBef>
                <a:spcPts val="0"/>
              </a:spcBef>
              <a:spcAft>
                <a:spcPts val="600"/>
              </a:spcAft>
              <a:buClrTx/>
              <a:buSzTx/>
              <a:buFont typeface="Arial" panose="020B0604020202020204" pitchFamily="34" charset="0"/>
              <a:buChar char="​"/>
              <a:tabLst/>
              <a:defRPr/>
            </a:pPr>
            <a:r>
              <a:rPr kumimoji="0" lang="da-DK" sz="1050" b="0" i="0" u="none" strike="noStrike" kern="1200" cap="none" spc="0" normalizeH="0" baseline="0" noProof="1">
                <a:ln>
                  <a:noFill/>
                </a:ln>
                <a:solidFill>
                  <a:srgbClr val="15304E"/>
                </a:solidFill>
                <a:effectLst/>
                <a:uLnTx/>
                <a:uFillTx/>
                <a:ea typeface="+mn-ea"/>
                <a:cs typeface="+mn-cs"/>
              </a:rPr>
              <a:t>Tallene i materialet er historiske og tidligere afkast og/eller kursudviklinger kan ikke anvendes som pålidelig indikator for fremtidige afkast og/eller kursudvikling. Afdelingen er en aktivt forvaltet UCITS-ETF. Tegning af andele i afdelingen bør ske på baggrund af prospekt, vedtægter og central investorinformation. Afdelingen har intet benchmark. </a:t>
            </a:r>
          </a:p>
          <a:p>
            <a:pPr marL="0" marR="0" lvl="7" indent="0" algn="l" defTabSz="914400" rtl="0" eaLnBrk="1" fontAlgn="auto" latinLnBrk="0" hangingPunct="1">
              <a:lnSpc>
                <a:spcPct val="120000"/>
              </a:lnSpc>
              <a:spcBef>
                <a:spcPts val="0"/>
              </a:spcBef>
              <a:spcAft>
                <a:spcPts val="600"/>
              </a:spcAft>
              <a:buClrTx/>
              <a:buSzTx/>
              <a:buFont typeface="Arial" panose="020B0604020202020204" pitchFamily="34" charset="0"/>
              <a:buChar char="​"/>
              <a:tabLst/>
              <a:defRPr/>
            </a:pPr>
            <a:r>
              <a:rPr kumimoji="0" lang="da-DK" sz="1050" b="0" i="0" u="none" strike="noStrike" kern="1200" cap="none" spc="0" normalizeH="0" baseline="0" noProof="1">
                <a:ln>
                  <a:noFill/>
                </a:ln>
                <a:solidFill>
                  <a:srgbClr val="193A5F"/>
                </a:solidFill>
                <a:effectLst/>
                <a:uLnTx/>
                <a:uFillTx/>
                <a:ea typeface="+mn-ea"/>
                <a:cs typeface="+mn-cs"/>
              </a:rPr>
              <a:t>Afdelingen </a:t>
            </a:r>
            <a:r>
              <a:rPr kumimoji="0" lang="da-DK" sz="1050" b="0" i="0" u="none" strike="noStrike" kern="1200" cap="none" spc="0" normalizeH="0" baseline="0" noProof="0">
                <a:ln>
                  <a:noFill/>
                </a:ln>
                <a:solidFill>
                  <a:srgbClr val="193A5F"/>
                </a:solidFill>
                <a:effectLst/>
                <a:uLnTx/>
                <a:uFillTx/>
                <a:ea typeface="+mn-ea"/>
                <a:cs typeface="+mn-cs"/>
              </a:rPr>
              <a:t>er et artikel 8-produkt, da miljømæssige og/eller sociale karakteristika fremmes.</a:t>
            </a:r>
          </a:p>
        </p:txBody>
      </p:sp>
      <p:grpSp>
        <p:nvGrpSpPr>
          <p:cNvPr id="17" name="Group 58">
            <a:extLst>
              <a:ext uri="{FF2B5EF4-FFF2-40B4-BE49-F238E27FC236}">
                <a16:creationId xmlns:a16="http://schemas.microsoft.com/office/drawing/2014/main" id="{BC00403E-055A-914E-F7B2-291574B7CA0C}"/>
              </a:ext>
            </a:extLst>
          </p:cNvPr>
          <p:cNvGrpSpPr/>
          <p:nvPr/>
        </p:nvGrpSpPr>
        <p:grpSpPr>
          <a:xfrm>
            <a:off x="7977051" y="4449802"/>
            <a:ext cx="3781563" cy="729431"/>
            <a:chOff x="807928" y="1861846"/>
            <a:chExt cx="2939098" cy="748728"/>
          </a:xfrm>
        </p:grpSpPr>
        <p:sp>
          <p:nvSpPr>
            <p:cNvPr id="18" name="Rectangle 59">
              <a:extLst>
                <a:ext uri="{FF2B5EF4-FFF2-40B4-BE49-F238E27FC236}">
                  <a16:creationId xmlns:a16="http://schemas.microsoft.com/office/drawing/2014/main" id="{8BCEF389-F3CA-09D7-D1FB-E44B2795D7F2}"/>
                </a:ext>
              </a:extLst>
            </p:cNvPr>
            <p:cNvSpPr/>
            <p:nvPr/>
          </p:nvSpPr>
          <p:spPr>
            <a:xfrm>
              <a:off x="862537" y="1861846"/>
              <a:ext cx="381000" cy="1975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a:ln>
                    <a:noFill/>
                  </a:ln>
                  <a:solidFill>
                    <a:srgbClr val="15304E"/>
                  </a:solidFill>
                  <a:effectLst/>
                  <a:uLnTx/>
                  <a:uFillTx/>
                  <a:latin typeface="Work Sans Light" pitchFamily="2" charset="0"/>
                  <a:ea typeface="+mn-ea"/>
                  <a:cs typeface="+mn-cs"/>
                </a:rPr>
                <a:t>1</a:t>
              </a:r>
            </a:p>
          </p:txBody>
        </p:sp>
        <p:sp>
          <p:nvSpPr>
            <p:cNvPr id="19" name="Rectangle 60">
              <a:extLst>
                <a:ext uri="{FF2B5EF4-FFF2-40B4-BE49-F238E27FC236}">
                  <a16:creationId xmlns:a16="http://schemas.microsoft.com/office/drawing/2014/main" id="{6E9B4A02-BDCA-7B73-5E7A-13A42F126552}"/>
                </a:ext>
              </a:extLst>
            </p:cNvPr>
            <p:cNvSpPr/>
            <p:nvPr/>
          </p:nvSpPr>
          <p:spPr>
            <a:xfrm>
              <a:off x="1265418" y="1861846"/>
              <a:ext cx="381000" cy="1975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a:ln>
                    <a:noFill/>
                  </a:ln>
                  <a:solidFill>
                    <a:srgbClr val="15304E"/>
                  </a:solidFill>
                  <a:effectLst/>
                  <a:uLnTx/>
                  <a:uFillTx/>
                  <a:latin typeface="Work Sans Light" pitchFamily="2" charset="0"/>
                  <a:ea typeface="+mn-ea"/>
                  <a:cs typeface="+mn-cs"/>
                </a:rPr>
                <a:t>2</a:t>
              </a:r>
            </a:p>
          </p:txBody>
        </p:sp>
        <p:sp>
          <p:nvSpPr>
            <p:cNvPr id="20" name="Rectangle 61">
              <a:extLst>
                <a:ext uri="{FF2B5EF4-FFF2-40B4-BE49-F238E27FC236}">
                  <a16:creationId xmlns:a16="http://schemas.microsoft.com/office/drawing/2014/main" id="{6E0E265C-C479-E2DC-A526-56CC49A684F7}"/>
                </a:ext>
              </a:extLst>
            </p:cNvPr>
            <p:cNvSpPr/>
            <p:nvPr/>
          </p:nvSpPr>
          <p:spPr>
            <a:xfrm>
              <a:off x="1668299" y="1861846"/>
              <a:ext cx="381000" cy="1975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a:ln>
                    <a:noFill/>
                  </a:ln>
                  <a:solidFill>
                    <a:srgbClr val="15304E"/>
                  </a:solidFill>
                  <a:effectLst/>
                  <a:uLnTx/>
                  <a:uFillTx/>
                  <a:latin typeface="Work Sans Light" pitchFamily="2" charset="0"/>
                  <a:ea typeface="+mn-ea"/>
                  <a:cs typeface="+mn-cs"/>
                </a:rPr>
                <a:t>3</a:t>
              </a:r>
            </a:p>
          </p:txBody>
        </p:sp>
        <p:sp>
          <p:nvSpPr>
            <p:cNvPr id="21" name="Rectangle 62">
              <a:extLst>
                <a:ext uri="{FF2B5EF4-FFF2-40B4-BE49-F238E27FC236}">
                  <a16:creationId xmlns:a16="http://schemas.microsoft.com/office/drawing/2014/main" id="{BF3FEB0A-5B4D-D8B0-5A9B-4D99EEE4057C}"/>
                </a:ext>
              </a:extLst>
            </p:cNvPr>
            <p:cNvSpPr/>
            <p:nvPr/>
          </p:nvSpPr>
          <p:spPr>
            <a:xfrm>
              <a:off x="2071180" y="1861846"/>
              <a:ext cx="381000" cy="197528"/>
            </a:xfrm>
            <a:prstGeom prst="rect">
              <a:avLst/>
            </a:prstGeom>
            <a:solidFill>
              <a:schemeClr val="bg1">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a:ln>
                    <a:noFill/>
                  </a:ln>
                  <a:solidFill>
                    <a:srgbClr val="F4FAFE"/>
                  </a:solidFill>
                  <a:effectLst/>
                  <a:uLnTx/>
                  <a:uFillTx/>
                  <a:latin typeface="Work Sans Light" pitchFamily="2" charset="0"/>
                  <a:ea typeface="+mn-ea"/>
                  <a:cs typeface="+mn-cs"/>
                </a:rPr>
                <a:t>4</a:t>
              </a:r>
            </a:p>
          </p:txBody>
        </p:sp>
        <p:sp>
          <p:nvSpPr>
            <p:cNvPr id="22" name="Rectangle 63">
              <a:extLst>
                <a:ext uri="{FF2B5EF4-FFF2-40B4-BE49-F238E27FC236}">
                  <a16:creationId xmlns:a16="http://schemas.microsoft.com/office/drawing/2014/main" id="{EB556BE1-70C7-4ADE-23DA-A4880D5B7C37}"/>
                </a:ext>
              </a:extLst>
            </p:cNvPr>
            <p:cNvSpPr/>
            <p:nvPr/>
          </p:nvSpPr>
          <p:spPr>
            <a:xfrm>
              <a:off x="2474061" y="1861846"/>
              <a:ext cx="381000" cy="1975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a:ln>
                    <a:noFill/>
                  </a:ln>
                  <a:solidFill>
                    <a:srgbClr val="15304E"/>
                  </a:solidFill>
                  <a:effectLst/>
                  <a:uLnTx/>
                  <a:uFillTx/>
                  <a:latin typeface="Work Sans Light" pitchFamily="2" charset="0"/>
                  <a:ea typeface="+mn-ea"/>
                  <a:cs typeface="+mn-cs"/>
                </a:rPr>
                <a:t>5</a:t>
              </a:r>
            </a:p>
          </p:txBody>
        </p:sp>
        <p:sp>
          <p:nvSpPr>
            <p:cNvPr id="23" name="Rectangle 64">
              <a:extLst>
                <a:ext uri="{FF2B5EF4-FFF2-40B4-BE49-F238E27FC236}">
                  <a16:creationId xmlns:a16="http://schemas.microsoft.com/office/drawing/2014/main" id="{D0F9AA0D-3391-6D66-D1E4-1FC87AEB0B4C}"/>
                </a:ext>
              </a:extLst>
            </p:cNvPr>
            <p:cNvSpPr/>
            <p:nvPr/>
          </p:nvSpPr>
          <p:spPr>
            <a:xfrm>
              <a:off x="2876942" y="1861846"/>
              <a:ext cx="381000" cy="197528"/>
            </a:xfrm>
            <a:prstGeom prst="rect">
              <a:avLst/>
            </a:prstGeom>
            <a:solidFill>
              <a:srgbClr val="F4FA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a:ln>
                    <a:noFill/>
                  </a:ln>
                  <a:solidFill>
                    <a:srgbClr val="15304E"/>
                  </a:solidFill>
                  <a:effectLst/>
                  <a:uLnTx/>
                  <a:uFillTx/>
                  <a:latin typeface="Work Sans Light" pitchFamily="2" charset="0"/>
                  <a:ea typeface="+mn-ea"/>
                  <a:cs typeface="+mn-cs"/>
                </a:rPr>
                <a:t>6</a:t>
              </a:r>
            </a:p>
          </p:txBody>
        </p:sp>
        <p:sp>
          <p:nvSpPr>
            <p:cNvPr id="24" name="Rectangle 65">
              <a:extLst>
                <a:ext uri="{FF2B5EF4-FFF2-40B4-BE49-F238E27FC236}">
                  <a16:creationId xmlns:a16="http://schemas.microsoft.com/office/drawing/2014/main" id="{A6DF4201-91A8-633D-76B6-D35F0F6E6E0C}"/>
                </a:ext>
              </a:extLst>
            </p:cNvPr>
            <p:cNvSpPr/>
            <p:nvPr/>
          </p:nvSpPr>
          <p:spPr>
            <a:xfrm>
              <a:off x="3279821" y="1861846"/>
              <a:ext cx="381000" cy="1975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a:ln>
                    <a:noFill/>
                  </a:ln>
                  <a:solidFill>
                    <a:srgbClr val="15304E"/>
                  </a:solidFill>
                  <a:effectLst/>
                  <a:uLnTx/>
                  <a:uFillTx/>
                  <a:latin typeface="Work Sans Light" pitchFamily="2" charset="0"/>
                  <a:ea typeface="+mn-ea"/>
                  <a:cs typeface="+mn-cs"/>
                </a:rPr>
                <a:t>7</a:t>
              </a:r>
            </a:p>
          </p:txBody>
        </p:sp>
        <p:cxnSp>
          <p:nvCxnSpPr>
            <p:cNvPr id="25" name="Straight Arrow Connector 66">
              <a:extLst>
                <a:ext uri="{FF2B5EF4-FFF2-40B4-BE49-F238E27FC236}">
                  <a16:creationId xmlns:a16="http://schemas.microsoft.com/office/drawing/2014/main" id="{390407D9-8358-3A55-8C21-1811BBF37597}"/>
                </a:ext>
              </a:extLst>
            </p:cNvPr>
            <p:cNvCxnSpPr/>
            <p:nvPr/>
          </p:nvCxnSpPr>
          <p:spPr>
            <a:xfrm>
              <a:off x="858430" y="2166524"/>
              <a:ext cx="2808000" cy="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sp>
          <p:nvSpPr>
            <p:cNvPr id="26" name="TextBox 67">
              <a:extLst>
                <a:ext uri="{FF2B5EF4-FFF2-40B4-BE49-F238E27FC236}">
                  <a16:creationId xmlns:a16="http://schemas.microsoft.com/office/drawing/2014/main" id="{048706AC-45ED-E440-C070-A29163D960BA}"/>
                </a:ext>
              </a:extLst>
            </p:cNvPr>
            <p:cNvSpPr txBox="1"/>
            <p:nvPr/>
          </p:nvSpPr>
          <p:spPr>
            <a:xfrm>
              <a:off x="807928" y="2231471"/>
              <a:ext cx="961121" cy="37910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15304E"/>
                  </a:solidFill>
                  <a:effectLst/>
                  <a:uLnTx/>
                  <a:uFillTx/>
                  <a:latin typeface="Work Sans" pitchFamily="2" charset="0"/>
                  <a:ea typeface="+mn-ea"/>
                  <a:cs typeface="+mn-cs"/>
                </a:rPr>
                <a:t>Lav risik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15304E"/>
                  </a:solidFill>
                  <a:effectLst/>
                  <a:uLnTx/>
                  <a:uFillTx/>
                  <a:latin typeface="Work Sans" pitchFamily="2" charset="0"/>
                  <a:ea typeface="+mn-ea"/>
                  <a:cs typeface="+mn-cs"/>
                </a:rPr>
                <a:t>Typisk lavt afkast</a:t>
              </a:r>
            </a:p>
          </p:txBody>
        </p:sp>
        <p:sp>
          <p:nvSpPr>
            <p:cNvPr id="27" name="TextBox 68">
              <a:extLst>
                <a:ext uri="{FF2B5EF4-FFF2-40B4-BE49-F238E27FC236}">
                  <a16:creationId xmlns:a16="http://schemas.microsoft.com/office/drawing/2014/main" id="{C1F5F866-815E-F20C-6510-8A4453CA3EB9}"/>
                </a:ext>
              </a:extLst>
            </p:cNvPr>
            <p:cNvSpPr txBox="1"/>
            <p:nvPr/>
          </p:nvSpPr>
          <p:spPr>
            <a:xfrm>
              <a:off x="2750476" y="2231471"/>
              <a:ext cx="996550" cy="379103"/>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15304E"/>
                  </a:solidFill>
                  <a:effectLst/>
                  <a:uLnTx/>
                  <a:uFillTx/>
                  <a:latin typeface="Work Sans" pitchFamily="2" charset="0"/>
                  <a:ea typeface="+mn-ea"/>
                  <a:cs typeface="+mn-cs"/>
                </a:rPr>
                <a:t>Høj risiko</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15304E"/>
                  </a:solidFill>
                  <a:effectLst/>
                  <a:uLnTx/>
                  <a:uFillTx/>
                  <a:latin typeface="Work Sans" pitchFamily="2" charset="0"/>
                  <a:ea typeface="+mn-ea"/>
                  <a:cs typeface="+mn-cs"/>
                </a:rPr>
                <a:t>Typisk højt afkast</a:t>
              </a:r>
            </a:p>
          </p:txBody>
        </p:sp>
      </p:grpSp>
      <p:sp>
        <p:nvSpPr>
          <p:cNvPr id="5" name="object 19">
            <a:extLst>
              <a:ext uri="{FF2B5EF4-FFF2-40B4-BE49-F238E27FC236}">
                <a16:creationId xmlns:a16="http://schemas.microsoft.com/office/drawing/2014/main" id="{E2050CE4-20B8-FAD1-9E31-C2E9B68863DB}"/>
              </a:ext>
            </a:extLst>
          </p:cNvPr>
          <p:cNvSpPr txBox="1"/>
          <p:nvPr/>
        </p:nvSpPr>
        <p:spPr>
          <a:xfrm>
            <a:off x="8042029" y="5365400"/>
            <a:ext cx="3700036" cy="1079976"/>
          </a:xfrm>
          <a:prstGeom prst="rect">
            <a:avLst/>
          </a:prstGeom>
        </p:spPr>
        <p:txBody>
          <a:bodyPr vert="horz" wrap="square" lIns="0" tIns="12700" rIns="0" bIns="0" rtlCol="0">
            <a:spAutoFit/>
          </a:bodyPr>
          <a:lstStyle/>
          <a:p>
            <a:pPr marL="12700" marR="5080" lvl="0" indent="0" algn="l" defTabSz="914400" rtl="0" eaLnBrk="1" fontAlgn="auto" latinLnBrk="0" hangingPunct="1">
              <a:lnSpc>
                <a:spcPct val="116700"/>
              </a:lnSpc>
              <a:spcBef>
                <a:spcPts val="100"/>
              </a:spcBef>
              <a:spcAft>
                <a:spcPts val="0"/>
              </a:spcAft>
              <a:buClrTx/>
              <a:buSzTx/>
              <a:buFontTx/>
              <a:buNone/>
              <a:tabLst/>
              <a:defRPr/>
            </a:pPr>
            <a:r>
              <a:rPr kumimoji="0" sz="1000" b="0" i="0" u="none" strike="noStrike" kern="1200" cap="none" spc="0" normalizeH="0" baseline="0" noProof="0" dirty="0">
                <a:ln>
                  <a:noFill/>
                </a:ln>
                <a:solidFill>
                  <a:srgbClr val="1B2E5A"/>
                </a:solidFill>
                <a:effectLst/>
                <a:uLnTx/>
                <a:uFillTx/>
                <a:latin typeface="Work Sans" pitchFamily="2" charset="0"/>
                <a:ea typeface="+mn-ea"/>
                <a:cs typeface="Solomon Sans Book"/>
              </a:rPr>
              <a:t>Vi</a:t>
            </a:r>
            <a:r>
              <a:rPr kumimoji="0" sz="1000" b="0" i="0" u="none" strike="noStrike" kern="1200" cap="none" spc="-5"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err="1">
                <a:ln>
                  <a:noFill/>
                </a:ln>
                <a:solidFill>
                  <a:srgbClr val="1B2E5A"/>
                </a:solidFill>
                <a:effectLst/>
                <a:uLnTx/>
                <a:uFillTx/>
                <a:latin typeface="Work Sans" pitchFamily="2" charset="0"/>
                <a:ea typeface="+mn-ea"/>
                <a:cs typeface="Solomon Sans Book"/>
              </a:rPr>
              <a:t>har</a:t>
            </a:r>
            <a:r>
              <a:rPr kumimoji="0" sz="1000" b="0" i="0" u="none" strike="noStrike" kern="1200" cap="none" spc="0"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err="1">
                <a:ln>
                  <a:noFill/>
                </a:ln>
                <a:solidFill>
                  <a:srgbClr val="1B2E5A"/>
                </a:solidFill>
                <a:effectLst/>
                <a:uLnTx/>
                <a:uFillTx/>
                <a:latin typeface="Work Sans" pitchFamily="2" charset="0"/>
                <a:ea typeface="+mn-ea"/>
                <a:cs typeface="Solomon Sans Book"/>
              </a:rPr>
              <a:t>klassificeret</a:t>
            </a:r>
            <a:r>
              <a:rPr kumimoji="0" sz="1000" b="0" i="0" u="none" strike="noStrike" kern="1200" cap="none" spc="-5"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err="1">
                <a:ln>
                  <a:noFill/>
                </a:ln>
                <a:solidFill>
                  <a:srgbClr val="1B2E5A"/>
                </a:solidFill>
                <a:effectLst/>
                <a:uLnTx/>
                <a:uFillTx/>
                <a:latin typeface="Work Sans" pitchFamily="2" charset="0"/>
                <a:ea typeface="+mn-ea"/>
                <a:cs typeface="Solomon Sans Book"/>
              </a:rPr>
              <a:t>dette</a:t>
            </a:r>
            <a:r>
              <a:rPr kumimoji="0" sz="1000" b="0" i="0" u="none" strike="noStrike" kern="1200" cap="none" spc="0"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err="1">
                <a:ln>
                  <a:noFill/>
                </a:ln>
                <a:solidFill>
                  <a:srgbClr val="1B2E5A"/>
                </a:solidFill>
                <a:effectLst/>
                <a:uLnTx/>
                <a:uFillTx/>
                <a:latin typeface="Work Sans" pitchFamily="2" charset="0"/>
                <a:ea typeface="+mn-ea"/>
                <a:cs typeface="Solomon Sans Book"/>
              </a:rPr>
              <a:t>produkt</a:t>
            </a:r>
            <a:r>
              <a:rPr kumimoji="0" sz="1000" b="0" i="0" u="none" strike="noStrike" kern="1200" cap="none" spc="0"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err="1">
                <a:ln>
                  <a:noFill/>
                </a:ln>
                <a:solidFill>
                  <a:srgbClr val="1B2E5A"/>
                </a:solidFill>
                <a:effectLst/>
                <a:uLnTx/>
                <a:uFillTx/>
                <a:latin typeface="Work Sans" pitchFamily="2" charset="0"/>
                <a:ea typeface="+mn-ea"/>
                <a:cs typeface="Solomon Sans Book"/>
              </a:rPr>
              <a:t>som</a:t>
            </a:r>
            <a:r>
              <a:rPr kumimoji="0" sz="1000" b="0" i="0" u="none" strike="noStrike" kern="1200" cap="none" spc="-5" normalizeH="0" baseline="0" noProof="0" dirty="0">
                <a:ln>
                  <a:noFill/>
                </a:ln>
                <a:solidFill>
                  <a:srgbClr val="1B2E5A"/>
                </a:solidFill>
                <a:effectLst/>
                <a:uLnTx/>
                <a:uFillTx/>
                <a:latin typeface="Work Sans" pitchFamily="2" charset="0"/>
                <a:ea typeface="+mn-ea"/>
                <a:cs typeface="Solomon Sans Book"/>
              </a:rPr>
              <a:t> </a:t>
            </a:r>
            <a:r>
              <a:rPr kumimoji="0" lang="en-US" sz="1000" b="0" i="0" u="none" strike="noStrike" kern="1200" cap="none" spc="0" normalizeH="0" baseline="0" noProof="0" dirty="0">
                <a:ln>
                  <a:noFill/>
                </a:ln>
                <a:solidFill>
                  <a:srgbClr val="1B2E5A"/>
                </a:solidFill>
                <a:effectLst/>
                <a:uLnTx/>
                <a:uFillTx/>
                <a:latin typeface="Work Sans" pitchFamily="2" charset="0"/>
                <a:ea typeface="+mn-ea"/>
                <a:cs typeface="Solomon Sans Book"/>
              </a:rPr>
              <a:t>4</a:t>
            </a:r>
            <a:r>
              <a:rPr kumimoji="0" sz="1000" b="0" i="0" u="none" strike="noStrike" kern="1200" cap="none" spc="0"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err="1">
                <a:ln>
                  <a:noFill/>
                </a:ln>
                <a:solidFill>
                  <a:srgbClr val="1B2E5A"/>
                </a:solidFill>
                <a:effectLst/>
                <a:uLnTx/>
                <a:uFillTx/>
                <a:latin typeface="Work Sans" pitchFamily="2" charset="0"/>
                <a:ea typeface="+mn-ea"/>
                <a:cs typeface="Solomon Sans Book"/>
              </a:rPr>
              <a:t>ud</a:t>
            </a:r>
            <a:r>
              <a:rPr kumimoji="0" sz="1000" b="0" i="0" u="none" strike="noStrike" kern="1200" cap="none" spc="0"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err="1">
                <a:ln>
                  <a:noFill/>
                </a:ln>
                <a:solidFill>
                  <a:srgbClr val="1B2E5A"/>
                </a:solidFill>
                <a:effectLst/>
                <a:uLnTx/>
                <a:uFillTx/>
                <a:latin typeface="Work Sans" pitchFamily="2" charset="0"/>
                <a:ea typeface="+mn-ea"/>
                <a:cs typeface="Solomon Sans Book"/>
              </a:rPr>
              <a:t>af</a:t>
            </a:r>
            <a:r>
              <a:rPr kumimoji="0" sz="1000" b="0" i="0" u="none" strike="noStrike" kern="1200" cap="none" spc="-5"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a:ln>
                  <a:noFill/>
                </a:ln>
                <a:solidFill>
                  <a:srgbClr val="1B2E5A"/>
                </a:solidFill>
                <a:effectLst/>
                <a:uLnTx/>
                <a:uFillTx/>
                <a:latin typeface="Work Sans" pitchFamily="2" charset="0"/>
                <a:ea typeface="+mn-ea"/>
                <a:cs typeface="Solomon Sans Book"/>
              </a:rPr>
              <a:t>7, </a:t>
            </a:r>
            <a:r>
              <a:rPr kumimoji="0" sz="1000" b="0" i="0" u="none" strike="noStrike" kern="1200" cap="none" spc="-25" normalizeH="0" baseline="0" noProof="0" dirty="0" err="1">
                <a:ln>
                  <a:noFill/>
                </a:ln>
                <a:solidFill>
                  <a:srgbClr val="1B2E5A"/>
                </a:solidFill>
                <a:effectLst/>
                <a:uLnTx/>
                <a:uFillTx/>
                <a:latin typeface="Work Sans" pitchFamily="2" charset="0"/>
                <a:ea typeface="+mn-ea"/>
                <a:cs typeface="Solomon Sans Book"/>
              </a:rPr>
              <a:t>som</a:t>
            </a:r>
            <a:r>
              <a:rPr kumimoji="0" sz="1000" b="0" i="0" u="none" strike="noStrike" kern="1200" cap="none" spc="-25"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a:ln>
                  <a:noFill/>
                </a:ln>
                <a:solidFill>
                  <a:srgbClr val="1B2E5A"/>
                </a:solidFill>
                <a:effectLst/>
                <a:uLnTx/>
                <a:uFillTx/>
                <a:latin typeface="Work Sans" pitchFamily="2" charset="0"/>
                <a:ea typeface="+mn-ea"/>
                <a:cs typeface="Solomon Sans Book"/>
              </a:rPr>
              <a:t>er </a:t>
            </a:r>
            <a:r>
              <a:rPr kumimoji="0" sz="1000" b="0" i="0" u="none" strike="noStrike" kern="1200" cap="none" spc="0" normalizeH="0" baseline="0" noProof="0" dirty="0" err="1">
                <a:ln>
                  <a:noFill/>
                </a:ln>
                <a:solidFill>
                  <a:srgbClr val="1B2E5A"/>
                </a:solidFill>
                <a:effectLst/>
                <a:uLnTx/>
                <a:uFillTx/>
                <a:latin typeface="Work Sans" pitchFamily="2" charset="0"/>
                <a:ea typeface="+mn-ea"/>
                <a:cs typeface="Solomon Sans Book"/>
              </a:rPr>
              <a:t>en</a:t>
            </a:r>
            <a:r>
              <a:rPr kumimoji="0" sz="1000" b="0" i="0" u="none" strike="noStrike" kern="1200" cap="none" spc="5" normalizeH="0" baseline="0" noProof="0" dirty="0">
                <a:ln>
                  <a:noFill/>
                </a:ln>
                <a:solidFill>
                  <a:srgbClr val="1B2E5A"/>
                </a:solidFill>
                <a:effectLst/>
                <a:uLnTx/>
                <a:uFillTx/>
                <a:latin typeface="Work Sans" pitchFamily="2" charset="0"/>
                <a:ea typeface="+mn-ea"/>
                <a:cs typeface="Solomon Sans Book"/>
              </a:rPr>
              <a:t> </a:t>
            </a:r>
            <a:r>
              <a:rPr kumimoji="0" lang="en-US" sz="1000" b="0" i="0" u="none" strike="noStrike" kern="1200" cap="none" spc="0" normalizeH="0" baseline="0" noProof="0" dirty="0" err="1">
                <a:ln>
                  <a:noFill/>
                </a:ln>
                <a:solidFill>
                  <a:srgbClr val="1B2E5A"/>
                </a:solidFill>
                <a:effectLst/>
                <a:uLnTx/>
                <a:uFillTx/>
                <a:latin typeface="Work Sans" pitchFamily="2" charset="0"/>
                <a:ea typeface="+mn-ea"/>
                <a:cs typeface="Solomon Sans Book"/>
              </a:rPr>
              <a:t>middel</a:t>
            </a:r>
            <a:r>
              <a:rPr kumimoji="0" sz="1000" b="0" i="0" u="none" strike="noStrike" kern="1200" cap="none" spc="5"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err="1">
                <a:ln>
                  <a:noFill/>
                </a:ln>
                <a:solidFill>
                  <a:srgbClr val="1B2E5A"/>
                </a:solidFill>
                <a:effectLst/>
                <a:uLnTx/>
                <a:uFillTx/>
                <a:latin typeface="Work Sans" pitchFamily="2" charset="0"/>
                <a:ea typeface="+mn-ea"/>
                <a:cs typeface="Solomon Sans Book"/>
              </a:rPr>
              <a:t>risikoklasse</a:t>
            </a:r>
            <a:r>
              <a:rPr kumimoji="0" sz="1000" b="0" i="0" u="none" strike="noStrike" kern="1200" cap="none" spc="0" normalizeH="0" baseline="0" noProof="0" dirty="0">
                <a:ln>
                  <a:noFill/>
                </a:ln>
                <a:solidFill>
                  <a:srgbClr val="1B2E5A"/>
                </a:solidFill>
                <a:effectLst/>
                <a:uLnTx/>
                <a:uFillTx/>
                <a:latin typeface="Work Sans" pitchFamily="2" charset="0"/>
                <a:ea typeface="+mn-ea"/>
                <a:cs typeface="Solomon Sans Book"/>
              </a:rPr>
              <a:t>.</a:t>
            </a:r>
            <a:r>
              <a:rPr kumimoji="0" sz="1000" b="0" i="0" u="none" strike="noStrike" kern="1200" cap="none" spc="5"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a:ln>
                  <a:noFill/>
                </a:ln>
                <a:solidFill>
                  <a:srgbClr val="1B2E5A"/>
                </a:solidFill>
                <a:effectLst/>
                <a:uLnTx/>
                <a:uFillTx/>
                <a:latin typeface="Work Sans" pitchFamily="2" charset="0"/>
                <a:ea typeface="+mn-ea"/>
                <a:cs typeface="Solomon Sans Book"/>
              </a:rPr>
              <a:t>Det</a:t>
            </a:r>
            <a:r>
              <a:rPr kumimoji="0" sz="1000" b="0" i="0" u="none" strike="noStrike" kern="1200" cap="none" spc="5"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err="1">
                <a:ln>
                  <a:noFill/>
                </a:ln>
                <a:solidFill>
                  <a:srgbClr val="1B2E5A"/>
                </a:solidFill>
                <a:effectLst/>
                <a:uLnTx/>
                <a:uFillTx/>
                <a:latin typeface="Work Sans" pitchFamily="2" charset="0"/>
                <a:ea typeface="+mn-ea"/>
                <a:cs typeface="Solomon Sans Book"/>
              </a:rPr>
              <a:t>betyder</a:t>
            </a:r>
            <a:r>
              <a:rPr kumimoji="0" sz="1000" b="0" i="0" u="none" strike="noStrike" kern="1200" cap="none" spc="0" normalizeH="0" baseline="0" noProof="0" dirty="0">
                <a:ln>
                  <a:noFill/>
                </a:ln>
                <a:solidFill>
                  <a:srgbClr val="1B2E5A"/>
                </a:solidFill>
                <a:effectLst/>
                <a:uLnTx/>
                <a:uFillTx/>
                <a:latin typeface="Work Sans" pitchFamily="2" charset="0"/>
                <a:ea typeface="+mn-ea"/>
                <a:cs typeface="Solomon Sans Book"/>
              </a:rPr>
              <a:t>,</a:t>
            </a:r>
            <a:r>
              <a:rPr kumimoji="0" sz="1000" b="0" i="0" u="none" strike="noStrike" kern="1200" cap="none" spc="5"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a:ln>
                  <a:noFill/>
                </a:ln>
                <a:solidFill>
                  <a:srgbClr val="1B2E5A"/>
                </a:solidFill>
                <a:effectLst/>
                <a:uLnTx/>
                <a:uFillTx/>
                <a:latin typeface="Work Sans" pitchFamily="2" charset="0"/>
                <a:ea typeface="+mn-ea"/>
                <a:cs typeface="Solomon Sans Book"/>
              </a:rPr>
              <a:t>at</a:t>
            </a:r>
            <a:r>
              <a:rPr kumimoji="0" sz="1000" b="0" i="0" u="none" strike="noStrike" kern="1200" cap="none" spc="5"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a:ln>
                  <a:noFill/>
                </a:ln>
                <a:solidFill>
                  <a:srgbClr val="1B2E5A"/>
                </a:solidFill>
                <a:effectLst/>
                <a:uLnTx/>
                <a:uFillTx/>
                <a:latin typeface="Work Sans" pitchFamily="2" charset="0"/>
                <a:ea typeface="+mn-ea"/>
                <a:cs typeface="Solomon Sans Book"/>
              </a:rPr>
              <a:t>der</a:t>
            </a:r>
            <a:r>
              <a:rPr kumimoji="0" sz="1000" b="0" i="0" u="none" strike="noStrike" kern="1200" cap="none" spc="5"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a:ln>
                  <a:noFill/>
                </a:ln>
                <a:solidFill>
                  <a:srgbClr val="1B2E5A"/>
                </a:solidFill>
                <a:effectLst/>
                <a:uLnTx/>
                <a:uFillTx/>
                <a:latin typeface="Work Sans" pitchFamily="2" charset="0"/>
                <a:ea typeface="+mn-ea"/>
                <a:cs typeface="Solomon Sans Book"/>
              </a:rPr>
              <a:t>er</a:t>
            </a:r>
            <a:r>
              <a:rPr kumimoji="0" sz="1000" b="0" i="0" u="none" strike="noStrike" kern="1200" cap="none" spc="5"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err="1">
                <a:ln>
                  <a:noFill/>
                </a:ln>
                <a:solidFill>
                  <a:srgbClr val="1B2E5A"/>
                </a:solidFill>
                <a:effectLst/>
                <a:uLnTx/>
                <a:uFillTx/>
                <a:latin typeface="Work Sans" pitchFamily="2" charset="0"/>
                <a:ea typeface="+mn-ea"/>
                <a:cs typeface="Solomon Sans Book"/>
              </a:rPr>
              <a:t>en</a:t>
            </a:r>
            <a:r>
              <a:rPr kumimoji="0" sz="1000" b="0" i="0" u="none" strike="noStrike" kern="1200" cap="none" spc="5" normalizeH="0" baseline="0" noProof="0" dirty="0">
                <a:ln>
                  <a:noFill/>
                </a:ln>
                <a:solidFill>
                  <a:srgbClr val="1B2E5A"/>
                </a:solidFill>
                <a:effectLst/>
                <a:uLnTx/>
                <a:uFillTx/>
                <a:latin typeface="Work Sans" pitchFamily="2" charset="0"/>
                <a:ea typeface="+mn-ea"/>
                <a:cs typeface="Solomon Sans Book"/>
              </a:rPr>
              <a:t> </a:t>
            </a:r>
            <a:r>
              <a:rPr kumimoji="0" lang="en-US" sz="1000" b="0" i="0" u="none" strike="noStrike" kern="1200" cap="none" spc="-25" normalizeH="0" baseline="0" noProof="0" dirty="0">
                <a:ln>
                  <a:noFill/>
                </a:ln>
                <a:solidFill>
                  <a:srgbClr val="1B2E5A"/>
                </a:solidFill>
                <a:effectLst/>
                <a:uLnTx/>
                <a:uFillTx/>
                <a:latin typeface="Work Sans" pitchFamily="2" charset="0"/>
                <a:ea typeface="+mn-ea"/>
                <a:cs typeface="Solomon Sans Book"/>
              </a:rPr>
              <a:t>middle-</a:t>
            </a:r>
            <a:r>
              <a:rPr kumimoji="0" lang="en-US" sz="1000" b="0" i="0" u="none" strike="noStrike" kern="1200" cap="none" spc="-25" normalizeH="0" baseline="0" noProof="0" dirty="0" err="1">
                <a:ln>
                  <a:noFill/>
                </a:ln>
                <a:solidFill>
                  <a:srgbClr val="1B2E5A"/>
                </a:solidFill>
                <a:effectLst/>
                <a:uLnTx/>
                <a:uFillTx/>
                <a:latin typeface="Work Sans" pitchFamily="2" charset="0"/>
                <a:ea typeface="+mn-ea"/>
                <a:cs typeface="Solomon Sans Book"/>
              </a:rPr>
              <a:t>høj</a:t>
            </a:r>
            <a:r>
              <a:rPr kumimoji="0" sz="1000" b="0" i="0" u="none" strike="noStrike" kern="1200" cap="none" spc="-25"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err="1">
                <a:ln>
                  <a:noFill/>
                </a:ln>
                <a:solidFill>
                  <a:srgbClr val="1B2E5A"/>
                </a:solidFill>
                <a:effectLst/>
                <a:uLnTx/>
                <a:uFillTx/>
                <a:latin typeface="Work Sans" pitchFamily="2" charset="0"/>
                <a:ea typeface="+mn-ea"/>
                <a:cs typeface="Solomon Sans Book"/>
              </a:rPr>
              <a:t>risiko</a:t>
            </a:r>
            <a:r>
              <a:rPr kumimoji="0" sz="1000" b="0" i="0" u="none" strike="noStrike" kern="1200" cap="none" spc="-5"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a:ln>
                  <a:noFill/>
                </a:ln>
                <a:solidFill>
                  <a:srgbClr val="1B2E5A"/>
                </a:solidFill>
                <a:effectLst/>
                <a:uLnTx/>
                <a:uFillTx/>
                <a:latin typeface="Work Sans" pitchFamily="2" charset="0"/>
                <a:ea typeface="+mn-ea"/>
                <a:cs typeface="Solomon Sans Book"/>
              </a:rPr>
              <a:t>for</a:t>
            </a:r>
            <a:r>
              <a:rPr kumimoji="0" sz="1000" b="0" i="0" u="none" strike="noStrike" kern="1200" cap="none" spc="-5"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err="1">
                <a:ln>
                  <a:noFill/>
                </a:ln>
                <a:solidFill>
                  <a:srgbClr val="1B2E5A"/>
                </a:solidFill>
                <a:effectLst/>
                <a:uLnTx/>
                <a:uFillTx/>
                <a:latin typeface="Work Sans" pitchFamily="2" charset="0"/>
                <a:ea typeface="+mn-ea"/>
                <a:cs typeface="Solomon Sans Book"/>
              </a:rPr>
              <a:t>fremtidige</a:t>
            </a:r>
            <a:r>
              <a:rPr kumimoji="0" sz="1000" b="0" i="0" u="none" strike="noStrike" kern="1200" cap="none" spc="-5"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a:ln>
                  <a:noFill/>
                </a:ln>
                <a:solidFill>
                  <a:srgbClr val="1B2E5A"/>
                </a:solidFill>
                <a:effectLst/>
                <a:uLnTx/>
                <a:uFillTx/>
                <a:latin typeface="Work Sans" pitchFamily="2" charset="0"/>
                <a:ea typeface="+mn-ea"/>
                <a:cs typeface="Solomon Sans Book"/>
              </a:rPr>
              <a:t>tab.</a:t>
            </a:r>
            <a:r>
              <a:rPr kumimoji="0" sz="1000" b="0" i="0" u="none" strike="noStrike" kern="1200" cap="none" spc="-5"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a:ln>
                  <a:noFill/>
                </a:ln>
                <a:solidFill>
                  <a:srgbClr val="1B2E5A"/>
                </a:solidFill>
                <a:effectLst/>
                <a:uLnTx/>
                <a:uFillTx/>
                <a:latin typeface="Work Sans" pitchFamily="2" charset="0"/>
                <a:ea typeface="+mn-ea"/>
                <a:cs typeface="Solomon Sans Book"/>
              </a:rPr>
              <a:t>Dette</a:t>
            </a:r>
            <a:r>
              <a:rPr kumimoji="0" sz="1000" b="0" i="0" u="none" strike="noStrike" kern="1200" cap="none" spc="-5"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err="1">
                <a:ln>
                  <a:noFill/>
                </a:ln>
                <a:solidFill>
                  <a:srgbClr val="1B2E5A"/>
                </a:solidFill>
                <a:effectLst/>
                <a:uLnTx/>
                <a:uFillTx/>
                <a:latin typeface="Work Sans" pitchFamily="2" charset="0"/>
                <a:ea typeface="+mn-ea"/>
                <a:cs typeface="Solomon Sans Book"/>
              </a:rPr>
              <a:t>produkt</a:t>
            </a:r>
            <a:r>
              <a:rPr kumimoji="0" sz="1000" b="0" i="0" u="none" strike="noStrike" kern="1200" cap="none" spc="-5"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10" normalizeH="0" baseline="0" noProof="0" dirty="0" err="1">
                <a:ln>
                  <a:noFill/>
                </a:ln>
                <a:solidFill>
                  <a:srgbClr val="1B2E5A"/>
                </a:solidFill>
                <a:effectLst/>
                <a:uLnTx/>
                <a:uFillTx/>
                <a:latin typeface="Work Sans" pitchFamily="2" charset="0"/>
                <a:ea typeface="+mn-ea"/>
                <a:cs typeface="Solomon Sans Book"/>
              </a:rPr>
              <a:t>indeholder</a:t>
            </a:r>
            <a:r>
              <a:rPr kumimoji="0" sz="1000" b="0" i="0" u="none" strike="noStrike" kern="1200" cap="none" spc="-10"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err="1">
                <a:ln>
                  <a:noFill/>
                </a:ln>
                <a:solidFill>
                  <a:srgbClr val="1B2E5A"/>
                </a:solidFill>
                <a:effectLst/>
                <a:uLnTx/>
                <a:uFillTx/>
                <a:latin typeface="Work Sans" pitchFamily="2" charset="0"/>
                <a:ea typeface="+mn-ea"/>
                <a:cs typeface="Solomon Sans Book"/>
              </a:rPr>
              <a:t>ikke</a:t>
            </a:r>
            <a:r>
              <a:rPr kumimoji="0" sz="1000" b="0" i="0" u="none" strike="noStrike" kern="1200" cap="none" spc="-5"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err="1">
                <a:ln>
                  <a:noFill/>
                </a:ln>
                <a:solidFill>
                  <a:srgbClr val="1B2E5A"/>
                </a:solidFill>
                <a:effectLst/>
                <a:uLnTx/>
                <a:uFillTx/>
                <a:latin typeface="Work Sans" pitchFamily="2" charset="0"/>
                <a:ea typeface="+mn-ea"/>
                <a:cs typeface="Solomon Sans Book"/>
              </a:rPr>
              <a:t>nogen</a:t>
            </a:r>
            <a:r>
              <a:rPr kumimoji="0" sz="1000" b="0" i="0" u="none" strike="noStrike" kern="1200" cap="none" spc="-5"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err="1">
                <a:ln>
                  <a:noFill/>
                </a:ln>
                <a:solidFill>
                  <a:srgbClr val="1B2E5A"/>
                </a:solidFill>
                <a:effectLst/>
                <a:uLnTx/>
                <a:uFillTx/>
                <a:latin typeface="Work Sans" pitchFamily="2" charset="0"/>
                <a:ea typeface="+mn-ea"/>
                <a:cs typeface="Solomon Sans Book"/>
              </a:rPr>
              <a:t>beskyttelse</a:t>
            </a:r>
            <a:r>
              <a:rPr kumimoji="0" sz="1000" b="0" i="0" u="none" strike="noStrike" kern="1200" cap="none" spc="-5"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a:ln>
                  <a:noFill/>
                </a:ln>
                <a:solidFill>
                  <a:srgbClr val="1B2E5A"/>
                </a:solidFill>
                <a:effectLst/>
                <a:uLnTx/>
                <a:uFillTx/>
                <a:latin typeface="Work Sans" pitchFamily="2" charset="0"/>
                <a:ea typeface="+mn-ea"/>
                <a:cs typeface="Solomon Sans Book"/>
              </a:rPr>
              <a:t>mod</a:t>
            </a:r>
            <a:r>
              <a:rPr kumimoji="0" sz="1000" b="0" i="0" u="none" strike="noStrike" kern="1200" cap="none" spc="-5"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a:ln>
                  <a:noFill/>
                </a:ln>
                <a:solidFill>
                  <a:srgbClr val="1B2E5A"/>
                </a:solidFill>
                <a:effectLst/>
                <a:uLnTx/>
                <a:uFillTx/>
                <a:latin typeface="Work Sans" pitchFamily="2" charset="0"/>
                <a:ea typeface="+mn-ea"/>
                <a:cs typeface="Solomon Sans Book"/>
              </a:rPr>
              <a:t>den</a:t>
            </a:r>
            <a:r>
              <a:rPr kumimoji="0" sz="1000" b="0" i="0" u="none" strike="noStrike" kern="1200" cap="none" spc="-5"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err="1">
                <a:ln>
                  <a:noFill/>
                </a:ln>
                <a:solidFill>
                  <a:srgbClr val="1B2E5A"/>
                </a:solidFill>
                <a:effectLst/>
                <a:uLnTx/>
                <a:uFillTx/>
                <a:latin typeface="Work Sans" pitchFamily="2" charset="0"/>
                <a:ea typeface="+mn-ea"/>
                <a:cs typeface="Solomon Sans Book"/>
              </a:rPr>
              <a:t>fremtidige</a:t>
            </a:r>
            <a:r>
              <a:rPr kumimoji="0" sz="1000" b="0" i="0" u="none" strike="noStrike" kern="1200" cap="none" spc="-5"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10" normalizeH="0" baseline="0" noProof="0" dirty="0" err="1">
                <a:ln>
                  <a:noFill/>
                </a:ln>
                <a:solidFill>
                  <a:srgbClr val="1B2E5A"/>
                </a:solidFill>
                <a:effectLst/>
                <a:uLnTx/>
                <a:uFillTx/>
                <a:latin typeface="Work Sans" pitchFamily="2" charset="0"/>
                <a:ea typeface="+mn-ea"/>
                <a:cs typeface="Solomon Sans Book"/>
              </a:rPr>
              <a:t>udvikling</a:t>
            </a:r>
            <a:r>
              <a:rPr kumimoji="0" sz="1000" b="0" i="0" u="none" strike="noStrike" kern="1200" cap="none" spc="-10"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err="1">
                <a:ln>
                  <a:noFill/>
                </a:ln>
                <a:solidFill>
                  <a:srgbClr val="1B2E5A"/>
                </a:solidFill>
                <a:effectLst/>
                <a:uLnTx/>
                <a:uFillTx/>
                <a:latin typeface="Work Sans" pitchFamily="2" charset="0"/>
                <a:ea typeface="+mn-ea"/>
                <a:cs typeface="Solomon Sans Book"/>
              </a:rPr>
              <a:t>i</a:t>
            </a:r>
            <a:r>
              <a:rPr kumimoji="0" sz="1000" b="0" i="0" u="none" strike="noStrike" kern="1200" cap="none" spc="0"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err="1">
                <a:ln>
                  <a:noFill/>
                </a:ln>
                <a:solidFill>
                  <a:srgbClr val="1B2E5A"/>
                </a:solidFill>
                <a:effectLst/>
                <a:uLnTx/>
                <a:uFillTx/>
                <a:latin typeface="Work Sans" pitchFamily="2" charset="0"/>
                <a:ea typeface="+mn-ea"/>
                <a:cs typeface="Solomon Sans Book"/>
              </a:rPr>
              <a:t>markedet</a:t>
            </a:r>
            <a:r>
              <a:rPr kumimoji="0" sz="1000" b="0" i="0" u="none" strike="noStrike" kern="1200" cap="none" spc="0"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err="1">
                <a:ln>
                  <a:noFill/>
                </a:ln>
                <a:solidFill>
                  <a:srgbClr val="1B2E5A"/>
                </a:solidFill>
                <a:effectLst/>
                <a:uLnTx/>
                <a:uFillTx/>
                <a:latin typeface="Work Sans" pitchFamily="2" charset="0"/>
                <a:ea typeface="+mn-ea"/>
                <a:cs typeface="Solomon Sans Book"/>
              </a:rPr>
              <a:t>så</a:t>
            </a:r>
            <a:r>
              <a:rPr kumimoji="0" sz="1000" b="0" i="0" u="none" strike="noStrike" kern="1200" cap="none" spc="5"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a:ln>
                  <a:noFill/>
                </a:ln>
                <a:solidFill>
                  <a:srgbClr val="1B2E5A"/>
                </a:solidFill>
                <a:effectLst/>
                <a:uLnTx/>
                <a:uFillTx/>
                <a:latin typeface="Work Sans" pitchFamily="2" charset="0"/>
                <a:ea typeface="+mn-ea"/>
                <a:cs typeface="Solomon Sans Book"/>
              </a:rPr>
              <a:t>du </a:t>
            </a:r>
            <a:r>
              <a:rPr kumimoji="0" sz="1000" b="0" i="0" u="none" strike="noStrike" kern="1200" cap="none" spc="0" normalizeH="0" baseline="0" noProof="0" dirty="0" err="1">
                <a:ln>
                  <a:noFill/>
                </a:ln>
                <a:solidFill>
                  <a:srgbClr val="1B2E5A"/>
                </a:solidFill>
                <a:effectLst/>
                <a:uLnTx/>
                <a:uFillTx/>
                <a:latin typeface="Work Sans" pitchFamily="2" charset="0"/>
                <a:ea typeface="+mn-ea"/>
                <a:cs typeface="Solomon Sans Book"/>
              </a:rPr>
              <a:t>kan</a:t>
            </a:r>
            <a:r>
              <a:rPr kumimoji="0" sz="1000" b="0" i="0" u="none" strike="noStrike" kern="1200" cap="none" spc="0"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err="1">
                <a:ln>
                  <a:noFill/>
                </a:ln>
                <a:solidFill>
                  <a:srgbClr val="1B2E5A"/>
                </a:solidFill>
                <a:effectLst/>
                <a:uLnTx/>
                <a:uFillTx/>
                <a:latin typeface="Work Sans" pitchFamily="2" charset="0"/>
                <a:ea typeface="+mn-ea"/>
                <a:cs typeface="Solomon Sans Book"/>
              </a:rPr>
              <a:t>tabe</a:t>
            </a:r>
            <a:r>
              <a:rPr kumimoji="0" sz="1000" b="0" i="0" u="none" strike="noStrike" kern="1200" cap="none" spc="5"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err="1">
                <a:ln>
                  <a:noFill/>
                </a:ln>
                <a:solidFill>
                  <a:srgbClr val="1B2E5A"/>
                </a:solidFill>
                <a:effectLst/>
                <a:uLnTx/>
                <a:uFillTx/>
                <a:latin typeface="Work Sans" pitchFamily="2" charset="0"/>
                <a:ea typeface="+mn-ea"/>
                <a:cs typeface="Solomon Sans Book"/>
              </a:rPr>
              <a:t>noget</a:t>
            </a:r>
            <a:r>
              <a:rPr kumimoji="0" sz="1000" b="0" i="0" u="none" strike="noStrike" kern="1200" cap="none" spc="0"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err="1">
                <a:ln>
                  <a:noFill/>
                </a:ln>
                <a:solidFill>
                  <a:srgbClr val="1B2E5A"/>
                </a:solidFill>
                <a:effectLst/>
                <a:uLnTx/>
                <a:uFillTx/>
                <a:latin typeface="Work Sans" pitchFamily="2" charset="0"/>
                <a:ea typeface="+mn-ea"/>
                <a:cs typeface="Solomon Sans Book"/>
              </a:rPr>
              <a:t>af</a:t>
            </a:r>
            <a:r>
              <a:rPr kumimoji="0" sz="1000" b="0" i="0" u="none" strike="noStrike" kern="1200" cap="none" spc="0"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err="1">
                <a:ln>
                  <a:noFill/>
                </a:ln>
                <a:solidFill>
                  <a:srgbClr val="1B2E5A"/>
                </a:solidFill>
                <a:effectLst/>
                <a:uLnTx/>
                <a:uFillTx/>
                <a:latin typeface="Work Sans" pitchFamily="2" charset="0"/>
                <a:ea typeface="+mn-ea"/>
                <a:cs typeface="Solomon Sans Book"/>
              </a:rPr>
              <a:t>eller</a:t>
            </a:r>
            <a:r>
              <a:rPr kumimoji="0" sz="1000" b="0" i="0" u="none" strike="noStrike" kern="1200" cap="none" spc="5" normalizeH="0" baseline="0" noProof="0" dirty="0">
                <a:ln>
                  <a:noFill/>
                </a:ln>
                <a:solidFill>
                  <a:srgbClr val="1B2E5A"/>
                </a:solidFill>
                <a:effectLst/>
                <a:uLnTx/>
                <a:uFillTx/>
                <a:latin typeface="Work Sans" pitchFamily="2" charset="0"/>
                <a:ea typeface="+mn-ea"/>
                <a:cs typeface="Solomon Sans Book"/>
              </a:rPr>
              <a:t> </a:t>
            </a:r>
            <a:r>
              <a:rPr kumimoji="0" sz="1000" b="0" i="0" u="none" strike="noStrike" kern="1200" cap="none" spc="0" normalizeH="0" baseline="0" noProof="0" dirty="0">
                <a:ln>
                  <a:noFill/>
                </a:ln>
                <a:solidFill>
                  <a:srgbClr val="1B2E5A"/>
                </a:solidFill>
                <a:effectLst/>
                <a:uLnTx/>
                <a:uFillTx/>
                <a:latin typeface="Work Sans" pitchFamily="2" charset="0"/>
                <a:ea typeface="+mn-ea"/>
                <a:cs typeface="Solomon Sans Book"/>
              </a:rPr>
              <a:t>hele </a:t>
            </a:r>
            <a:r>
              <a:rPr kumimoji="0" sz="1000" b="0" i="0" u="none" strike="noStrike" kern="1200" cap="none" spc="-25" normalizeH="0" baseline="0" noProof="0" dirty="0">
                <a:ln>
                  <a:noFill/>
                </a:ln>
                <a:solidFill>
                  <a:srgbClr val="1B2E5A"/>
                </a:solidFill>
                <a:effectLst/>
                <a:uLnTx/>
                <a:uFillTx/>
                <a:latin typeface="Work Sans" pitchFamily="2" charset="0"/>
                <a:ea typeface="+mn-ea"/>
                <a:cs typeface="Solomon Sans Book"/>
              </a:rPr>
              <a:t>din </a:t>
            </a:r>
            <a:r>
              <a:rPr kumimoji="0" sz="1000" b="0" i="0" u="none" strike="noStrike" kern="1200" cap="none" spc="-10" normalizeH="0" baseline="0" noProof="0" dirty="0">
                <a:ln>
                  <a:noFill/>
                </a:ln>
                <a:solidFill>
                  <a:srgbClr val="1B2E5A"/>
                </a:solidFill>
                <a:effectLst/>
                <a:uLnTx/>
                <a:uFillTx/>
                <a:latin typeface="Work Sans" pitchFamily="2" charset="0"/>
                <a:ea typeface="+mn-ea"/>
                <a:cs typeface="Solomon Sans Book"/>
              </a:rPr>
              <a:t>investering.</a:t>
            </a:r>
            <a:r>
              <a:rPr kumimoji="0" lang="en-US" sz="1000" b="0" i="0" u="none" strike="noStrike" kern="1200" cap="none" spc="-10" normalizeH="0" baseline="0" noProof="0" dirty="0">
                <a:ln>
                  <a:noFill/>
                </a:ln>
                <a:solidFill>
                  <a:srgbClr val="1B2E5A"/>
                </a:solidFill>
                <a:effectLst/>
                <a:uLnTx/>
                <a:uFillTx/>
                <a:latin typeface="Work Sans" pitchFamily="2" charset="0"/>
                <a:ea typeface="+mn-ea"/>
                <a:cs typeface="Solomon Sans Book"/>
              </a:rPr>
              <a:t>*</a:t>
            </a:r>
            <a:endParaRPr kumimoji="0" sz="1000" b="0" i="0" u="none" strike="noStrike" kern="1200" cap="none" spc="0" normalizeH="0" baseline="0" noProof="0" dirty="0">
              <a:ln>
                <a:noFill/>
              </a:ln>
              <a:solidFill>
                <a:srgbClr val="15304E"/>
              </a:solidFill>
              <a:effectLst/>
              <a:uLnTx/>
              <a:uFillTx/>
              <a:latin typeface="Work Sans" pitchFamily="2" charset="0"/>
              <a:ea typeface="+mn-ea"/>
              <a:cs typeface="Solomon Sans Book"/>
            </a:endParaRPr>
          </a:p>
        </p:txBody>
      </p:sp>
      <p:sp>
        <p:nvSpPr>
          <p:cNvPr id="10" name="Pladsholder til sidefod 4">
            <a:extLst>
              <a:ext uri="{FF2B5EF4-FFF2-40B4-BE49-F238E27FC236}">
                <a16:creationId xmlns:a16="http://schemas.microsoft.com/office/drawing/2014/main" id="{D43B31B1-B866-6885-8E3F-07E9D9DAFE87}"/>
              </a:ext>
            </a:extLst>
          </p:cNvPr>
          <p:cNvSpPr txBox="1">
            <a:spLocks/>
          </p:cNvSpPr>
          <p:nvPr/>
        </p:nvSpPr>
        <p:spPr>
          <a:xfrm>
            <a:off x="9886157" y="124431"/>
            <a:ext cx="3744912" cy="144000"/>
          </a:xfrm>
          <a:prstGeom prst="rect">
            <a:avLst/>
          </a:prstGeom>
        </p:spPr>
        <p:txBody>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15304E"/>
                </a:solidFill>
                <a:effectLst/>
                <a:uLnTx/>
                <a:uFillTx/>
                <a:latin typeface="Work Sans Light"/>
                <a:ea typeface="+mn-ea"/>
                <a:cs typeface="+mn-cs"/>
              </a:rPr>
              <a:t>Markedsføringsmateriale</a:t>
            </a:r>
            <a:endParaRPr kumimoji="0" lang="da-DK" sz="1200" b="0" i="0" u="none" strike="noStrike" kern="1200" cap="none" spc="0" normalizeH="0" baseline="0" noProof="0">
              <a:ln>
                <a:noFill/>
              </a:ln>
              <a:solidFill>
                <a:srgbClr val="15304E"/>
              </a:solidFill>
              <a:effectLst/>
              <a:uLnTx/>
              <a:uFillTx/>
              <a:latin typeface="Work Sans Light"/>
              <a:ea typeface="+mn-ea"/>
              <a:cs typeface="+mn-cs"/>
            </a:endParaRPr>
          </a:p>
        </p:txBody>
      </p:sp>
      <p:sp>
        <p:nvSpPr>
          <p:cNvPr id="2" name="Pladsholder til slidenummer 1">
            <a:extLst>
              <a:ext uri="{FF2B5EF4-FFF2-40B4-BE49-F238E27FC236}">
                <a16:creationId xmlns:a16="http://schemas.microsoft.com/office/drawing/2014/main" id="{95F6B3AF-D10D-DF5B-8479-8F558F2722C3}"/>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A9C6259-F55B-47A6-AB0B-9E9F0835A2F0}" type="slidenum">
              <a:rPr kumimoji="0" lang="da-DK" sz="800" b="0" i="0" u="none" strike="noStrike" kern="1200" cap="none" spc="0" normalizeH="0" baseline="0" noProof="0" smtClean="0">
                <a:ln>
                  <a:noFill/>
                </a:ln>
                <a:solidFill>
                  <a:srgbClr val="4DBCC6"/>
                </a:solidFill>
                <a:effectLst/>
                <a:uLnTx/>
                <a:uFillTx/>
                <a:latin typeface="Work Sans Light"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da-DK" sz="800" b="0" i="0" u="none" strike="noStrike" kern="1200" cap="none" spc="0" normalizeH="0" baseline="0" noProof="0">
              <a:ln>
                <a:noFill/>
              </a:ln>
              <a:solidFill>
                <a:srgbClr val="4DBCC6"/>
              </a:solidFill>
              <a:effectLst/>
              <a:uLnTx/>
              <a:uFillTx/>
              <a:latin typeface="Work Sans Light" pitchFamily="2" charset="0"/>
              <a:ea typeface="+mn-ea"/>
              <a:cs typeface="+mn-cs"/>
            </a:endParaRPr>
          </a:p>
        </p:txBody>
      </p:sp>
      <p:sp>
        <p:nvSpPr>
          <p:cNvPr id="9" name="Tekstfelt 8">
            <a:extLst>
              <a:ext uri="{FF2B5EF4-FFF2-40B4-BE49-F238E27FC236}">
                <a16:creationId xmlns:a16="http://schemas.microsoft.com/office/drawing/2014/main" id="{A89D2298-CB1D-438C-4D63-4CCC0EDA81B7}"/>
              </a:ext>
            </a:extLst>
          </p:cNvPr>
          <p:cNvSpPr txBox="1"/>
          <p:nvPr/>
        </p:nvSpPr>
        <p:spPr>
          <a:xfrm>
            <a:off x="349277" y="6451022"/>
            <a:ext cx="8979867"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a:ln>
                  <a:noFill/>
                </a:ln>
                <a:solidFill>
                  <a:srgbClr val="15304E"/>
                </a:solidFill>
                <a:effectLst/>
                <a:uLnTx/>
                <a:uFillTx/>
                <a:latin typeface="Work Sans Light"/>
                <a:ea typeface="+mn-ea"/>
                <a:cs typeface="+mn-cs"/>
              </a:rPr>
              <a:t>*</a:t>
            </a:r>
            <a:r>
              <a:rPr lang="da-DK" sz="1000">
                <a:solidFill>
                  <a:srgbClr val="15304E"/>
                </a:solidFill>
                <a:latin typeface="Work Sans Light"/>
              </a:rPr>
              <a:t>Pr. 28/02/2026</a:t>
            </a:r>
            <a:endParaRPr kumimoji="0" lang="da-DK" sz="1000" b="0" i="0" u="none" strike="noStrike" kern="1200" cap="none" spc="0" normalizeH="0" baseline="0" noProof="0">
              <a:ln>
                <a:noFill/>
              </a:ln>
              <a:solidFill>
                <a:srgbClr val="15304E"/>
              </a:solidFill>
              <a:effectLst/>
              <a:uLnTx/>
              <a:uFillTx/>
              <a:latin typeface="Work Sans Light"/>
              <a:ea typeface="+mn-ea"/>
              <a:cs typeface="+mn-cs"/>
            </a:endParaRPr>
          </a:p>
        </p:txBody>
      </p:sp>
    </p:spTree>
    <p:extLst>
      <p:ext uri="{BB962C8B-B14F-4D97-AF65-F5344CB8AC3E}">
        <p14:creationId xmlns:p14="http://schemas.microsoft.com/office/powerpoint/2010/main" val="14944393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yse farver">
  <a:themeElements>
    <a:clrScheme name="Brugerdefineret 1">
      <a:dk1>
        <a:srgbClr val="15304E"/>
      </a:dk1>
      <a:lt1>
        <a:srgbClr val="F4FAFE"/>
      </a:lt1>
      <a:dk2>
        <a:srgbClr val="193A5F"/>
      </a:dk2>
      <a:lt2>
        <a:srgbClr val="E3F3FD"/>
      </a:lt2>
      <a:accent1>
        <a:srgbClr val="15304E"/>
      </a:accent1>
      <a:accent2>
        <a:srgbClr val="4DBCC6"/>
      </a:accent2>
      <a:accent3>
        <a:srgbClr val="8D7FA9"/>
      </a:accent3>
      <a:accent4>
        <a:srgbClr val="B3CEA6"/>
      </a:accent4>
      <a:accent5>
        <a:srgbClr val="F8B68B"/>
      </a:accent5>
      <a:accent6>
        <a:srgbClr val="CC7977"/>
      </a:accent6>
      <a:hlink>
        <a:srgbClr val="15304E"/>
      </a:hlink>
      <a:folHlink>
        <a:srgbClr val="4DBCC6"/>
      </a:folHlink>
    </a:clrScheme>
    <a:fontScheme name="Work Sans">
      <a:majorFont>
        <a:latin typeface="Work Sans Light"/>
        <a:ea typeface=""/>
        <a:cs typeface=""/>
      </a:majorFont>
      <a:minorFont>
        <a:latin typeface="Work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ankInvest-skabelon" id="{414CF014-27FE-4180-A670-88838CA83EAC}" vid="{3F676600-98FC-4614-A333-BD9F7DFDE481}"/>
    </a:ext>
  </a:extLst>
</a:theme>
</file>

<file path=ppt/theme/theme2.xml><?xml version="1.0" encoding="utf-8"?>
<a:theme xmlns:a="http://schemas.openxmlformats.org/drawingml/2006/main" name="Mørke farver">
  <a:themeElements>
    <a:clrScheme name="Brugerdefineret 1">
      <a:dk1>
        <a:srgbClr val="15304E"/>
      </a:dk1>
      <a:lt1>
        <a:srgbClr val="F4FAFE"/>
      </a:lt1>
      <a:dk2>
        <a:srgbClr val="193A5F"/>
      </a:dk2>
      <a:lt2>
        <a:srgbClr val="E3F3FD"/>
      </a:lt2>
      <a:accent1>
        <a:srgbClr val="15304E"/>
      </a:accent1>
      <a:accent2>
        <a:srgbClr val="4DBCC6"/>
      </a:accent2>
      <a:accent3>
        <a:srgbClr val="8D7FA9"/>
      </a:accent3>
      <a:accent4>
        <a:srgbClr val="B3CEA6"/>
      </a:accent4>
      <a:accent5>
        <a:srgbClr val="F8B68B"/>
      </a:accent5>
      <a:accent6>
        <a:srgbClr val="CC7977"/>
      </a:accent6>
      <a:hlink>
        <a:srgbClr val="15304E"/>
      </a:hlink>
      <a:folHlink>
        <a:srgbClr val="4DBCC6"/>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ankInvest-skabelon" id="{414CF014-27FE-4180-A670-88838CA83EAC}" vid="{BC98C533-3DC8-4D29-9A92-36AC083FEAE3}"/>
    </a:ext>
  </a:extLst>
</a:theme>
</file>

<file path=ppt/theme/theme3.xml><?xml version="1.0" encoding="utf-8"?>
<a:theme xmlns:a="http://schemas.openxmlformats.org/drawingml/2006/main" name="1_Lyse farver">
  <a:themeElements>
    <a:clrScheme name="Brugerdefineret 1">
      <a:dk1>
        <a:srgbClr val="15304E"/>
      </a:dk1>
      <a:lt1>
        <a:srgbClr val="F4FAFE"/>
      </a:lt1>
      <a:dk2>
        <a:srgbClr val="193A5F"/>
      </a:dk2>
      <a:lt2>
        <a:srgbClr val="E3F3FD"/>
      </a:lt2>
      <a:accent1>
        <a:srgbClr val="15304E"/>
      </a:accent1>
      <a:accent2>
        <a:srgbClr val="4DBCC6"/>
      </a:accent2>
      <a:accent3>
        <a:srgbClr val="8D7FA9"/>
      </a:accent3>
      <a:accent4>
        <a:srgbClr val="B3CEA6"/>
      </a:accent4>
      <a:accent5>
        <a:srgbClr val="F8B68B"/>
      </a:accent5>
      <a:accent6>
        <a:srgbClr val="CC7977"/>
      </a:accent6>
      <a:hlink>
        <a:srgbClr val="15304E"/>
      </a:hlink>
      <a:folHlink>
        <a:srgbClr val="4DBCC6"/>
      </a:folHlink>
    </a:clrScheme>
    <a:fontScheme name="Work Sans">
      <a:majorFont>
        <a:latin typeface="Work Sans Light"/>
        <a:ea typeface=""/>
        <a:cs typeface=""/>
      </a:majorFont>
      <a:minorFont>
        <a:latin typeface="Work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ankInvest-skabelon" id="{414CF014-27FE-4180-A670-88838CA83EAC}" vid="{3F676600-98FC-4614-A333-BD9F7DFDE481}"/>
    </a:ext>
  </a:extLst>
</a:theme>
</file>

<file path=ppt/theme/theme4.xml><?xml version="1.0" encoding="utf-8"?>
<a:theme xmlns:a="http://schemas.openxmlformats.org/drawingml/2006/main" name="1_Mørke farver">
  <a:themeElements>
    <a:clrScheme name="Brugerdefineret 1">
      <a:dk1>
        <a:srgbClr val="15304E"/>
      </a:dk1>
      <a:lt1>
        <a:srgbClr val="F4FAFE"/>
      </a:lt1>
      <a:dk2>
        <a:srgbClr val="193A5F"/>
      </a:dk2>
      <a:lt2>
        <a:srgbClr val="E3F3FD"/>
      </a:lt2>
      <a:accent1>
        <a:srgbClr val="15304E"/>
      </a:accent1>
      <a:accent2>
        <a:srgbClr val="4DBCC6"/>
      </a:accent2>
      <a:accent3>
        <a:srgbClr val="8D7FA9"/>
      </a:accent3>
      <a:accent4>
        <a:srgbClr val="B3CEA6"/>
      </a:accent4>
      <a:accent5>
        <a:srgbClr val="F8B68B"/>
      </a:accent5>
      <a:accent6>
        <a:srgbClr val="CC7977"/>
      </a:accent6>
      <a:hlink>
        <a:srgbClr val="15304E"/>
      </a:hlink>
      <a:folHlink>
        <a:srgbClr val="4DBCC6"/>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ankInvest-skabelon" id="{414CF014-27FE-4180-A670-88838CA83EAC}" vid="{BC98C533-3DC8-4D29-9A92-36AC083FEAE3}"/>
    </a:ext>
  </a:extLst>
</a:theme>
</file>

<file path=ppt/theme/theme5.xml><?xml version="1.0" encoding="utf-8"?>
<a:theme xmlns:a="http://schemas.openxmlformats.org/drawingml/2006/main" name="2_Lyse farver">
  <a:themeElements>
    <a:clrScheme name="BankInvest v3">
      <a:dk1>
        <a:srgbClr val="15304E"/>
      </a:dk1>
      <a:lt1>
        <a:srgbClr val="F4FAFE"/>
      </a:lt1>
      <a:dk2>
        <a:srgbClr val="193A5F"/>
      </a:dk2>
      <a:lt2>
        <a:srgbClr val="E3F3FD"/>
      </a:lt2>
      <a:accent1>
        <a:srgbClr val="4DBCC6"/>
      </a:accent1>
      <a:accent2>
        <a:srgbClr val="8D7FA9"/>
      </a:accent2>
      <a:accent3>
        <a:srgbClr val="82B2D9"/>
      </a:accent3>
      <a:accent4>
        <a:srgbClr val="B3CEA6"/>
      </a:accent4>
      <a:accent5>
        <a:srgbClr val="F8B68B"/>
      </a:accent5>
      <a:accent6>
        <a:srgbClr val="CC7977"/>
      </a:accent6>
      <a:hlink>
        <a:srgbClr val="4DBCC6"/>
      </a:hlink>
      <a:folHlink>
        <a:srgbClr val="B3CEA6"/>
      </a:folHlink>
    </a:clrScheme>
    <a:fontScheme name="Work Sans">
      <a:majorFont>
        <a:latin typeface="Work Sans Light"/>
        <a:ea typeface=""/>
        <a:cs typeface=""/>
      </a:majorFont>
      <a:minorFont>
        <a:latin typeface="Work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ankInvest-skabelon" id="{414CF014-27FE-4180-A670-88838CA83EAC}" vid="{3F676600-98FC-4614-A333-BD9F7DFDE481}"/>
    </a:ext>
  </a:extLst>
</a:theme>
</file>

<file path=ppt/theme/theme6.xml><?xml version="1.0" encoding="utf-8"?>
<a:theme xmlns:a="http://schemas.openxmlformats.org/drawingml/2006/main" name="Office-t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7.xml><?xml version="1.0" encoding="utf-8"?>
<a:theme xmlns:a="http://schemas.openxmlformats.org/drawingml/2006/main" name="Office-t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TemplafySlideTemplateConfiguration><![CDATA[{"slideVersion":1,"isValidatorEnabled":false,"isLocked":false,"elementsMetadata":[],"slideId":"1095911062925737988","enableDocumentContentUpdater":false,"version":"2.0"}]]></TemplafySlideTemplateConfiguration>
</file>

<file path=customXml/item2.xml><?xml version="1.0" encoding="utf-8"?>
<TemplafySlideFormConfiguration><![CDATA[{"formFields":[],"formDataEntries":[]}]]></TemplafySlideFormConfiguration>
</file>

<file path=customXml/item3.xml><?xml version="1.0" encoding="utf-8"?>
<ct:contentTypeSchema xmlns:ct="http://schemas.microsoft.com/office/2006/metadata/contentType" xmlns:ma="http://schemas.microsoft.com/office/2006/metadata/properties/metaAttributes" ct:_="" ma:_="" ma:contentTypeName="Document" ma:contentTypeID="0x0101006D2454916B1F7D479E576E6203AF8F31" ma:contentTypeVersion="14" ma:contentTypeDescription="Create a new document." ma:contentTypeScope="" ma:versionID="6bb2ded99e7a1fdc6bb554114362fff6">
  <xsd:schema xmlns:xsd="http://www.w3.org/2001/XMLSchema" xmlns:xs="http://www.w3.org/2001/XMLSchema" xmlns:p="http://schemas.microsoft.com/office/2006/metadata/properties" xmlns:ns2="0e1ae550-6e19-4666-a1cd-db56e24dfd1d" xmlns:ns3="d48c66e5-4ee8-4bad-bc18-75f8eafaf659" targetNamespace="http://schemas.microsoft.com/office/2006/metadata/properties" ma:root="true" ma:fieldsID="495f4ff064fd2643ff0ddd1868e278a2" ns2:_="" ns3:_="">
    <xsd:import namespace="0e1ae550-6e19-4666-a1cd-db56e24dfd1d"/>
    <xsd:import namespace="d48c66e5-4ee8-4bad-bc18-75f8eafaf65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Location" minOccurs="0"/>
                <xsd:element ref="ns2:MediaServiceOCR" minOccurs="0"/>
                <xsd:element ref="ns2:MediaServiceGenerationTime" minOccurs="0"/>
                <xsd:element ref="ns2:MediaServiceEventHashCode" minOccurs="0"/>
                <xsd:element ref="ns2:MediaLengthInSecond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e1ae550-6e19-4666-a1cd-db56e24dfd1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263b04fe-e667-4dcf-88af-2d185594dc90"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Location" ma:index="16" nillable="true" ma:displayName="Location" ma:indexed="true"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BillingMetadata" ma:index="21"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48c66e5-4ee8-4bad-bc18-75f8eafaf659"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e78c2802-caea-4c9b-a5af-a66d182cef7c}" ma:internalName="TaxCatchAll" ma:showField="CatchAllData" ma:web="d48c66e5-4ee8-4bad-bc18-75f8eafaf65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p:properties xmlns:p="http://schemas.microsoft.com/office/2006/metadata/properties" xmlns:xsi="http://www.w3.org/2001/XMLSchema-instance" xmlns:pc="http://schemas.microsoft.com/office/infopath/2007/PartnerControls">
  <documentManagement>
    <TaxCatchAll xmlns="d48c66e5-4ee8-4bad-bc18-75f8eafaf659" xsi:nil="true"/>
    <lcf76f155ced4ddcb4097134ff3c332f xmlns="0e1ae550-6e19-4666-a1cd-db56e24dfd1d">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ECAFCC0B-6A1D-4D13-9A85-8CED7181F54A}">
  <ds:schemaRefs/>
</ds:datastoreItem>
</file>

<file path=customXml/itemProps2.xml><?xml version="1.0" encoding="utf-8"?>
<ds:datastoreItem xmlns:ds="http://schemas.openxmlformats.org/officeDocument/2006/customXml" ds:itemID="{B1F315A2-55E2-46C9-A550-D5A7F145AE2F}">
  <ds:schemaRefs/>
</ds:datastoreItem>
</file>

<file path=customXml/itemProps3.xml><?xml version="1.0" encoding="utf-8"?>
<ds:datastoreItem xmlns:ds="http://schemas.openxmlformats.org/officeDocument/2006/customXml" ds:itemID="{2438DC90-53C5-41D5-81DA-766AC483E88A}">
  <ds:schemaRefs>
    <ds:schemaRef ds:uri="0e1ae550-6e19-4666-a1cd-db56e24dfd1d"/>
    <ds:schemaRef ds:uri="d48c66e5-4ee8-4bad-bc18-75f8eafaf65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4.xml><?xml version="1.0" encoding="utf-8"?>
<ds:datastoreItem xmlns:ds="http://schemas.openxmlformats.org/officeDocument/2006/customXml" ds:itemID="{20E4D5B2-CE84-4185-B2BF-EDFCC69A6897}">
  <ds:schemaRefs>
    <ds:schemaRef ds:uri="http://schemas.microsoft.com/sharepoint/v3/contenttype/forms"/>
  </ds:schemaRefs>
</ds:datastoreItem>
</file>

<file path=customXml/itemProps5.xml><?xml version="1.0" encoding="utf-8"?>
<ds:datastoreItem xmlns:ds="http://schemas.openxmlformats.org/officeDocument/2006/customXml" ds:itemID="{0E7A31A8-2B54-409F-9812-E6D596B8F9D4}">
  <ds:schemaRefs>
    <ds:schemaRef ds:uri="0e1ae550-6e19-4666-a1cd-db56e24dfd1d"/>
    <ds:schemaRef ds:uri="bf7927c7-5f72-4f83-b584-a5266f41c463"/>
    <ds:schemaRef ds:uri="d48c66e5-4ee8-4bad-bc18-75f8eafaf65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3443ebe9-de49-471a-b7e5-9f9abfafac0c}" enabled="0" method="" siteId="{3443ebe9-de49-471a-b7e5-9f9abfafac0c}" removed="1"/>
</clbl:labelList>
</file>

<file path=docProps/app.xml><?xml version="1.0" encoding="utf-8"?>
<Properties xmlns="http://schemas.openxmlformats.org/officeDocument/2006/extended-properties" xmlns:vt="http://schemas.openxmlformats.org/officeDocument/2006/docPropsVTypes">
  <Template>BankInvest-skabelon_2025</Template>
  <TotalTime>16</TotalTime>
  <Words>900</Words>
  <Application>Microsoft Office PowerPoint</Application>
  <PresentationFormat>Widescreen</PresentationFormat>
  <Paragraphs>148</Paragraphs>
  <Slides>10</Slides>
  <Notes>7</Notes>
  <HiddenSlides>0</HiddenSlides>
  <MMClips>0</MMClips>
  <ScaleCrop>false</ScaleCrop>
  <HeadingPairs>
    <vt:vector size="8" baseType="variant">
      <vt:variant>
        <vt:lpstr>Benyttede skrifttyper</vt:lpstr>
      </vt:variant>
      <vt:variant>
        <vt:i4>8</vt:i4>
      </vt:variant>
      <vt:variant>
        <vt:lpstr>Tema</vt:lpstr>
      </vt:variant>
      <vt:variant>
        <vt:i4>5</vt:i4>
      </vt:variant>
      <vt:variant>
        <vt:lpstr>Integrerede OLE-servere</vt:lpstr>
      </vt:variant>
      <vt:variant>
        <vt:i4>1</vt:i4>
      </vt:variant>
      <vt:variant>
        <vt:lpstr>Slidetitler</vt:lpstr>
      </vt:variant>
      <vt:variant>
        <vt:i4>10</vt:i4>
      </vt:variant>
    </vt:vector>
  </HeadingPairs>
  <TitlesOfParts>
    <vt:vector size="24" baseType="lpstr">
      <vt:lpstr>Aptos</vt:lpstr>
      <vt:lpstr>Arial</vt:lpstr>
      <vt:lpstr>Century Gothic</vt:lpstr>
      <vt:lpstr>Montserrat SemiBold</vt:lpstr>
      <vt:lpstr>Roboto Condensed</vt:lpstr>
      <vt:lpstr>Work Sans</vt:lpstr>
      <vt:lpstr>Work Sans Light</vt:lpstr>
      <vt:lpstr>Work Sans SemiBold</vt:lpstr>
      <vt:lpstr>Lyse farver</vt:lpstr>
      <vt:lpstr>Mørke farver</vt:lpstr>
      <vt:lpstr>1_Lyse farver</vt:lpstr>
      <vt:lpstr>1_Mørke farver</vt:lpstr>
      <vt:lpstr>2_Lyse farver</vt:lpstr>
      <vt:lpstr>think-cell Slide</vt:lpstr>
      <vt:lpstr>Globale Aktier Columbia Threadneedle</vt:lpstr>
      <vt:lpstr> Fakta om produktet </vt:lpstr>
      <vt:lpstr>PowerPoint-præsentation</vt:lpstr>
      <vt:lpstr>Filosofi/strategi</vt:lpstr>
      <vt:lpstr>ESG og bæredygtighed</vt:lpstr>
      <vt:lpstr>PowerPoint-præsentation</vt:lpstr>
      <vt:lpstr>PowerPoint-præsentation</vt:lpstr>
      <vt:lpstr>PowerPoint-præsentation</vt:lpstr>
      <vt:lpstr>Fondsinformation</vt:lpstr>
      <vt:lpstr>Disclaime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ecilie Hvid Nesevski</dc:creator>
  <cp:lastModifiedBy>Cecilie Klit Jørgensen</cp:lastModifiedBy>
  <cp:revision>1</cp:revision>
  <dcterms:created xsi:type="dcterms:W3CDTF">2026-02-05T11:45:08Z</dcterms:created>
  <dcterms:modified xsi:type="dcterms:W3CDTF">2026-03-16T14:15: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D2454916B1F7D479E576E6203AF8F31</vt:lpwstr>
  </property>
  <property fmtid="{D5CDD505-2E9C-101B-9397-08002B2CF9AE}" pid="3" name="MediaServiceImageTags">
    <vt:lpwstr/>
  </property>
</Properties>
</file>